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8"/>
  </p:notesMasterIdLst>
  <p:sldIdLst>
    <p:sldId id="256" r:id="rId5"/>
    <p:sldId id="635" r:id="rId6"/>
    <p:sldId id="694" r:id="rId7"/>
    <p:sldId id="11348" r:id="rId8"/>
    <p:sldId id="11350" r:id="rId9"/>
    <p:sldId id="640" r:id="rId10"/>
    <p:sldId id="11466" r:id="rId11"/>
    <p:sldId id="11467" r:id="rId12"/>
    <p:sldId id="641" r:id="rId13"/>
    <p:sldId id="921" r:id="rId14"/>
    <p:sldId id="11468" r:id="rId15"/>
    <p:sldId id="2147470220" r:id="rId16"/>
    <p:sldId id="11470" r:id="rId17"/>
  </p:sldIdLst>
  <p:sldSz cx="12192000" cy="6858000"/>
  <p:notesSz cx="6858000" cy="9144000"/>
  <p:defaultTextStyle>
    <a:defPPr>
      <a:defRPr lang="en-MA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28A"/>
    <a:srgbClr val="3CA4DC"/>
    <a:srgbClr val="8FBE12"/>
    <a:srgbClr val="A74B24"/>
    <a:srgbClr val="D41124"/>
    <a:srgbClr val="0081C8"/>
    <a:srgbClr val="64105B"/>
    <a:srgbClr val="FBB900"/>
    <a:srgbClr val="00763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7971C35-89BC-4691-B25B-2A60040F505E}" v="3" dt="2025-02-19T20:26:18.310"/>
    <p1510:client id="{EF073164-88FE-4BB2-9EB1-1E7037B216B6}" v="8" dt="2025-02-19T16:13:08.47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7" d="100"/>
          <a:sy n="67" d="100"/>
        </p:scale>
        <p:origin x="548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Utilisateur invité" userId="S::urn:spo:anon#8e4959602b1caa600aeccd5dfbabda978f75ee924d620ad40480eb3a038f3c1c::" providerId="AD" clId="Web-{2950AEE2-F0CA-033D-DCE0-A6E52B0315DA}"/>
    <pc:docChg chg="modSld">
      <pc:chgData name="Utilisateur invité" userId="S::urn:spo:anon#8e4959602b1caa600aeccd5dfbabda978f75ee924d620ad40480eb3a038f3c1c::" providerId="AD" clId="Web-{2950AEE2-F0CA-033D-DCE0-A6E52B0315DA}" dt="2024-03-07T08:26:13.097" v="1" actId="20577"/>
      <pc:docMkLst>
        <pc:docMk/>
      </pc:docMkLst>
      <pc:sldChg chg="modSp">
        <pc:chgData name="Utilisateur invité" userId="S::urn:spo:anon#8e4959602b1caa600aeccd5dfbabda978f75ee924d620ad40480eb3a038f3c1c::" providerId="AD" clId="Web-{2950AEE2-F0CA-033D-DCE0-A6E52B0315DA}" dt="2024-03-07T08:26:13.097" v="1" actId="20577"/>
        <pc:sldMkLst>
          <pc:docMk/>
          <pc:sldMk cId="3737348165" sldId="635"/>
        </pc:sldMkLst>
      </pc:sldChg>
    </pc:docChg>
  </pc:docChgLst>
  <pc:docChgLst>
    <pc:chgData name="Sara Faouzi" userId="6c1c41f2-c59a-4d19-87b8-4d2a055328d1" providerId="ADAL" clId="{90B07CF8-02DC-4942-91E6-433F8EB65DBA}"/>
    <pc:docChg chg="custSel modSld">
      <pc:chgData name="Sara Faouzi" userId="6c1c41f2-c59a-4d19-87b8-4d2a055328d1" providerId="ADAL" clId="{90B07CF8-02DC-4942-91E6-433F8EB65DBA}" dt="2024-10-04T08:42:59.873" v="0" actId="478"/>
      <pc:docMkLst>
        <pc:docMk/>
      </pc:docMkLst>
      <pc:sldChg chg="delSp">
        <pc:chgData name="Sara Faouzi" userId="6c1c41f2-c59a-4d19-87b8-4d2a055328d1" providerId="ADAL" clId="{90B07CF8-02DC-4942-91E6-433F8EB65DBA}" dt="2024-10-04T08:42:59.873" v="0" actId="478"/>
        <pc:sldMkLst>
          <pc:docMk/>
          <pc:sldMk cId="3737348165" sldId="635"/>
        </pc:sldMkLst>
      </pc:sldChg>
    </pc:docChg>
  </pc:docChgLst>
  <pc:docChgLst>
    <pc:chgData name="Sara Faouzi" userId="S::sfaouzi@amdie.gov.ma::6c1c41f2-c59a-4d19-87b8-4d2a055328d1" providerId="AD" clId="Web-{CCD521D8-3C0C-E7E4-8D09-BED46AF759DE}"/>
    <pc:docChg chg="modSld">
      <pc:chgData name="Sara Faouzi" userId="S::sfaouzi@amdie.gov.ma::6c1c41f2-c59a-4d19-87b8-4d2a055328d1" providerId="AD" clId="Web-{CCD521D8-3C0C-E7E4-8D09-BED46AF759DE}" dt="2024-03-07T08:25:27.366" v="3" actId="20577"/>
      <pc:docMkLst>
        <pc:docMk/>
      </pc:docMkLst>
      <pc:sldChg chg="modSp">
        <pc:chgData name="Sara Faouzi" userId="S::sfaouzi@amdie.gov.ma::6c1c41f2-c59a-4d19-87b8-4d2a055328d1" providerId="AD" clId="Web-{CCD521D8-3C0C-E7E4-8D09-BED46AF759DE}" dt="2024-03-07T08:25:27.366" v="3" actId="20577"/>
        <pc:sldMkLst>
          <pc:docMk/>
          <pc:sldMk cId="3737348165" sldId="635"/>
        </pc:sldMkLst>
      </pc:sldChg>
    </pc:docChg>
  </pc:docChgLst>
  <pc:docChgLst>
    <pc:chgData name="Assia BENSAAD" userId="4745505c-d661-4ade-af2d-5dc9ae481b9c" providerId="ADAL" clId="{EF073164-88FE-4BB2-9EB1-1E7037B216B6}"/>
    <pc:docChg chg="undo custSel addSld delSld modSld">
      <pc:chgData name="Assia BENSAAD" userId="4745505c-d661-4ade-af2d-5dc9ae481b9c" providerId="ADAL" clId="{EF073164-88FE-4BB2-9EB1-1E7037B216B6}" dt="2025-02-19T16:13:19.049" v="103" actId="20577"/>
      <pc:docMkLst>
        <pc:docMk/>
      </pc:docMkLst>
      <pc:sldChg chg="add del">
        <pc:chgData name="Assia BENSAAD" userId="4745505c-d661-4ade-af2d-5dc9ae481b9c" providerId="ADAL" clId="{EF073164-88FE-4BB2-9EB1-1E7037B216B6}" dt="2025-02-19T16:02:50.053" v="69"/>
        <pc:sldMkLst>
          <pc:docMk/>
          <pc:sldMk cId="3737348165" sldId="635"/>
        </pc:sldMkLst>
      </pc:sldChg>
      <pc:sldChg chg="modSp mod">
        <pc:chgData name="Assia BENSAAD" userId="4745505c-d661-4ade-af2d-5dc9ae481b9c" providerId="ADAL" clId="{EF073164-88FE-4BB2-9EB1-1E7037B216B6}" dt="2025-02-19T15:52:55.975" v="46" actId="6549"/>
        <pc:sldMkLst>
          <pc:docMk/>
          <pc:sldMk cId="1507456248" sldId="640"/>
        </pc:sldMkLst>
        <pc:spChg chg="mod">
          <ac:chgData name="Assia BENSAAD" userId="4745505c-d661-4ade-af2d-5dc9ae481b9c" providerId="ADAL" clId="{EF073164-88FE-4BB2-9EB1-1E7037B216B6}" dt="2025-02-19T15:52:15.015" v="24" actId="20577"/>
          <ac:spMkLst>
            <pc:docMk/>
            <pc:sldMk cId="1507456248" sldId="640"/>
            <ac:spMk id="13" creationId="{14FFE39B-7092-BBEC-5F91-C58E77133512}"/>
          </ac:spMkLst>
        </pc:spChg>
        <pc:spChg chg="mod">
          <ac:chgData name="Assia BENSAAD" userId="4745505c-d661-4ade-af2d-5dc9ae481b9c" providerId="ADAL" clId="{EF073164-88FE-4BB2-9EB1-1E7037B216B6}" dt="2025-02-19T15:52:55.975" v="46" actId="6549"/>
          <ac:spMkLst>
            <pc:docMk/>
            <pc:sldMk cId="1507456248" sldId="640"/>
            <ac:spMk id="7213" creationId="{E83DCD1B-DD20-ED14-3EB1-C76C0FBDF334}"/>
          </ac:spMkLst>
        </pc:spChg>
      </pc:sldChg>
      <pc:sldChg chg="modSp mod">
        <pc:chgData name="Assia BENSAAD" userId="4745505c-d661-4ade-af2d-5dc9ae481b9c" providerId="ADAL" clId="{EF073164-88FE-4BB2-9EB1-1E7037B216B6}" dt="2025-02-19T15:55:29.018" v="67" actId="20577"/>
        <pc:sldMkLst>
          <pc:docMk/>
          <pc:sldMk cId="586351436" sldId="641"/>
        </pc:sldMkLst>
        <pc:spChg chg="mod">
          <ac:chgData name="Assia BENSAAD" userId="4745505c-d661-4ade-af2d-5dc9ae481b9c" providerId="ADAL" clId="{EF073164-88FE-4BB2-9EB1-1E7037B216B6}" dt="2025-02-19T15:54:39.428" v="50" actId="20577"/>
          <ac:spMkLst>
            <pc:docMk/>
            <pc:sldMk cId="586351436" sldId="641"/>
            <ac:spMk id="110" creationId="{B75DE1D8-EC69-67C8-216C-BCB4D9672226}"/>
          </ac:spMkLst>
        </pc:spChg>
        <pc:spChg chg="mod">
          <ac:chgData name="Assia BENSAAD" userId="4745505c-d661-4ade-af2d-5dc9ae481b9c" providerId="ADAL" clId="{EF073164-88FE-4BB2-9EB1-1E7037B216B6}" dt="2025-02-19T15:54:36.017" v="48" actId="20577"/>
          <ac:spMkLst>
            <pc:docMk/>
            <pc:sldMk cId="586351436" sldId="641"/>
            <ac:spMk id="111" creationId="{A204A4E5-21C2-692D-6D6F-7B5F79FF364E}"/>
          </ac:spMkLst>
        </pc:spChg>
        <pc:spChg chg="mod">
          <ac:chgData name="Assia BENSAAD" userId="4745505c-d661-4ade-af2d-5dc9ae481b9c" providerId="ADAL" clId="{EF073164-88FE-4BB2-9EB1-1E7037B216B6}" dt="2025-02-19T15:54:49.489" v="55" actId="20577"/>
          <ac:spMkLst>
            <pc:docMk/>
            <pc:sldMk cId="586351436" sldId="641"/>
            <ac:spMk id="113" creationId="{2DF78C8F-8E66-1353-9FD2-5305872B8FD9}"/>
          </ac:spMkLst>
        </pc:spChg>
        <pc:spChg chg="mod">
          <ac:chgData name="Assia BENSAAD" userId="4745505c-d661-4ade-af2d-5dc9ae481b9c" providerId="ADAL" clId="{EF073164-88FE-4BB2-9EB1-1E7037B216B6}" dt="2025-02-19T15:55:29.018" v="67" actId="20577"/>
          <ac:spMkLst>
            <pc:docMk/>
            <pc:sldMk cId="586351436" sldId="641"/>
            <ac:spMk id="117" creationId="{285EBEFB-87FC-D8F0-1D8B-FA42112C69A0}"/>
          </ac:spMkLst>
        </pc:spChg>
        <pc:spChg chg="mod">
          <ac:chgData name="Assia BENSAAD" userId="4745505c-d661-4ade-af2d-5dc9ae481b9c" providerId="ADAL" clId="{EF073164-88FE-4BB2-9EB1-1E7037B216B6}" dt="2025-02-19T15:55:13.715" v="62" actId="20577"/>
          <ac:spMkLst>
            <pc:docMk/>
            <pc:sldMk cId="586351436" sldId="641"/>
            <ac:spMk id="119" creationId="{D702EA1E-F9E7-6339-DA7D-80F5D2783961}"/>
          </ac:spMkLst>
        </pc:spChg>
      </pc:sldChg>
      <pc:sldChg chg="add del">
        <pc:chgData name="Assia BENSAAD" userId="4745505c-d661-4ade-af2d-5dc9ae481b9c" providerId="ADAL" clId="{EF073164-88FE-4BB2-9EB1-1E7037B216B6}" dt="2025-02-19T16:03:08.420" v="72" actId="47"/>
        <pc:sldMkLst>
          <pc:docMk/>
          <pc:sldMk cId="996149450" sldId="695"/>
        </pc:sldMkLst>
      </pc:sldChg>
      <pc:sldChg chg="modSp add del mod">
        <pc:chgData name="Assia BENSAAD" userId="4745505c-d661-4ade-af2d-5dc9ae481b9c" providerId="ADAL" clId="{EF073164-88FE-4BB2-9EB1-1E7037B216B6}" dt="2025-02-19T16:12:11.565" v="89" actId="108"/>
        <pc:sldMkLst>
          <pc:docMk/>
          <pc:sldMk cId="3056313658" sldId="11348"/>
        </pc:sldMkLst>
        <pc:spChg chg="mod">
          <ac:chgData name="Assia BENSAAD" userId="4745505c-d661-4ade-af2d-5dc9ae481b9c" providerId="ADAL" clId="{EF073164-88FE-4BB2-9EB1-1E7037B216B6}" dt="2025-02-19T16:12:11.565" v="89" actId="108"/>
          <ac:spMkLst>
            <pc:docMk/>
            <pc:sldMk cId="3056313658" sldId="11348"/>
            <ac:spMk id="21" creationId="{2A9615F3-AEEF-7232-C77D-85E86E309014}"/>
          </ac:spMkLst>
        </pc:spChg>
      </pc:sldChg>
      <pc:sldChg chg="modSp del mod">
        <pc:chgData name="Assia BENSAAD" userId="4745505c-d661-4ade-af2d-5dc9ae481b9c" providerId="ADAL" clId="{EF073164-88FE-4BB2-9EB1-1E7037B216B6}" dt="2025-02-19T16:08:29.964" v="86" actId="47"/>
        <pc:sldMkLst>
          <pc:docMk/>
          <pc:sldMk cId="1518534439" sldId="11350"/>
        </pc:sldMkLst>
        <pc:spChg chg="mod">
          <ac:chgData name="Assia BENSAAD" userId="4745505c-d661-4ade-af2d-5dc9ae481b9c" providerId="ADAL" clId="{EF073164-88FE-4BB2-9EB1-1E7037B216B6}" dt="2025-02-19T15:51:15.575" v="17" actId="20577"/>
          <ac:spMkLst>
            <pc:docMk/>
            <pc:sldMk cId="1518534439" sldId="11350"/>
            <ac:spMk id="1081" creationId="{7F855F55-4721-48F2-0378-469B00B1BDDC}"/>
          </ac:spMkLst>
        </pc:spChg>
      </pc:sldChg>
      <pc:sldChg chg="del">
        <pc:chgData name="Assia BENSAAD" userId="4745505c-d661-4ade-af2d-5dc9ae481b9c" providerId="ADAL" clId="{EF073164-88FE-4BB2-9EB1-1E7037B216B6}" dt="2025-02-19T16:10:22.744" v="87" actId="47"/>
        <pc:sldMkLst>
          <pc:docMk/>
          <pc:sldMk cId="2132220400" sldId="11469"/>
        </pc:sldMkLst>
      </pc:sldChg>
      <pc:sldChg chg="addSp modSp add del">
        <pc:chgData name="Assia BENSAAD" userId="4745505c-d661-4ade-af2d-5dc9ae481b9c" providerId="ADAL" clId="{EF073164-88FE-4BB2-9EB1-1E7037B216B6}" dt="2025-02-19T16:13:08.460" v="101"/>
        <pc:sldMkLst>
          <pc:docMk/>
          <pc:sldMk cId="2994066288" sldId="11470"/>
        </pc:sldMkLst>
        <pc:spChg chg="add mod">
          <ac:chgData name="Assia BENSAAD" userId="4745505c-d661-4ade-af2d-5dc9ae481b9c" providerId="ADAL" clId="{EF073164-88FE-4BB2-9EB1-1E7037B216B6}" dt="2025-02-19T15:48:32.217" v="1"/>
          <ac:spMkLst>
            <pc:docMk/>
            <pc:sldMk cId="2994066288" sldId="11470"/>
            <ac:spMk id="3" creationId="{5162CF77-C7C5-8C47-F291-8DA79208252D}"/>
          </ac:spMkLst>
        </pc:spChg>
        <pc:spChg chg="add mod">
          <ac:chgData name="Assia BENSAAD" userId="4745505c-d661-4ade-af2d-5dc9ae481b9c" providerId="ADAL" clId="{EF073164-88FE-4BB2-9EB1-1E7037B216B6}" dt="2025-02-19T15:48:45.697" v="2"/>
          <ac:spMkLst>
            <pc:docMk/>
            <pc:sldMk cId="2994066288" sldId="11470"/>
            <ac:spMk id="5" creationId="{FAA82DB7-18B0-C52A-ECF7-7965E5BAE498}"/>
          </ac:spMkLst>
        </pc:spChg>
        <pc:spChg chg="add mod">
          <ac:chgData name="Assia BENSAAD" userId="4745505c-d661-4ade-af2d-5dc9ae481b9c" providerId="ADAL" clId="{EF073164-88FE-4BB2-9EB1-1E7037B216B6}" dt="2025-02-19T15:48:45.697" v="2"/>
          <ac:spMkLst>
            <pc:docMk/>
            <pc:sldMk cId="2994066288" sldId="11470"/>
            <ac:spMk id="7" creationId="{202830CB-5C60-C941-7BB9-38B8E715A99F}"/>
          </ac:spMkLst>
        </pc:spChg>
        <pc:spChg chg="add mod">
          <ac:chgData name="Assia BENSAAD" userId="4745505c-d661-4ade-af2d-5dc9ae481b9c" providerId="ADAL" clId="{EF073164-88FE-4BB2-9EB1-1E7037B216B6}" dt="2025-02-19T15:48:45.697" v="2"/>
          <ac:spMkLst>
            <pc:docMk/>
            <pc:sldMk cId="2994066288" sldId="11470"/>
            <ac:spMk id="8" creationId="{0EA37E0B-AC2A-8DC9-4E25-0875BE02F511}"/>
          </ac:spMkLst>
        </pc:spChg>
        <pc:picChg chg="add mod">
          <ac:chgData name="Assia BENSAAD" userId="4745505c-d661-4ade-af2d-5dc9ae481b9c" providerId="ADAL" clId="{EF073164-88FE-4BB2-9EB1-1E7037B216B6}" dt="2025-02-19T15:48:45.697" v="2"/>
          <ac:picMkLst>
            <pc:docMk/>
            <pc:sldMk cId="2994066288" sldId="11470"/>
            <ac:picMk id="6" creationId="{686A638A-F6D8-D1E9-62CD-0F71D9D661D6}"/>
          </ac:picMkLst>
        </pc:picChg>
        <pc:picChg chg="add mod">
          <ac:chgData name="Assia BENSAAD" userId="4745505c-d661-4ade-af2d-5dc9ae481b9c" providerId="ADAL" clId="{EF073164-88FE-4BB2-9EB1-1E7037B216B6}" dt="2025-02-19T15:48:45.697" v="2"/>
          <ac:picMkLst>
            <pc:docMk/>
            <pc:sldMk cId="2994066288" sldId="11470"/>
            <ac:picMk id="9" creationId="{9B4D4405-90F7-499A-5C29-290D854A03BA}"/>
          </ac:picMkLst>
        </pc:picChg>
      </pc:sldChg>
      <pc:sldChg chg="modSp add del mod">
        <pc:chgData name="Assia BENSAAD" userId="4745505c-d661-4ade-af2d-5dc9ae481b9c" providerId="ADAL" clId="{EF073164-88FE-4BB2-9EB1-1E7037B216B6}" dt="2025-02-19T16:02:51.427" v="70" actId="47"/>
        <pc:sldMkLst>
          <pc:docMk/>
          <pc:sldMk cId="2578498820" sldId="11486"/>
        </pc:sldMkLst>
        <pc:spChg chg="mod">
          <ac:chgData name="Assia BENSAAD" userId="4745505c-d661-4ade-af2d-5dc9ae481b9c" providerId="ADAL" clId="{EF073164-88FE-4BB2-9EB1-1E7037B216B6}" dt="2025-02-19T16:02:32.788" v="68" actId="14100"/>
          <ac:spMkLst>
            <pc:docMk/>
            <pc:sldMk cId="2578498820" sldId="11486"/>
            <ac:spMk id="45" creationId="{95D4A19D-2007-F281-18DA-998D052C463E}"/>
          </ac:spMkLst>
        </pc:spChg>
      </pc:sldChg>
      <pc:sldChg chg="del">
        <pc:chgData name="Assia BENSAAD" userId="4745505c-d661-4ade-af2d-5dc9ae481b9c" providerId="ADAL" clId="{EF073164-88FE-4BB2-9EB1-1E7037B216B6}" dt="2025-02-19T15:42:44.961" v="0" actId="47"/>
        <pc:sldMkLst>
          <pc:docMk/>
          <pc:sldMk cId="3690590479" sldId="13320"/>
        </pc:sldMkLst>
      </pc:sldChg>
      <pc:sldChg chg="del">
        <pc:chgData name="Assia BENSAAD" userId="4745505c-d661-4ade-af2d-5dc9ae481b9c" providerId="ADAL" clId="{EF073164-88FE-4BB2-9EB1-1E7037B216B6}" dt="2025-02-19T15:42:44.961" v="0" actId="47"/>
        <pc:sldMkLst>
          <pc:docMk/>
          <pc:sldMk cId="1233341510" sldId="13345"/>
        </pc:sldMkLst>
      </pc:sldChg>
      <pc:sldChg chg="del">
        <pc:chgData name="Assia BENSAAD" userId="4745505c-d661-4ade-af2d-5dc9ae481b9c" providerId="ADAL" clId="{EF073164-88FE-4BB2-9EB1-1E7037B216B6}" dt="2025-02-19T15:42:44.961" v="0" actId="47"/>
        <pc:sldMkLst>
          <pc:docMk/>
          <pc:sldMk cId="1091661398" sldId="13346"/>
        </pc:sldMkLst>
      </pc:sldChg>
      <pc:sldChg chg="del">
        <pc:chgData name="Assia BENSAAD" userId="4745505c-d661-4ade-af2d-5dc9ae481b9c" providerId="ADAL" clId="{EF073164-88FE-4BB2-9EB1-1E7037B216B6}" dt="2025-02-19T15:42:44.961" v="0" actId="47"/>
        <pc:sldMkLst>
          <pc:docMk/>
          <pc:sldMk cId="3679093817" sldId="13347"/>
        </pc:sldMkLst>
      </pc:sldChg>
      <pc:sldChg chg="del">
        <pc:chgData name="Assia BENSAAD" userId="4745505c-d661-4ade-af2d-5dc9ae481b9c" providerId="ADAL" clId="{EF073164-88FE-4BB2-9EB1-1E7037B216B6}" dt="2025-02-19T15:42:44.961" v="0" actId="47"/>
        <pc:sldMkLst>
          <pc:docMk/>
          <pc:sldMk cId="2870250037" sldId="13348"/>
        </pc:sldMkLst>
      </pc:sldChg>
      <pc:sldChg chg="del">
        <pc:chgData name="Assia BENSAAD" userId="4745505c-d661-4ade-af2d-5dc9ae481b9c" providerId="ADAL" clId="{EF073164-88FE-4BB2-9EB1-1E7037B216B6}" dt="2025-02-19T15:42:44.961" v="0" actId="47"/>
        <pc:sldMkLst>
          <pc:docMk/>
          <pc:sldMk cId="4294014220" sldId="13349"/>
        </pc:sldMkLst>
      </pc:sldChg>
      <pc:sldChg chg="del">
        <pc:chgData name="Assia BENSAAD" userId="4745505c-d661-4ade-af2d-5dc9ae481b9c" providerId="ADAL" clId="{EF073164-88FE-4BB2-9EB1-1E7037B216B6}" dt="2025-02-19T15:42:44.961" v="0" actId="47"/>
        <pc:sldMkLst>
          <pc:docMk/>
          <pc:sldMk cId="1147696809" sldId="13350"/>
        </pc:sldMkLst>
      </pc:sldChg>
      <pc:sldChg chg="del">
        <pc:chgData name="Assia BENSAAD" userId="4745505c-d661-4ade-af2d-5dc9ae481b9c" providerId="ADAL" clId="{EF073164-88FE-4BB2-9EB1-1E7037B216B6}" dt="2025-02-19T15:42:44.961" v="0" actId="47"/>
        <pc:sldMkLst>
          <pc:docMk/>
          <pc:sldMk cId="1043657152" sldId="13378"/>
        </pc:sldMkLst>
      </pc:sldChg>
      <pc:sldChg chg="addSp delSp modSp add del mod addAnim delAnim">
        <pc:chgData name="Assia BENSAAD" userId="4745505c-d661-4ade-af2d-5dc9ae481b9c" providerId="ADAL" clId="{EF073164-88FE-4BB2-9EB1-1E7037B216B6}" dt="2025-02-19T16:13:19.049" v="103" actId="20577"/>
        <pc:sldMkLst>
          <pc:docMk/>
          <pc:sldMk cId="2137833509" sldId="2147470220"/>
        </pc:sldMkLst>
        <pc:spChg chg="mod">
          <ac:chgData name="Assia BENSAAD" userId="4745505c-d661-4ade-af2d-5dc9ae481b9c" providerId="ADAL" clId="{EF073164-88FE-4BB2-9EB1-1E7037B216B6}" dt="2025-02-19T16:04:35.459" v="74" actId="1076"/>
          <ac:spMkLst>
            <pc:docMk/>
            <pc:sldMk cId="2137833509" sldId="2147470220"/>
            <ac:spMk id="8" creationId="{E8AB206C-BE5C-015B-ED7E-39BAD1A48491}"/>
          </ac:spMkLst>
        </pc:spChg>
        <pc:spChg chg="del mod topLvl">
          <ac:chgData name="Assia BENSAAD" userId="4745505c-d661-4ade-af2d-5dc9ae481b9c" providerId="ADAL" clId="{EF073164-88FE-4BB2-9EB1-1E7037B216B6}" dt="2025-02-19T16:05:03.100" v="84" actId="478"/>
          <ac:spMkLst>
            <pc:docMk/>
            <pc:sldMk cId="2137833509" sldId="2147470220"/>
            <ac:spMk id="11" creationId="{D2D9B330-8F9F-F401-8F91-A5A2E172FE84}"/>
          </ac:spMkLst>
        </pc:spChg>
        <pc:spChg chg="add del mod topLvl">
          <ac:chgData name="Assia BENSAAD" userId="4745505c-d661-4ade-af2d-5dc9ae481b9c" providerId="ADAL" clId="{EF073164-88FE-4BB2-9EB1-1E7037B216B6}" dt="2025-02-19T16:13:19.049" v="103" actId="20577"/>
          <ac:spMkLst>
            <pc:docMk/>
            <pc:sldMk cId="2137833509" sldId="2147470220"/>
            <ac:spMk id="14" creationId="{C8ED1800-A178-E181-D950-C59A667203A4}"/>
          </ac:spMkLst>
        </pc:spChg>
        <pc:grpChg chg="add del">
          <ac:chgData name="Assia BENSAAD" userId="4745505c-d661-4ade-af2d-5dc9ae481b9c" providerId="ADAL" clId="{EF073164-88FE-4BB2-9EB1-1E7037B216B6}" dt="2025-02-19T16:05:03.100" v="84" actId="478"/>
          <ac:grpSpMkLst>
            <pc:docMk/>
            <pc:sldMk cId="2137833509" sldId="2147470220"/>
            <ac:grpSpMk id="20" creationId="{06C76098-7421-0F68-730D-6CEA2E06C68D}"/>
          </ac:grpSpMkLst>
        </pc:grpChg>
        <pc:grpChg chg="del">
          <ac:chgData name="Assia BENSAAD" userId="4745505c-d661-4ade-af2d-5dc9ae481b9c" providerId="ADAL" clId="{EF073164-88FE-4BB2-9EB1-1E7037B216B6}" dt="2025-02-19T16:04:48.157" v="77" actId="478"/>
          <ac:grpSpMkLst>
            <pc:docMk/>
            <pc:sldMk cId="2137833509" sldId="2147470220"/>
            <ac:grpSpMk id="21" creationId="{E59310F8-A195-8EC2-779F-86EEB632FC86}"/>
          </ac:grpSpMkLst>
        </pc:grpChg>
      </pc:sldChg>
    </pc:docChg>
  </pc:docChgLst>
  <pc:docChgLst>
    <pc:chgData name="Assia BENSAAD" userId="4745505c-d661-4ade-af2d-5dc9ae481b9c" providerId="ADAL" clId="{A7971C35-89BC-4691-B25B-2A60040F505E}"/>
    <pc:docChg chg="addSld modSld">
      <pc:chgData name="Assia BENSAAD" userId="4745505c-d661-4ade-af2d-5dc9ae481b9c" providerId="ADAL" clId="{A7971C35-89BC-4691-B25B-2A60040F505E}" dt="2025-02-19T20:26:28.531" v="13" actId="20577"/>
      <pc:docMkLst>
        <pc:docMk/>
      </pc:docMkLst>
      <pc:sldChg chg="addSp modSp">
        <pc:chgData name="Assia BENSAAD" userId="4745505c-d661-4ade-af2d-5dc9ae481b9c" providerId="ADAL" clId="{A7971C35-89BC-4691-B25B-2A60040F505E}" dt="2025-02-19T20:25:24.519" v="1"/>
        <pc:sldMkLst>
          <pc:docMk/>
          <pc:sldMk cId="3056313658" sldId="11348"/>
        </pc:sldMkLst>
        <pc:graphicFrameChg chg="add mod">
          <ac:chgData name="Assia BENSAAD" userId="4745505c-d661-4ade-af2d-5dc9ae481b9c" providerId="ADAL" clId="{A7971C35-89BC-4691-B25B-2A60040F505E}" dt="2025-02-19T20:25:24.519" v="1"/>
          <ac:graphicFrameMkLst>
            <pc:docMk/>
            <pc:sldMk cId="3056313658" sldId="11348"/>
            <ac:graphicFrameMk id="7" creationId="{C5DCD12F-19A3-29AE-B610-8DDB3447D7CC}"/>
          </ac:graphicFrameMkLst>
        </pc:graphicFrameChg>
      </pc:sldChg>
      <pc:sldChg chg="modSp add mod">
        <pc:chgData name="Assia BENSAAD" userId="4745505c-d661-4ade-af2d-5dc9ae481b9c" providerId="ADAL" clId="{A7971C35-89BC-4691-B25B-2A60040F505E}" dt="2025-02-19T20:26:28.531" v="13" actId="20577"/>
        <pc:sldMkLst>
          <pc:docMk/>
          <pc:sldMk cId="1518534439" sldId="11350"/>
        </pc:sldMkLst>
        <pc:spChg chg="mod">
          <ac:chgData name="Assia BENSAAD" userId="4745505c-d661-4ade-af2d-5dc9ae481b9c" providerId="ADAL" clId="{A7971C35-89BC-4691-B25B-2A60040F505E}" dt="2025-02-19T20:26:28.531" v="13" actId="20577"/>
          <ac:spMkLst>
            <pc:docMk/>
            <pc:sldMk cId="1518534439" sldId="11350"/>
            <ac:spMk id="1081" creationId="{7F855F55-4721-48F2-0378-469B00B1BDDC}"/>
          </ac:spMkLst>
        </pc:spChg>
      </pc:sldChg>
    </pc:docChg>
  </pc:docChgLst>
  <pc:docChgLst>
    <pc:chgData name="Sara Faouzi" userId="6c1c41f2-c59a-4d19-87b8-4d2a055328d1" providerId="ADAL" clId="{316F259F-82F8-4468-BD80-27D923999F3A}"/>
    <pc:docChg chg="delSld">
      <pc:chgData name="Sara Faouzi" userId="6c1c41f2-c59a-4d19-87b8-4d2a055328d1" providerId="ADAL" clId="{316F259F-82F8-4468-BD80-27D923999F3A}" dt="2024-03-07T08:24:17.882" v="0" actId="47"/>
      <pc:docMkLst>
        <pc:docMk/>
      </pc:docMkLst>
      <pc:sldChg chg="del">
        <pc:chgData name="Sara Faouzi" userId="6c1c41f2-c59a-4d19-87b8-4d2a055328d1" providerId="ADAL" clId="{316F259F-82F8-4468-BD80-27D923999F3A}" dt="2024-03-07T08:24:17.882" v="0" actId="47"/>
        <pc:sldMkLst>
          <pc:docMk/>
          <pc:sldMk cId="3841996330" sldId="11471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M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ABE78F-8E82-1C43-BA13-1A9AF03B1D9F}" type="datetimeFigureOut">
              <a:rPr lang="en-MA" smtClean="0"/>
              <a:t>02/19/2025</a:t>
            </a:fld>
            <a:endParaRPr lang="en-M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M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M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M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72ECB6-FD02-E346-ABA8-43453384C11B}" type="slidenum">
              <a:rPr lang="en-MA" smtClean="0"/>
              <a:t>‹N°›</a:t>
            </a:fld>
            <a:endParaRPr lang="en-MA"/>
          </a:p>
        </p:txBody>
      </p:sp>
    </p:spTree>
    <p:extLst>
      <p:ext uri="{BB962C8B-B14F-4D97-AF65-F5344CB8AC3E}">
        <p14:creationId xmlns:p14="http://schemas.microsoft.com/office/powerpoint/2010/main" val="1189519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95E938-A82D-E981-BA42-100478C0AE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M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3FB0BF0-FDF1-BEA6-2D7C-860F743D12B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M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3CBFD75-62F5-3BE3-0965-CA9253DD0C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71464-1080-264F-999F-58E7F2394B07}" type="datetimeFigureOut">
              <a:rPr lang="en-MA" smtClean="0"/>
              <a:t>02/19/2025</a:t>
            </a:fld>
            <a:endParaRPr lang="en-M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4C6F3E-DE9B-225D-0CDF-F9DB853789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99742D-3502-3301-EE27-7467E79B56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1AA0A3-3C7C-6448-BE18-7F1653D4BDF6}" type="slidenum">
              <a:rPr lang="en-MA" smtClean="0"/>
              <a:t>‹N°›</a:t>
            </a:fld>
            <a:endParaRPr lang="en-MA"/>
          </a:p>
        </p:txBody>
      </p:sp>
    </p:spTree>
    <p:extLst>
      <p:ext uri="{BB962C8B-B14F-4D97-AF65-F5344CB8AC3E}">
        <p14:creationId xmlns:p14="http://schemas.microsoft.com/office/powerpoint/2010/main" val="28623729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A5400C-BE55-F299-D235-94D8C3AD6D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M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8148AC0-3852-5B9E-DA7D-506F1AA4456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M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4C4753-C421-AEFF-FCBA-86B03DDCF3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71464-1080-264F-999F-58E7F2394B07}" type="datetimeFigureOut">
              <a:rPr lang="en-MA" smtClean="0"/>
              <a:t>02/19/2025</a:t>
            </a:fld>
            <a:endParaRPr lang="en-M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78FBE6-D2AA-8FAF-9DC1-CFE86E4825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D44EBA-4E88-5999-E3DD-9177D8FCF6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1AA0A3-3C7C-6448-BE18-7F1653D4BDF6}" type="slidenum">
              <a:rPr lang="en-MA" smtClean="0"/>
              <a:t>‹N°›</a:t>
            </a:fld>
            <a:endParaRPr lang="en-MA"/>
          </a:p>
        </p:txBody>
      </p:sp>
    </p:spTree>
    <p:extLst>
      <p:ext uri="{BB962C8B-B14F-4D97-AF65-F5344CB8AC3E}">
        <p14:creationId xmlns:p14="http://schemas.microsoft.com/office/powerpoint/2010/main" val="14987055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99F5AD4-B8E3-ACC3-45EE-F717DBE5B91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M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0E47C32-9D9B-019D-4D8F-00025494A6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M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5FEAE1-D0B2-01FE-E14E-5B869090A2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71464-1080-264F-999F-58E7F2394B07}" type="datetimeFigureOut">
              <a:rPr lang="en-MA" smtClean="0"/>
              <a:t>02/19/2025</a:t>
            </a:fld>
            <a:endParaRPr lang="en-M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B6C69B-AEA7-3D80-35A0-4B4FFF347D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1E213A-8C3E-5F10-4572-4D901E74E5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1AA0A3-3C7C-6448-BE18-7F1653D4BDF6}" type="slidenum">
              <a:rPr lang="en-MA" smtClean="0"/>
              <a:t>‹N°›</a:t>
            </a:fld>
            <a:endParaRPr lang="en-MA"/>
          </a:p>
        </p:txBody>
      </p:sp>
    </p:spTree>
    <p:extLst>
      <p:ext uri="{BB962C8B-B14F-4D97-AF65-F5344CB8AC3E}">
        <p14:creationId xmlns:p14="http://schemas.microsoft.com/office/powerpoint/2010/main" val="22516388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913084-714E-D342-0B56-F73DF51706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M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ED9D41-3251-A85D-E827-9D26857CDD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M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0132BD-99B9-F828-0E98-61C846F424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71464-1080-264F-999F-58E7F2394B07}" type="datetimeFigureOut">
              <a:rPr lang="en-MA" smtClean="0"/>
              <a:t>02/19/2025</a:t>
            </a:fld>
            <a:endParaRPr lang="en-M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BD7190-BB13-64DA-2731-CF0427A412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4CD6D4-FE13-D130-4F24-08A9EBE13C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1AA0A3-3C7C-6448-BE18-7F1653D4BDF6}" type="slidenum">
              <a:rPr lang="en-MA" smtClean="0"/>
              <a:t>‹N°›</a:t>
            </a:fld>
            <a:endParaRPr lang="en-MA"/>
          </a:p>
        </p:txBody>
      </p:sp>
    </p:spTree>
    <p:extLst>
      <p:ext uri="{BB962C8B-B14F-4D97-AF65-F5344CB8AC3E}">
        <p14:creationId xmlns:p14="http://schemas.microsoft.com/office/powerpoint/2010/main" val="11420297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FC9D2E-3FEC-941B-4D57-621ECD560E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M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059AB45-BAB0-94E6-65BA-4A8DA179BB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3D6E33-7AFC-7812-82F7-F2C7AE0372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71464-1080-264F-999F-58E7F2394B07}" type="datetimeFigureOut">
              <a:rPr lang="en-MA" smtClean="0"/>
              <a:t>02/19/2025</a:t>
            </a:fld>
            <a:endParaRPr lang="en-M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F051DB-1EB7-A73A-12CC-41775677CC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F1163C-875A-1F6B-1BF4-0E9A953E7F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1AA0A3-3C7C-6448-BE18-7F1653D4BDF6}" type="slidenum">
              <a:rPr lang="en-MA" smtClean="0"/>
              <a:t>‹N°›</a:t>
            </a:fld>
            <a:endParaRPr lang="en-MA"/>
          </a:p>
        </p:txBody>
      </p:sp>
    </p:spTree>
    <p:extLst>
      <p:ext uri="{BB962C8B-B14F-4D97-AF65-F5344CB8AC3E}">
        <p14:creationId xmlns:p14="http://schemas.microsoft.com/office/powerpoint/2010/main" val="35472583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21DCF4-A79F-C3DD-7F4D-72108941D0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M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255BD8D-CABC-EEEE-6DB3-24B9FAE282C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MA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632499F-062F-F327-E2A1-73B0C920B77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MA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BA4310C-17D7-27D5-04D6-3B68DA8239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71464-1080-264F-999F-58E7F2394B07}" type="datetimeFigureOut">
              <a:rPr lang="en-MA" smtClean="0"/>
              <a:t>02/19/2025</a:t>
            </a:fld>
            <a:endParaRPr lang="en-M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12C4180-9675-EA52-8229-C063ED98C6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310F75C-F1CE-16EE-08FD-FA4D26B407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1AA0A3-3C7C-6448-BE18-7F1653D4BDF6}" type="slidenum">
              <a:rPr lang="en-MA" smtClean="0"/>
              <a:t>‹N°›</a:t>
            </a:fld>
            <a:endParaRPr lang="en-MA"/>
          </a:p>
        </p:txBody>
      </p:sp>
    </p:spTree>
    <p:extLst>
      <p:ext uri="{BB962C8B-B14F-4D97-AF65-F5344CB8AC3E}">
        <p14:creationId xmlns:p14="http://schemas.microsoft.com/office/powerpoint/2010/main" val="5954558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C819E6-AA6C-001B-6EAC-AB4ADEABD0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M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EBB205-ECF8-EB51-E8F9-14F588EC1D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5EC2634-DC76-A60D-D8AA-18BDE71F8A2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MA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42FEED1-25EB-1689-39FE-B308B961BD9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DB32968-BC32-E522-0619-3F3041333FA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MA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49E89BA-92E6-D150-A31C-4A0B39A7F8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71464-1080-264F-999F-58E7F2394B07}" type="datetimeFigureOut">
              <a:rPr lang="en-MA" smtClean="0"/>
              <a:t>02/19/2025</a:t>
            </a:fld>
            <a:endParaRPr lang="en-MA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B754F6A-D983-7CA6-E35E-69AE435E68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A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A4CEDE8-6CB6-5AA6-06D1-24B9FDCBE6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1AA0A3-3C7C-6448-BE18-7F1653D4BDF6}" type="slidenum">
              <a:rPr lang="en-MA" smtClean="0"/>
              <a:t>‹N°›</a:t>
            </a:fld>
            <a:endParaRPr lang="en-MA"/>
          </a:p>
        </p:txBody>
      </p:sp>
    </p:spTree>
    <p:extLst>
      <p:ext uri="{BB962C8B-B14F-4D97-AF65-F5344CB8AC3E}">
        <p14:creationId xmlns:p14="http://schemas.microsoft.com/office/powerpoint/2010/main" val="17845255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4AAAE5-A5ED-8DBE-54DF-0C4CD37D63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M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0AC06A1-8F63-8C6F-2716-2A33435C1B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71464-1080-264F-999F-58E7F2394B07}" type="datetimeFigureOut">
              <a:rPr lang="en-MA" smtClean="0"/>
              <a:t>02/19/2025</a:t>
            </a:fld>
            <a:endParaRPr lang="en-M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ED2C8E3-D497-1415-7517-D2952D34EF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70DA5BA-ACE8-E185-8273-646342663A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1AA0A3-3C7C-6448-BE18-7F1653D4BDF6}" type="slidenum">
              <a:rPr lang="en-MA" smtClean="0"/>
              <a:t>‹N°›</a:t>
            </a:fld>
            <a:endParaRPr lang="en-MA"/>
          </a:p>
        </p:txBody>
      </p:sp>
    </p:spTree>
    <p:extLst>
      <p:ext uri="{BB962C8B-B14F-4D97-AF65-F5344CB8AC3E}">
        <p14:creationId xmlns:p14="http://schemas.microsoft.com/office/powerpoint/2010/main" val="19076297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E5E9C3F-D994-C1E0-FFAE-DA98EFA712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71464-1080-264F-999F-58E7F2394B07}" type="datetimeFigureOut">
              <a:rPr lang="en-MA" smtClean="0"/>
              <a:t>02/19/2025</a:t>
            </a:fld>
            <a:endParaRPr lang="en-MA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45F323A-D931-C8F2-D0D3-62F01A4F22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2521E5-02BB-2535-7364-E1E5CBF5FC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1AA0A3-3C7C-6448-BE18-7F1653D4BDF6}" type="slidenum">
              <a:rPr lang="en-MA" smtClean="0"/>
              <a:t>‹N°›</a:t>
            </a:fld>
            <a:endParaRPr lang="en-MA"/>
          </a:p>
        </p:txBody>
      </p:sp>
    </p:spTree>
    <p:extLst>
      <p:ext uri="{BB962C8B-B14F-4D97-AF65-F5344CB8AC3E}">
        <p14:creationId xmlns:p14="http://schemas.microsoft.com/office/powerpoint/2010/main" val="4548324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2DBD8B-69B4-39F9-8766-EF380CD28B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M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915203-8E16-9DA8-DCAA-E25A02B684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M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AEE8D8C-88AD-3F0B-781F-733651809F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90190C6-C7D3-A28A-9605-5145B144A4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71464-1080-264F-999F-58E7F2394B07}" type="datetimeFigureOut">
              <a:rPr lang="en-MA" smtClean="0"/>
              <a:t>02/19/2025</a:t>
            </a:fld>
            <a:endParaRPr lang="en-M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3AF0F3F-EC29-6946-9499-F2594B246F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CBF8F14-A781-742D-1895-FFC1AD0FDB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1AA0A3-3C7C-6448-BE18-7F1653D4BDF6}" type="slidenum">
              <a:rPr lang="en-MA" smtClean="0"/>
              <a:t>‹N°›</a:t>
            </a:fld>
            <a:endParaRPr lang="en-MA"/>
          </a:p>
        </p:txBody>
      </p:sp>
    </p:spTree>
    <p:extLst>
      <p:ext uri="{BB962C8B-B14F-4D97-AF65-F5344CB8AC3E}">
        <p14:creationId xmlns:p14="http://schemas.microsoft.com/office/powerpoint/2010/main" val="32746091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1A6C25-E7C1-DE39-A6B9-2C61AF6520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MA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B06316D-A14A-2403-21F0-AC43D6B07EF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M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9FE9730-8166-E903-EF82-4B40961738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39779CC-E41B-F5A5-7A9B-F734786A4B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71464-1080-264F-999F-58E7F2394B07}" type="datetimeFigureOut">
              <a:rPr lang="en-MA" smtClean="0"/>
              <a:t>02/19/2025</a:t>
            </a:fld>
            <a:endParaRPr lang="en-M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20F0A1E-E3AE-6DEC-14E9-4CE9D96CD4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2A18754-A054-35DF-D7A3-9DD57080B4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1AA0A3-3C7C-6448-BE18-7F1653D4BDF6}" type="slidenum">
              <a:rPr lang="en-MA" smtClean="0"/>
              <a:t>‹N°›</a:t>
            </a:fld>
            <a:endParaRPr lang="en-MA"/>
          </a:p>
        </p:txBody>
      </p:sp>
    </p:spTree>
    <p:extLst>
      <p:ext uri="{BB962C8B-B14F-4D97-AF65-F5344CB8AC3E}">
        <p14:creationId xmlns:p14="http://schemas.microsoft.com/office/powerpoint/2010/main" val="9396424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B43CD76-873D-5C57-FA2C-9B8A4B7212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M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0CE9C93-868C-1F68-E73A-E03018CBED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M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B8FB33-65ED-3331-875E-1D5C47FA969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B71464-1080-264F-999F-58E7F2394B07}" type="datetimeFigureOut">
              <a:rPr lang="en-MA" smtClean="0"/>
              <a:t>02/19/2025</a:t>
            </a:fld>
            <a:endParaRPr lang="en-M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D1D120-C669-BC9D-D8FA-BE03E1C9B1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M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B72F0F-EF8F-4935-01DE-470149DB0F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1AA0A3-3C7C-6448-BE18-7F1653D4BDF6}" type="slidenum">
              <a:rPr lang="en-MA" smtClean="0"/>
              <a:t>‹N°›</a:t>
            </a:fld>
            <a:endParaRPr lang="en-MA"/>
          </a:p>
        </p:txBody>
      </p:sp>
    </p:spTree>
    <p:extLst>
      <p:ext uri="{BB962C8B-B14F-4D97-AF65-F5344CB8AC3E}">
        <p14:creationId xmlns:p14="http://schemas.microsoft.com/office/powerpoint/2010/main" val="4071683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M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9.jpeg"/><Relationship Id="rId18" Type="http://schemas.openxmlformats.org/officeDocument/2006/relationships/image" Target="../media/image44.jpeg"/><Relationship Id="rId26" Type="http://schemas.openxmlformats.org/officeDocument/2006/relationships/image" Target="../media/image52.png"/><Relationship Id="rId21" Type="http://schemas.openxmlformats.org/officeDocument/2006/relationships/image" Target="../media/image47.png"/><Relationship Id="rId34" Type="http://schemas.openxmlformats.org/officeDocument/2006/relationships/image" Target="../media/image60.gif"/><Relationship Id="rId7" Type="http://schemas.openxmlformats.org/officeDocument/2006/relationships/image" Target="../media/image33.png"/><Relationship Id="rId12" Type="http://schemas.openxmlformats.org/officeDocument/2006/relationships/image" Target="../media/image38.jpeg"/><Relationship Id="rId17" Type="http://schemas.openxmlformats.org/officeDocument/2006/relationships/image" Target="../media/image43.jpeg"/><Relationship Id="rId25" Type="http://schemas.openxmlformats.org/officeDocument/2006/relationships/image" Target="../media/image51.png"/><Relationship Id="rId33" Type="http://schemas.openxmlformats.org/officeDocument/2006/relationships/image" Target="../media/image59.png"/><Relationship Id="rId38" Type="http://schemas.openxmlformats.org/officeDocument/2006/relationships/image" Target="../media/image63.emf"/><Relationship Id="rId2" Type="http://schemas.openxmlformats.org/officeDocument/2006/relationships/image" Target="../media/image29.png"/><Relationship Id="rId16" Type="http://schemas.openxmlformats.org/officeDocument/2006/relationships/image" Target="../media/image42.png"/><Relationship Id="rId20" Type="http://schemas.openxmlformats.org/officeDocument/2006/relationships/image" Target="../media/image46.jpeg"/><Relationship Id="rId29" Type="http://schemas.openxmlformats.org/officeDocument/2006/relationships/image" Target="../media/image5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11" Type="http://schemas.openxmlformats.org/officeDocument/2006/relationships/image" Target="../media/image37.png"/><Relationship Id="rId24" Type="http://schemas.openxmlformats.org/officeDocument/2006/relationships/image" Target="../media/image50.png"/><Relationship Id="rId32" Type="http://schemas.openxmlformats.org/officeDocument/2006/relationships/image" Target="../media/image58.png"/><Relationship Id="rId37" Type="http://schemas.microsoft.com/office/2007/relationships/hdphoto" Target="../media/hdphoto2.wdp"/><Relationship Id="rId5" Type="http://schemas.openxmlformats.org/officeDocument/2006/relationships/image" Target="../media/image31.jpeg"/><Relationship Id="rId15" Type="http://schemas.openxmlformats.org/officeDocument/2006/relationships/image" Target="../media/image41.png"/><Relationship Id="rId23" Type="http://schemas.openxmlformats.org/officeDocument/2006/relationships/image" Target="../media/image49.jpeg"/><Relationship Id="rId28" Type="http://schemas.openxmlformats.org/officeDocument/2006/relationships/image" Target="../media/image54.png"/><Relationship Id="rId36" Type="http://schemas.openxmlformats.org/officeDocument/2006/relationships/image" Target="../media/image62.png"/><Relationship Id="rId10" Type="http://schemas.openxmlformats.org/officeDocument/2006/relationships/image" Target="../media/image36.png"/><Relationship Id="rId19" Type="http://schemas.openxmlformats.org/officeDocument/2006/relationships/image" Target="../media/image45.jpeg"/><Relationship Id="rId31" Type="http://schemas.openxmlformats.org/officeDocument/2006/relationships/image" Target="../media/image57.jpeg"/><Relationship Id="rId4" Type="http://schemas.openxmlformats.org/officeDocument/2006/relationships/image" Target="../media/image30.jpeg"/><Relationship Id="rId9" Type="http://schemas.openxmlformats.org/officeDocument/2006/relationships/image" Target="../media/image35.png"/><Relationship Id="rId14" Type="http://schemas.openxmlformats.org/officeDocument/2006/relationships/image" Target="../media/image40.png"/><Relationship Id="rId22" Type="http://schemas.openxmlformats.org/officeDocument/2006/relationships/image" Target="../media/image48.jpeg"/><Relationship Id="rId27" Type="http://schemas.openxmlformats.org/officeDocument/2006/relationships/image" Target="../media/image53.png"/><Relationship Id="rId30" Type="http://schemas.openxmlformats.org/officeDocument/2006/relationships/image" Target="../media/image56.jpeg"/><Relationship Id="rId35" Type="http://schemas.openxmlformats.org/officeDocument/2006/relationships/image" Target="../media/image61.png"/><Relationship Id="rId8" Type="http://schemas.openxmlformats.org/officeDocument/2006/relationships/image" Target="../media/image34.jpeg"/><Relationship Id="rId3" Type="http://schemas.microsoft.com/office/2007/relationships/hdphoto" Target="../media/hdphoto1.wdp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21" Type="http://schemas.openxmlformats.org/officeDocument/2006/relationships/tags" Target="../tags/tag21.xml"/><Relationship Id="rId63" Type="http://schemas.openxmlformats.org/officeDocument/2006/relationships/tags" Target="../tags/tag63.xml"/><Relationship Id="rId159" Type="http://schemas.openxmlformats.org/officeDocument/2006/relationships/tags" Target="../tags/tag159.xml"/><Relationship Id="rId170" Type="http://schemas.openxmlformats.org/officeDocument/2006/relationships/tags" Target="../tags/tag170.xml"/><Relationship Id="rId226" Type="http://schemas.openxmlformats.org/officeDocument/2006/relationships/tags" Target="../tags/tag226.xml"/><Relationship Id="rId268" Type="http://schemas.openxmlformats.org/officeDocument/2006/relationships/tags" Target="../tags/tag268.xml"/><Relationship Id="rId32" Type="http://schemas.openxmlformats.org/officeDocument/2006/relationships/tags" Target="../tags/tag32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5" Type="http://schemas.openxmlformats.org/officeDocument/2006/relationships/tags" Target="../tags/tag5.xml"/><Relationship Id="rId181" Type="http://schemas.openxmlformats.org/officeDocument/2006/relationships/tags" Target="../tags/tag181.xml"/><Relationship Id="rId237" Type="http://schemas.openxmlformats.org/officeDocument/2006/relationships/tags" Target="../tags/tag237.xml"/><Relationship Id="rId279" Type="http://schemas.openxmlformats.org/officeDocument/2006/relationships/tags" Target="../tags/tag279.xml"/><Relationship Id="rId43" Type="http://schemas.openxmlformats.org/officeDocument/2006/relationships/tags" Target="../tags/tag43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48" Type="http://schemas.openxmlformats.org/officeDocument/2006/relationships/tags" Target="../tags/tag248.xml"/><Relationship Id="rId12" Type="http://schemas.openxmlformats.org/officeDocument/2006/relationships/tags" Target="../tags/tag12.xml"/><Relationship Id="rId108" Type="http://schemas.openxmlformats.org/officeDocument/2006/relationships/tags" Target="../tags/tag108.xml"/><Relationship Id="rId315" Type="http://schemas.openxmlformats.org/officeDocument/2006/relationships/oleObject" Target="../embeddings/oleObject1.bin"/><Relationship Id="rId54" Type="http://schemas.openxmlformats.org/officeDocument/2006/relationships/tags" Target="../tags/tag54.xml"/><Relationship Id="rId96" Type="http://schemas.openxmlformats.org/officeDocument/2006/relationships/tags" Target="../tags/tag96.xml"/><Relationship Id="rId161" Type="http://schemas.openxmlformats.org/officeDocument/2006/relationships/tags" Target="../tags/tag161.xml"/><Relationship Id="rId217" Type="http://schemas.openxmlformats.org/officeDocument/2006/relationships/tags" Target="../tags/tag217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65" Type="http://schemas.openxmlformats.org/officeDocument/2006/relationships/tags" Target="../tags/tag65.xml"/><Relationship Id="rId130" Type="http://schemas.openxmlformats.org/officeDocument/2006/relationships/tags" Target="../tags/tag130.xml"/><Relationship Id="rId172" Type="http://schemas.openxmlformats.org/officeDocument/2006/relationships/tags" Target="../tags/tag172.xml"/><Relationship Id="rId228" Type="http://schemas.openxmlformats.org/officeDocument/2006/relationships/tags" Target="../tags/tag228.xml"/><Relationship Id="rId281" Type="http://schemas.openxmlformats.org/officeDocument/2006/relationships/tags" Target="../tags/tag281.xml"/><Relationship Id="rId34" Type="http://schemas.openxmlformats.org/officeDocument/2006/relationships/tags" Target="../tags/tag34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141" Type="http://schemas.openxmlformats.org/officeDocument/2006/relationships/tags" Target="../tags/tag141.xml"/><Relationship Id="rId7" Type="http://schemas.openxmlformats.org/officeDocument/2006/relationships/tags" Target="../tags/tag7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18" Type="http://schemas.openxmlformats.org/officeDocument/2006/relationships/tags" Target="../tags/tag218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71" Type="http://schemas.openxmlformats.org/officeDocument/2006/relationships/tags" Target="../tags/tag271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24" Type="http://schemas.openxmlformats.org/officeDocument/2006/relationships/tags" Target="../tags/tag24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31" Type="http://schemas.openxmlformats.org/officeDocument/2006/relationships/tags" Target="../tags/tag131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240" Type="http://schemas.openxmlformats.org/officeDocument/2006/relationships/tags" Target="../tags/tag240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17" Type="http://schemas.openxmlformats.org/officeDocument/2006/relationships/image" Target="../media/image15.png"/><Relationship Id="rId8" Type="http://schemas.openxmlformats.org/officeDocument/2006/relationships/tags" Target="../tags/tag8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219" Type="http://schemas.openxmlformats.org/officeDocument/2006/relationships/tags" Target="../tags/tag219.xml"/><Relationship Id="rId230" Type="http://schemas.openxmlformats.org/officeDocument/2006/relationships/tags" Target="../tags/tag230.xml"/><Relationship Id="rId251" Type="http://schemas.openxmlformats.org/officeDocument/2006/relationships/tags" Target="../tags/tag251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220" Type="http://schemas.openxmlformats.org/officeDocument/2006/relationships/tags" Target="../tags/tag220.xml"/><Relationship Id="rId241" Type="http://schemas.openxmlformats.org/officeDocument/2006/relationships/tags" Target="../tags/tag241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283" Type="http://schemas.openxmlformats.org/officeDocument/2006/relationships/tags" Target="../tags/tag283.xml"/><Relationship Id="rId318" Type="http://schemas.openxmlformats.org/officeDocument/2006/relationships/image" Target="../media/image16.png"/><Relationship Id="rId78" Type="http://schemas.openxmlformats.org/officeDocument/2006/relationships/tags" Target="../tags/tag78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64" Type="http://schemas.openxmlformats.org/officeDocument/2006/relationships/tags" Target="../tags/tag164.xml"/><Relationship Id="rId185" Type="http://schemas.openxmlformats.org/officeDocument/2006/relationships/tags" Target="../tags/tag185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image" Target="../media/image17.png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image" Target="../media/image18.png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image" Target="../media/image19.png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image" Target="../media/image20.jpeg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303" Type="http://schemas.openxmlformats.org/officeDocument/2006/relationships/tags" Target="../tags/tag303.xml"/><Relationship Id="rId42" Type="http://schemas.openxmlformats.org/officeDocument/2006/relationships/tags" Target="../tags/tag42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53" Type="http://schemas.openxmlformats.org/officeDocument/2006/relationships/tags" Target="../tags/tag53.xml"/><Relationship Id="rId149" Type="http://schemas.openxmlformats.org/officeDocument/2006/relationships/tags" Target="../tags/tag149.xml"/><Relationship Id="rId314" Type="http://schemas.openxmlformats.org/officeDocument/2006/relationships/slideLayout" Target="../slideLayouts/slideLayout2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216" Type="http://schemas.openxmlformats.org/officeDocument/2006/relationships/tags" Target="../tags/tag216.xml"/><Relationship Id="rId258" Type="http://schemas.openxmlformats.org/officeDocument/2006/relationships/tags" Target="../tags/tag258.xml"/><Relationship Id="rId22" Type="http://schemas.openxmlformats.org/officeDocument/2006/relationships/tags" Target="../tags/tag22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71" Type="http://schemas.openxmlformats.org/officeDocument/2006/relationships/tags" Target="../tags/tag171.xml"/><Relationship Id="rId227" Type="http://schemas.openxmlformats.org/officeDocument/2006/relationships/tags" Target="../tags/tag227.xml"/><Relationship Id="rId269" Type="http://schemas.openxmlformats.org/officeDocument/2006/relationships/tags" Target="../tags/tag269.xml"/><Relationship Id="rId33" Type="http://schemas.openxmlformats.org/officeDocument/2006/relationships/tags" Target="../tags/tag33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75" Type="http://schemas.openxmlformats.org/officeDocument/2006/relationships/tags" Target="../tags/tag75.xml"/><Relationship Id="rId140" Type="http://schemas.openxmlformats.org/officeDocument/2006/relationships/tags" Target="../tags/tag140.xml"/><Relationship Id="rId182" Type="http://schemas.openxmlformats.org/officeDocument/2006/relationships/tags" Target="../tags/tag182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44" Type="http://schemas.openxmlformats.org/officeDocument/2006/relationships/tags" Target="../tags/tag44.xml"/><Relationship Id="rId86" Type="http://schemas.openxmlformats.org/officeDocument/2006/relationships/tags" Target="../tags/tag86.xml"/><Relationship Id="rId151" Type="http://schemas.openxmlformats.org/officeDocument/2006/relationships/tags" Target="../tags/tag151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316" Type="http://schemas.openxmlformats.org/officeDocument/2006/relationships/image" Target="../media/image14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www.masen.ma/" TargetMode="External"/><Relationship Id="rId4" Type="http://schemas.openxmlformats.org/officeDocument/2006/relationships/image" Target="../media/image2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phique 12">
            <a:extLst>
              <a:ext uri="{FF2B5EF4-FFF2-40B4-BE49-F238E27FC236}">
                <a16:creationId xmlns:a16="http://schemas.microsoft.com/office/drawing/2014/main" id="{D801B3EB-67CB-E426-B670-A7DAA56FBDF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7986" y="4870064"/>
            <a:ext cx="1365250" cy="910167"/>
          </a:xfrm>
          <a:prstGeom prst="rect">
            <a:avLst/>
          </a:prstGeom>
        </p:spPr>
      </p:pic>
      <p:pic>
        <p:nvPicPr>
          <p:cNvPr id="15" name="Graphique 14">
            <a:extLst>
              <a:ext uri="{FF2B5EF4-FFF2-40B4-BE49-F238E27FC236}">
                <a16:creationId xmlns:a16="http://schemas.microsoft.com/office/drawing/2014/main" id="{F18BA5F8-9226-1F74-9F21-D51363A8E7C4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227873" y="4907893"/>
            <a:ext cx="1365249" cy="834508"/>
          </a:xfrm>
          <a:prstGeom prst="rect">
            <a:avLst/>
          </a:prstGeom>
        </p:spPr>
      </p:pic>
      <p:sp>
        <p:nvSpPr>
          <p:cNvPr id="16" name="ZoneTexte 15">
            <a:extLst>
              <a:ext uri="{FF2B5EF4-FFF2-40B4-BE49-F238E27FC236}">
                <a16:creationId xmlns:a16="http://schemas.microsoft.com/office/drawing/2014/main" id="{553121F0-7E7D-27EC-361E-7B3EA4457042}"/>
              </a:ext>
            </a:extLst>
          </p:cNvPr>
          <p:cNvSpPr txBox="1"/>
          <p:nvPr/>
        </p:nvSpPr>
        <p:spPr>
          <a:xfrm>
            <a:off x="0" y="1587417"/>
            <a:ext cx="12192000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latin typeface="Arial" panose="020B0604020202020204" pitchFamily="34" charset="0"/>
                <a:cs typeface="Arial" panose="020B0604020202020204" pitchFamily="34" charset="0"/>
              </a:rPr>
              <a:t>FINNPARTNERSHIP SEMINAR </a:t>
            </a:r>
          </a:p>
          <a:p>
            <a:pPr algn="ctr"/>
            <a:r>
              <a:rPr lang="en-US" sz="4400" b="1" dirty="0">
                <a:latin typeface="Arial" panose="020B0604020202020204" pitchFamily="34" charset="0"/>
                <a:cs typeface="Arial" panose="020B0604020202020204" pitchFamily="34" charset="0"/>
              </a:rPr>
              <a:t>DOING BUSINESS WITH FINLAND</a:t>
            </a:r>
          </a:p>
          <a:p>
            <a:pPr algn="ctr"/>
            <a:endParaRPr lang="en-US" sz="4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4400" b="1" dirty="0">
                <a:latin typeface="Arial" panose="020B0604020202020204" pitchFamily="34" charset="0"/>
                <a:cs typeface="Arial" panose="020B0604020202020204" pitchFamily="34" charset="0"/>
              </a:rPr>
              <a:t>February 20</a:t>
            </a:r>
            <a:r>
              <a:rPr lang="en-US" sz="4400" b="1" baseline="30000" dirty="0"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sz="4400" b="1" dirty="0">
                <a:latin typeface="Arial" panose="020B0604020202020204" pitchFamily="34" charset="0"/>
                <a:cs typeface="Arial" panose="020B0604020202020204" pitchFamily="34" charset="0"/>
              </a:rPr>
              <a:t>, 2025 - Casablanca</a:t>
            </a:r>
          </a:p>
          <a:p>
            <a:pPr algn="ctr"/>
            <a:endParaRPr lang="en-US" sz="4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sz="4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AutoShape 4" descr="Fichier:Flag of Côte d'Ivoire.svg — Wikipédia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8" name="AutoShape 6" descr="Fichier:Flag of Côte d'Ivoire.svg — Wikipédia"/>
          <p:cNvSpPr>
            <a:spLocks noChangeAspect="1" noChangeArrowheads="1"/>
          </p:cNvSpPr>
          <p:nvPr/>
        </p:nvSpPr>
        <p:spPr bwMode="auto">
          <a:xfrm>
            <a:off x="-1978979" y="-2430131"/>
            <a:ext cx="304800" cy="271747"/>
          </a:xfrm>
          <a:prstGeom prst="rect">
            <a:avLst/>
          </a:prstGeom>
          <a:noFill/>
          <a:effectLst>
            <a:outerShdw dist="50800" algn="ctr" rotWithShape="0">
              <a:srgbClr val="000000">
                <a:alpha val="43137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50" y="7937"/>
            <a:ext cx="2151077" cy="1431444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7587" y="160338"/>
            <a:ext cx="1843913" cy="861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5234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 : avec coins arrondis en diagonale 16">
            <a:extLst>
              <a:ext uri="{FF2B5EF4-FFF2-40B4-BE49-F238E27FC236}">
                <a16:creationId xmlns:a16="http://schemas.microsoft.com/office/drawing/2014/main" id="{3C8A7FF5-B22C-9103-1421-9497BA8063B7}"/>
              </a:ext>
            </a:extLst>
          </p:cNvPr>
          <p:cNvSpPr/>
          <p:nvPr/>
        </p:nvSpPr>
        <p:spPr>
          <a:xfrm rot="5400000">
            <a:off x="3444572" y="-1448442"/>
            <a:ext cx="5433237" cy="11179646"/>
          </a:xfrm>
          <a:prstGeom prst="round2DiagRect">
            <a:avLst>
              <a:gd name="adj1" fmla="val 0"/>
              <a:gd name="adj2" fmla="val 6932"/>
            </a:avLst>
          </a:prstGeom>
          <a:gradFill flip="none" rotWithShape="1">
            <a:gsLst>
              <a:gs pos="0">
                <a:schemeClr val="bg1"/>
              </a:gs>
              <a:gs pos="79000">
                <a:schemeClr val="bg1">
                  <a:lumMod val="9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75E63EF3-B184-614E-D4D8-3C29E0E29BD2}"/>
              </a:ext>
            </a:extLst>
          </p:cNvPr>
          <p:cNvSpPr txBox="1"/>
          <p:nvPr/>
        </p:nvSpPr>
        <p:spPr>
          <a:xfrm>
            <a:off x="350203" y="283567"/>
            <a:ext cx="11400810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R="0" lvl="0" indent="0" fontAlgn="auto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b="1">
                <a:latin typeface="Avenir Next LT Pro" panose="020B0504020202020204" pitchFamily="34" charset="77"/>
                <a:ea typeface="Lato Medium" panose="020F0502020204030203" pitchFamily="34" charset="0"/>
                <a:cs typeface="Lato Medium" panose="020F0502020204030203" pitchFamily="34" charset="0"/>
              </a:rPr>
              <a:t>Execution Driven 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42FC9BE5-1E2E-7995-9CC1-5B0B5E7A13BA}"/>
              </a:ext>
            </a:extLst>
          </p:cNvPr>
          <p:cNvSpPr txBox="1"/>
          <p:nvPr/>
        </p:nvSpPr>
        <p:spPr>
          <a:xfrm>
            <a:off x="11751013" y="6611779"/>
            <a:ext cx="364661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000">
                <a:solidFill>
                  <a:schemeClr val="bg1">
                    <a:lumMod val="65000"/>
                  </a:schemeClr>
                </a:solidFill>
                <a:latin typeface="Avenir Next LT Pro Light" panose="020B0304020202020204" pitchFamily="34" charset="0"/>
                <a:cs typeface="Arial" panose="020B0604020202020204" pitchFamily="34" charset="0"/>
              </a:rPr>
              <a:t>11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465633C0-F913-D7D2-2E65-128CB29C9DE6}"/>
              </a:ext>
            </a:extLst>
          </p:cNvPr>
          <p:cNvSpPr txBox="1"/>
          <p:nvPr/>
        </p:nvSpPr>
        <p:spPr>
          <a:xfrm>
            <a:off x="440987" y="979904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>
                <a:latin typeface="Avenir Next LT Pro Demi" panose="020B07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</a:t>
            </a:r>
            <a:r>
              <a:rPr lang="en-US" sz="1800" b="1">
                <a:effectLst/>
                <a:latin typeface="Avenir Next LT Pro Demi" panose="020B07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vestment friendly environment </a:t>
            </a:r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7A10582B-D71E-3F79-ADB8-27980B2AA72F}"/>
              </a:ext>
            </a:extLst>
          </p:cNvPr>
          <p:cNvGrpSpPr/>
          <p:nvPr/>
        </p:nvGrpSpPr>
        <p:grpSpPr>
          <a:xfrm>
            <a:off x="577174" y="1656731"/>
            <a:ext cx="4884998" cy="4548794"/>
            <a:chOff x="592321" y="1930774"/>
            <a:chExt cx="4884998" cy="4548794"/>
          </a:xfrm>
        </p:grpSpPr>
        <p:grpSp>
          <p:nvGrpSpPr>
            <p:cNvPr id="13" name="Groupe 12">
              <a:extLst>
                <a:ext uri="{FF2B5EF4-FFF2-40B4-BE49-F238E27FC236}">
                  <a16:creationId xmlns:a16="http://schemas.microsoft.com/office/drawing/2014/main" id="{61D2F82B-A335-F7AF-B0F6-5179FCA83A46}"/>
                </a:ext>
              </a:extLst>
            </p:cNvPr>
            <p:cNvGrpSpPr/>
            <p:nvPr/>
          </p:nvGrpSpPr>
          <p:grpSpPr>
            <a:xfrm>
              <a:off x="592321" y="2986196"/>
              <a:ext cx="4105275" cy="3493372"/>
              <a:chOff x="592321" y="2986196"/>
              <a:chExt cx="4105275" cy="3493372"/>
            </a:xfrm>
          </p:grpSpPr>
          <p:sp>
            <p:nvSpPr>
              <p:cNvPr id="24" name="Rectangle : avec coins arrondis en diagonale 23">
                <a:extLst>
                  <a:ext uri="{FF2B5EF4-FFF2-40B4-BE49-F238E27FC236}">
                    <a16:creationId xmlns:a16="http://schemas.microsoft.com/office/drawing/2014/main" id="{AFC57DC6-DEE8-D950-6E45-9E718C644FF1}"/>
                  </a:ext>
                </a:extLst>
              </p:cNvPr>
              <p:cNvSpPr/>
              <p:nvPr/>
            </p:nvSpPr>
            <p:spPr>
              <a:xfrm>
                <a:off x="592321" y="2986196"/>
                <a:ext cx="4105275" cy="3493372"/>
              </a:xfrm>
              <a:prstGeom prst="round2DiagRect">
                <a:avLst/>
              </a:prstGeom>
              <a:solidFill>
                <a:srgbClr val="007635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" name="ee4pContent2">
                <a:extLst>
                  <a:ext uri="{FF2B5EF4-FFF2-40B4-BE49-F238E27FC236}">
                    <a16:creationId xmlns:a16="http://schemas.microsoft.com/office/drawing/2014/main" id="{461340A7-B771-B68A-38CB-5561155B267F}"/>
                  </a:ext>
                </a:extLst>
              </p:cNvPr>
              <p:cNvSpPr txBox="1"/>
              <p:nvPr/>
            </p:nvSpPr>
            <p:spPr>
              <a:xfrm>
                <a:off x="878203" y="4540092"/>
                <a:ext cx="3333322" cy="246221"/>
              </a:xfrm>
              <a:prstGeom prst="rect">
                <a:avLst/>
              </a:prstGeom>
              <a:ln cap="rnd">
                <a:noFill/>
              </a:ln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pPr marL="0" indent="0">
                  <a:lnSpc>
                    <a:spcPct val="100000"/>
                  </a:lnSpc>
                  <a:spcBef>
                    <a:spcPts val="0"/>
                  </a:spcBef>
                  <a:buNone/>
                  <a:defRPr/>
                </a:pPr>
                <a:r>
                  <a:rPr lang="en-US" sz="1600" b="1">
                    <a:solidFill>
                      <a:schemeClr val="bg1"/>
                    </a:solidFill>
                    <a:latin typeface="Avenir Next LT Pro "/>
                  </a:rPr>
                  <a:t>A New Investment Charter (2022)</a:t>
                </a:r>
              </a:p>
            </p:txBody>
          </p:sp>
          <p:sp>
            <p:nvSpPr>
              <p:cNvPr id="28" name="ee4pContent2">
                <a:extLst>
                  <a:ext uri="{FF2B5EF4-FFF2-40B4-BE49-F238E27FC236}">
                    <a16:creationId xmlns:a16="http://schemas.microsoft.com/office/drawing/2014/main" id="{818E423B-4E8A-F598-EF3A-0EE6D3401E6D}"/>
                  </a:ext>
                </a:extLst>
              </p:cNvPr>
              <p:cNvSpPr txBox="1"/>
              <p:nvPr/>
            </p:nvSpPr>
            <p:spPr>
              <a:xfrm>
                <a:off x="878203" y="4926713"/>
                <a:ext cx="3547534" cy="1292662"/>
              </a:xfrm>
              <a:prstGeom prst="rect">
                <a:avLst/>
              </a:prstGeom>
              <a:ln cap="rnd">
                <a:noFill/>
              </a:ln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pPr>
                  <a:buNone/>
                  <a:defRPr/>
                </a:pPr>
                <a:r>
                  <a:rPr lang="en-US">
                    <a:solidFill>
                      <a:schemeClr val="bg1"/>
                    </a:solidFill>
                    <a:latin typeface="Avenir Next LT Pro "/>
                    <a:sym typeface="Symbol" panose="05050102010706020507" pitchFamily="18" charset="2"/>
                  </a:rPr>
                  <a:t> </a:t>
                </a:r>
                <a:r>
                  <a:rPr lang="en-US">
                    <a:solidFill>
                      <a:schemeClr val="bg1"/>
                    </a:solidFill>
                    <a:latin typeface="Avenir Next LT Pro "/>
                  </a:rPr>
                  <a:t>Incentives  of up to 30% CAPEX for projects exceeding $5m in investment or creating more than 150 jobs</a:t>
                </a:r>
              </a:p>
              <a:p>
                <a:pPr indent="-2857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US" b="1">
                  <a:solidFill>
                    <a:schemeClr val="bg1"/>
                  </a:solidFill>
                  <a:latin typeface="Avenir Next LT Pro "/>
                  <a:cs typeface="Arial" panose="020B0604020202020204" pitchFamily="34" charset="0"/>
                </a:endParaRPr>
              </a:p>
              <a:p>
                <a:pPr>
                  <a:lnSpc>
                    <a:spcPct val="100000"/>
                  </a:lnSpc>
                  <a:spcBef>
                    <a:spcPts val="0"/>
                  </a:spcBef>
                  <a:buNone/>
                  <a:defRPr/>
                </a:pPr>
                <a:r>
                  <a:rPr lang="en-US">
                    <a:solidFill>
                      <a:schemeClr val="bg1"/>
                    </a:solidFill>
                    <a:latin typeface="Avenir Next LT Pro "/>
                    <a:sym typeface="Symbol" panose="05050102010706020507" pitchFamily="18" charset="2"/>
                  </a:rPr>
                  <a:t> </a:t>
                </a:r>
                <a:r>
                  <a:rPr lang="en-US">
                    <a:solidFill>
                      <a:schemeClr val="bg1"/>
                    </a:solidFill>
                    <a:latin typeface="Avenir Next LT Pro "/>
                    <a:cs typeface="Arial" panose="020B0604020202020204" pitchFamily="34" charset="0"/>
                  </a:rPr>
                  <a:t>A tailor-made government support package for strategic projects with capital expenditures above $200 m, aligned with Morocco's priorities.</a:t>
                </a:r>
              </a:p>
            </p:txBody>
          </p:sp>
        </p:grpSp>
        <p:pic>
          <p:nvPicPr>
            <p:cNvPr id="29" name="Image 28">
              <a:extLst>
                <a:ext uri="{FF2B5EF4-FFF2-40B4-BE49-F238E27FC236}">
                  <a16:creationId xmlns:a16="http://schemas.microsoft.com/office/drawing/2014/main" id="{CF4A15AD-7B92-33D7-BB4D-2BFA78B1A29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323520" y="1930774"/>
              <a:ext cx="4153799" cy="2349125"/>
            </a:xfrm>
            <a:prstGeom prst="round2DiagRect">
              <a:avLst/>
            </a:prstGeom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7" name="Groupe 6">
            <a:extLst>
              <a:ext uri="{FF2B5EF4-FFF2-40B4-BE49-F238E27FC236}">
                <a16:creationId xmlns:a16="http://schemas.microsoft.com/office/drawing/2014/main" id="{E6D42735-5FFF-B4DC-2582-B5D3E853F3B1}"/>
              </a:ext>
            </a:extLst>
          </p:cNvPr>
          <p:cNvGrpSpPr/>
          <p:nvPr/>
        </p:nvGrpSpPr>
        <p:grpSpPr>
          <a:xfrm>
            <a:off x="6536987" y="783461"/>
            <a:ext cx="4909260" cy="5422064"/>
            <a:chOff x="6270387" y="1005303"/>
            <a:chExt cx="4909260" cy="5422064"/>
          </a:xfrm>
        </p:grpSpPr>
        <p:sp>
          <p:nvSpPr>
            <p:cNvPr id="23" name="Rectangle : avec coins arrondis en diagonale 22">
              <a:extLst>
                <a:ext uri="{FF2B5EF4-FFF2-40B4-BE49-F238E27FC236}">
                  <a16:creationId xmlns:a16="http://schemas.microsoft.com/office/drawing/2014/main" id="{79934F21-9111-ABBA-CC1B-9438165DB7A9}"/>
                </a:ext>
              </a:extLst>
            </p:cNvPr>
            <p:cNvSpPr/>
            <p:nvPr/>
          </p:nvSpPr>
          <p:spPr>
            <a:xfrm>
              <a:off x="6270387" y="2140841"/>
              <a:ext cx="4105275" cy="4286526"/>
            </a:xfrm>
            <a:prstGeom prst="round2DiagRect">
              <a:avLst/>
            </a:prstGeom>
            <a:solidFill>
              <a:srgbClr val="3CA4DC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2" name="Groupe 1">
              <a:extLst>
                <a:ext uri="{FF2B5EF4-FFF2-40B4-BE49-F238E27FC236}">
                  <a16:creationId xmlns:a16="http://schemas.microsoft.com/office/drawing/2014/main" id="{E2FB2579-EF1B-3B3D-D71D-AF3F06BA6394}"/>
                </a:ext>
              </a:extLst>
            </p:cNvPr>
            <p:cNvGrpSpPr/>
            <p:nvPr/>
          </p:nvGrpSpPr>
          <p:grpSpPr>
            <a:xfrm>
              <a:off x="6504839" y="1005303"/>
              <a:ext cx="4674808" cy="5256660"/>
              <a:chOff x="6504839" y="1005303"/>
              <a:chExt cx="4674808" cy="5256660"/>
            </a:xfrm>
          </p:grpSpPr>
          <p:sp>
            <p:nvSpPr>
              <p:cNvPr id="25" name="ee4pContent2">
                <a:extLst>
                  <a:ext uri="{FF2B5EF4-FFF2-40B4-BE49-F238E27FC236}">
                    <a16:creationId xmlns:a16="http://schemas.microsoft.com/office/drawing/2014/main" id="{713EBA26-0B95-9560-8FE3-63CE05641CA6}"/>
                  </a:ext>
                </a:extLst>
              </p:cNvPr>
              <p:cNvSpPr txBox="1"/>
              <p:nvPr/>
            </p:nvSpPr>
            <p:spPr>
              <a:xfrm>
                <a:off x="6547372" y="3479098"/>
                <a:ext cx="3827989" cy="492443"/>
              </a:xfrm>
              <a:prstGeom prst="rect">
                <a:avLst/>
              </a:prstGeom>
              <a:ln cap="rnd">
                <a:noFill/>
              </a:ln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pPr marR="0" lvl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tabLst/>
                  <a:defRPr/>
                </a:pPr>
                <a:r>
                  <a:rPr lang="en-US" sz="1600" b="1" kern="1200">
                    <a:solidFill>
                      <a:schemeClr val="bg1"/>
                    </a:solidFill>
                    <a:latin typeface="Avenir Next LT Pro "/>
                  </a:rPr>
                  <a:t>Special Economic Zones to facilitate installation and operations</a:t>
                </a:r>
              </a:p>
            </p:txBody>
          </p:sp>
          <p:sp>
            <p:nvSpPr>
              <p:cNvPr id="26" name="ee4pContent2">
                <a:extLst>
                  <a:ext uri="{FF2B5EF4-FFF2-40B4-BE49-F238E27FC236}">
                    <a16:creationId xmlns:a16="http://schemas.microsoft.com/office/drawing/2014/main" id="{7D4574A0-AE35-849C-D5AF-80176D0631D7}"/>
                  </a:ext>
                </a:extLst>
              </p:cNvPr>
              <p:cNvSpPr txBox="1"/>
              <p:nvPr/>
            </p:nvSpPr>
            <p:spPr>
              <a:xfrm>
                <a:off x="6504839" y="4169082"/>
                <a:ext cx="3660067" cy="2092881"/>
              </a:xfrm>
              <a:prstGeom prst="rect">
                <a:avLst/>
              </a:prstGeom>
              <a:ln cap="rnd">
                <a:noFill/>
              </a:ln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pPr marR="0" lvl="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None/>
                  <a:tabLst/>
                  <a:defRPr/>
                </a:pPr>
                <a:r>
                  <a:rPr lang="en-US">
                    <a:solidFill>
                      <a:schemeClr val="bg1"/>
                    </a:solidFill>
                    <a:latin typeface="Avenir Next LT Pro "/>
                    <a:sym typeface="Symbol" panose="05050102010706020507" pitchFamily="18" charset="2"/>
                  </a:rPr>
                  <a:t> </a:t>
                </a:r>
                <a:r>
                  <a:rPr lang="en-US" kern="1200">
                    <a:solidFill>
                      <a:schemeClr val="bg1"/>
                    </a:solidFill>
                    <a:latin typeface="Avenir Next LT Pro "/>
                  </a:rPr>
                  <a:t>One-stop shop and accelerated procedure : 2 weeks for a building permit</a:t>
                </a:r>
              </a:p>
              <a:p>
                <a:pPr marR="0" lvl="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None/>
                  <a:tabLst/>
                  <a:defRPr/>
                </a:pPr>
                <a:r>
                  <a:rPr lang="en-US">
                    <a:solidFill>
                      <a:schemeClr val="bg1"/>
                    </a:solidFill>
                    <a:latin typeface="Avenir Next LT Pro "/>
                    <a:sym typeface="Symbol" panose="05050102010706020507" pitchFamily="18" charset="2"/>
                  </a:rPr>
                  <a:t> </a:t>
                </a:r>
                <a:r>
                  <a:rPr lang="en-US" kern="1200">
                    <a:solidFill>
                      <a:schemeClr val="bg1"/>
                    </a:solidFill>
                    <a:latin typeface="Avenir Next LT Pro "/>
                  </a:rPr>
                  <a:t>5 years corporate tax exemption (followed by 20%)</a:t>
                </a:r>
              </a:p>
              <a:p>
                <a:pPr marR="0" lvl="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None/>
                  <a:tabLst/>
                  <a:defRPr/>
                </a:pPr>
                <a:r>
                  <a:rPr lang="en-US">
                    <a:solidFill>
                      <a:schemeClr val="bg1"/>
                    </a:solidFill>
                    <a:latin typeface="Avenir Next LT Pro "/>
                    <a:sym typeface="Symbol" panose="05050102010706020507" pitchFamily="18" charset="2"/>
                  </a:rPr>
                  <a:t> </a:t>
                </a:r>
                <a:r>
                  <a:rPr lang="en-US" i="0" kern="1200">
                    <a:solidFill>
                      <a:schemeClr val="bg1"/>
                    </a:solidFill>
                    <a:latin typeface="Avenir Next LT Pro "/>
                  </a:rPr>
                  <a:t>Commercial operations in the investor's currency of choice </a:t>
                </a:r>
                <a:endParaRPr lang="en-US" kern="1200">
                  <a:solidFill>
                    <a:schemeClr val="bg1"/>
                  </a:solidFill>
                  <a:latin typeface="Avenir Next LT Pro "/>
                </a:endParaRPr>
              </a:p>
              <a:p>
                <a:pPr marR="0" lvl="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None/>
                  <a:tabLst/>
                  <a:defRPr/>
                </a:pPr>
                <a:r>
                  <a:rPr lang="en-US">
                    <a:solidFill>
                      <a:schemeClr val="bg1"/>
                    </a:solidFill>
                    <a:latin typeface="Avenir Next LT Pro "/>
                    <a:sym typeface="Symbol" panose="05050102010706020507" pitchFamily="18" charset="2"/>
                  </a:rPr>
                  <a:t> </a:t>
                </a:r>
                <a:r>
                  <a:rPr lang="en-US" kern="1200">
                    <a:solidFill>
                      <a:schemeClr val="bg1"/>
                    </a:solidFill>
                    <a:latin typeface="Avenir Next LT Pro "/>
                  </a:rPr>
                  <a:t>Exemption from VAT and customs duties</a:t>
                </a:r>
              </a:p>
              <a:p>
                <a:pPr marR="0" lvl="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None/>
                  <a:tabLst/>
                  <a:defRPr/>
                </a:pPr>
                <a:r>
                  <a:rPr lang="en-US">
                    <a:solidFill>
                      <a:schemeClr val="bg1"/>
                    </a:solidFill>
                    <a:latin typeface="Avenir Next LT Pro "/>
                    <a:sym typeface="Symbol" panose="05050102010706020507" pitchFamily="18" charset="2"/>
                  </a:rPr>
                  <a:t> </a:t>
                </a:r>
                <a:r>
                  <a:rPr lang="en-US" kern="1200">
                    <a:solidFill>
                      <a:schemeClr val="bg1"/>
                    </a:solidFill>
                    <a:latin typeface="Avenir Next LT Pro "/>
                  </a:rPr>
                  <a:t>Dedicated training institutes and recruitment support</a:t>
                </a:r>
              </a:p>
            </p:txBody>
          </p:sp>
          <p:pic>
            <p:nvPicPr>
              <p:cNvPr id="30" name="Picture 2" descr="Northern Morocco’s Fnideq Inaugurate Commercial Zone">
                <a:extLst>
                  <a:ext uri="{FF2B5EF4-FFF2-40B4-BE49-F238E27FC236}">
                    <a16:creationId xmlns:a16="http://schemas.microsoft.com/office/drawing/2014/main" id="{FDCB51B0-22F6-BF69-A648-BFB0DA2F6CA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050110" y="1005303"/>
                <a:ext cx="4129537" cy="2349125"/>
              </a:xfrm>
              <a:prstGeom prst="round2DiagRect">
                <a:avLst/>
              </a:prstGeom>
              <a:noFill/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33646110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5">
            <a:extLst>
              <a:ext uri="{FF2B5EF4-FFF2-40B4-BE49-F238E27FC236}">
                <a16:creationId xmlns:a16="http://schemas.microsoft.com/office/drawing/2014/main" id="{F0C8B7E2-68EC-39CF-E023-E8988B368393}"/>
              </a:ext>
            </a:extLst>
          </p:cNvPr>
          <p:cNvSpPr txBox="1"/>
          <p:nvPr/>
        </p:nvSpPr>
        <p:spPr>
          <a:xfrm>
            <a:off x="5356461" y="304623"/>
            <a:ext cx="799055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000" b="1">
                <a:effectLst/>
                <a:latin typeface="Avenir Next LT Pro" panose="020B0504020202020204" pitchFamily="34" charset="77"/>
                <a:ea typeface="Lato Medium" panose="020F0502020204030203" pitchFamily="34" charset="0"/>
                <a:cs typeface="Lato Medium" panose="020F0502020204030203" pitchFamily="34" charset="0"/>
              </a:rPr>
              <a:t>Execution Driven </a:t>
            </a:r>
            <a:endParaRPr lang="fr-FR" sz="4000" b="1">
              <a:solidFill>
                <a:schemeClr val="tx1">
                  <a:lumMod val="85000"/>
                  <a:lumOff val="15000"/>
                </a:schemeClr>
              </a:solidFill>
              <a:latin typeface="Avenir Next LT Pro" panose="020B0504020202020204" pitchFamily="34" charset="77"/>
              <a:ea typeface="Lato Medium" panose="020F0502020204030203" pitchFamily="34" charset="0"/>
              <a:cs typeface="Lato Medium" panose="020F0502020204030203" pitchFamily="34" charset="0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B84599EF-11E1-FC85-5E2B-C954175E6F41}"/>
              </a:ext>
            </a:extLst>
          </p:cNvPr>
          <p:cNvSpPr txBox="1"/>
          <p:nvPr/>
        </p:nvSpPr>
        <p:spPr>
          <a:xfrm>
            <a:off x="11751013" y="6611779"/>
            <a:ext cx="364661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000">
                <a:solidFill>
                  <a:schemeClr val="bg1">
                    <a:lumMod val="65000"/>
                  </a:schemeClr>
                </a:solidFill>
                <a:latin typeface="Avenir Next LT Pro Light" panose="020B03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5" name="TextBox 55">
            <a:extLst>
              <a:ext uri="{FF2B5EF4-FFF2-40B4-BE49-F238E27FC236}">
                <a16:creationId xmlns:a16="http://schemas.microsoft.com/office/drawing/2014/main" id="{32B7C39E-9885-59D8-2EF5-C12FAD10E48A}"/>
              </a:ext>
            </a:extLst>
          </p:cNvPr>
          <p:cNvSpPr txBox="1"/>
          <p:nvPr/>
        </p:nvSpPr>
        <p:spPr>
          <a:xfrm>
            <a:off x="5407897" y="1043344"/>
            <a:ext cx="799055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>
                <a:latin typeface="Avenir Next LT Pro Demi" panose="020B0704020202020204" pitchFamily="34" charset="0"/>
                <a:cs typeface="Arial" panose="020B0604020202020204" pitchFamily="34" charset="0"/>
              </a:rPr>
              <a:t>Fast project delivery </a:t>
            </a:r>
          </a:p>
        </p:txBody>
      </p:sp>
      <p:grpSp>
        <p:nvGrpSpPr>
          <p:cNvPr id="12" name="Groupe 11">
            <a:extLst>
              <a:ext uri="{FF2B5EF4-FFF2-40B4-BE49-F238E27FC236}">
                <a16:creationId xmlns:a16="http://schemas.microsoft.com/office/drawing/2014/main" id="{99908CCC-6B5A-327F-BCAA-C9FBCB9F6F37}"/>
              </a:ext>
            </a:extLst>
          </p:cNvPr>
          <p:cNvGrpSpPr/>
          <p:nvPr/>
        </p:nvGrpSpPr>
        <p:grpSpPr>
          <a:xfrm>
            <a:off x="5480683" y="1785958"/>
            <a:ext cx="6491577" cy="4355441"/>
            <a:chOff x="5480683" y="1785958"/>
            <a:chExt cx="6491577" cy="4355441"/>
          </a:xfrm>
        </p:grpSpPr>
        <p:sp>
          <p:nvSpPr>
            <p:cNvPr id="132" name="Rectangle : avec coins arrondis en diagonale 131">
              <a:extLst>
                <a:ext uri="{FF2B5EF4-FFF2-40B4-BE49-F238E27FC236}">
                  <a16:creationId xmlns:a16="http://schemas.microsoft.com/office/drawing/2014/main" id="{3279A3BD-8CF8-44FD-9997-01E878331527}"/>
                </a:ext>
              </a:extLst>
            </p:cNvPr>
            <p:cNvSpPr/>
            <p:nvPr/>
          </p:nvSpPr>
          <p:spPr>
            <a:xfrm>
              <a:off x="5577608" y="5102739"/>
              <a:ext cx="6394652" cy="1038660"/>
            </a:xfrm>
            <a:prstGeom prst="round2DiagRect">
              <a:avLst>
                <a:gd name="adj1" fmla="val 0"/>
                <a:gd name="adj2" fmla="val 23842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MA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grpSp>
          <p:nvGrpSpPr>
            <p:cNvPr id="7" name="Groupe 6">
              <a:extLst>
                <a:ext uri="{FF2B5EF4-FFF2-40B4-BE49-F238E27FC236}">
                  <a16:creationId xmlns:a16="http://schemas.microsoft.com/office/drawing/2014/main" id="{0E30D027-52A9-D58C-2B23-6105A8238AF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480683" y="1785958"/>
              <a:ext cx="6144667" cy="2916000"/>
              <a:chOff x="1878663" y="1085862"/>
              <a:chExt cx="8703455" cy="4134093"/>
            </a:xfrm>
          </p:grpSpPr>
          <p:grpSp>
            <p:nvGrpSpPr>
              <p:cNvPr id="8" name="Groupe 7">
                <a:extLst>
                  <a:ext uri="{FF2B5EF4-FFF2-40B4-BE49-F238E27FC236}">
                    <a16:creationId xmlns:a16="http://schemas.microsoft.com/office/drawing/2014/main" id="{75889F31-D418-FE6A-9B09-72E37DE6CBBC}"/>
                  </a:ext>
                </a:extLst>
              </p:cNvPr>
              <p:cNvGrpSpPr/>
              <p:nvPr/>
            </p:nvGrpSpPr>
            <p:grpSpPr>
              <a:xfrm>
                <a:off x="1878663" y="1085862"/>
                <a:ext cx="8703455" cy="4134093"/>
                <a:chOff x="1878663" y="1085862"/>
                <a:chExt cx="8703455" cy="4134093"/>
              </a:xfrm>
            </p:grpSpPr>
            <p:pic>
              <p:nvPicPr>
                <p:cNvPr id="10" name="Image 9">
                  <a:extLst>
                    <a:ext uri="{FF2B5EF4-FFF2-40B4-BE49-F238E27FC236}">
                      <a16:creationId xmlns:a16="http://schemas.microsoft.com/office/drawing/2014/main" id="{6D08440A-E0A7-DA24-B804-947323C1E54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2" cstate="email">
                  <a:extLst>
                    <a:ext uri="{BEBA8EAE-BF5A-486C-A8C5-ECC9F3942E4B}">
                      <a14:imgProps xmlns:a14="http://schemas.microsoft.com/office/drawing/2010/main">
                        <a14:imgLayer r:embed="rId3">
                          <a14:imgEffect>
                            <a14:backgroundRemoval t="7980" b="88778" l="3623" r="97907">
                              <a14:foregroundMark x1="67311" y1="7980" x2="78583" y2="8978"/>
                              <a14:foregroundMark x1="91948" y1="32918" x2="91948" y2="32918"/>
                              <a14:foregroundMark x1="93800" y1="45387" x2="79710" y2="54364"/>
                              <a14:foregroundMark x1="97907" y1="45387" x2="86795" y2="49875"/>
                              <a14:foregroundMark x1="54106" y1="85287" x2="23994" y2="79052"/>
                              <a14:foregroundMark x1="23994" y1="79052" x2="11997" y2="85037"/>
                              <a14:foregroundMark x1="3704" y1="84788" x2="3704" y2="84788"/>
                            </a14:backgroundRemoval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2772534" y="1911379"/>
                  <a:ext cx="7809584" cy="2726023"/>
                </a:xfrm>
                <a:prstGeom prst="rect">
                  <a:avLst/>
                </a:prstGeom>
                <a:effectLst>
                  <a:outerShdw blurRad="152400" dist="317500" dir="5400000" sx="90000" sy="-19000" rotWithShape="0">
                    <a:prstClr val="black">
                      <a:alpha val="15000"/>
                    </a:prstClr>
                  </a:outerShdw>
                </a:effectLst>
              </p:spPr>
            </p:pic>
            <p:grpSp>
              <p:nvGrpSpPr>
                <p:cNvPr id="11" name="Groupe 10">
                  <a:extLst>
                    <a:ext uri="{FF2B5EF4-FFF2-40B4-BE49-F238E27FC236}">
                      <a16:creationId xmlns:a16="http://schemas.microsoft.com/office/drawing/2014/main" id="{C0464489-B771-5FD5-E9ED-6935D5C4C30E}"/>
                    </a:ext>
                  </a:extLst>
                </p:cNvPr>
                <p:cNvGrpSpPr/>
                <p:nvPr/>
              </p:nvGrpSpPr>
              <p:grpSpPr>
                <a:xfrm>
                  <a:off x="2817489" y="1085862"/>
                  <a:ext cx="7619329" cy="3094917"/>
                  <a:chOff x="2817489" y="1085862"/>
                  <a:chExt cx="7619329" cy="3094917"/>
                </a:xfrm>
              </p:grpSpPr>
              <p:pic>
                <p:nvPicPr>
                  <p:cNvPr id="84" name="Image 83">
                    <a:extLst>
                      <a:ext uri="{FF2B5EF4-FFF2-40B4-BE49-F238E27FC236}">
                        <a16:creationId xmlns:a16="http://schemas.microsoft.com/office/drawing/2014/main" id="{F7524E9B-60B9-0F59-504C-B8829A9571C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4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>
                  <a:xfrm>
                    <a:off x="5975813" y="2989239"/>
                    <a:ext cx="872925" cy="100691"/>
                  </a:xfrm>
                  <a:prstGeom prst="rect">
                    <a:avLst/>
                  </a:prstGeom>
                </p:spPr>
              </p:pic>
              <p:pic>
                <p:nvPicPr>
                  <p:cNvPr id="85" name="Image 84">
                    <a:extLst>
                      <a:ext uri="{FF2B5EF4-FFF2-40B4-BE49-F238E27FC236}">
                        <a16:creationId xmlns:a16="http://schemas.microsoft.com/office/drawing/2014/main" id="{FCE8BE93-70A4-E0FA-5CF4-6A402BCDBB1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5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>
                  <a:xfrm>
                    <a:off x="6660423" y="2506652"/>
                    <a:ext cx="690845" cy="208269"/>
                  </a:xfrm>
                  <a:prstGeom prst="rect">
                    <a:avLst/>
                  </a:prstGeom>
                </p:spPr>
              </p:pic>
              <p:pic>
                <p:nvPicPr>
                  <p:cNvPr id="86" name="Image 85" descr="Une image contenant clipart, arts de la table&#10;&#10;Description générée automatiquement">
                    <a:extLst>
                      <a:ext uri="{FF2B5EF4-FFF2-40B4-BE49-F238E27FC236}">
                        <a16:creationId xmlns:a16="http://schemas.microsoft.com/office/drawing/2014/main" id="{43E0DCD2-7227-21E4-7C0D-BCE659C166A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834925" y="3923031"/>
                    <a:ext cx="489030" cy="133064"/>
                  </a:xfrm>
                  <a:prstGeom prst="rect">
                    <a:avLst/>
                  </a:prstGeom>
                </p:spPr>
              </p:pic>
              <p:pic>
                <p:nvPicPr>
                  <p:cNvPr id="87" name="Image 86" descr="Une image contenant clipart&#10;&#10;Description générée automatiquement">
                    <a:extLst>
                      <a:ext uri="{FF2B5EF4-FFF2-40B4-BE49-F238E27FC236}">
                        <a16:creationId xmlns:a16="http://schemas.microsoft.com/office/drawing/2014/main" id="{494DD802-622F-DF6D-F367-5471F5D3290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7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>
                  <a:xfrm>
                    <a:off x="4402485" y="2961046"/>
                    <a:ext cx="368127" cy="334408"/>
                  </a:xfrm>
                  <a:prstGeom prst="rect">
                    <a:avLst/>
                  </a:prstGeom>
                </p:spPr>
              </p:pic>
              <p:cxnSp>
                <p:nvCxnSpPr>
                  <p:cNvPr id="88" name="Connecteur droit 87">
                    <a:extLst>
                      <a:ext uri="{FF2B5EF4-FFF2-40B4-BE49-F238E27FC236}">
                        <a16:creationId xmlns:a16="http://schemas.microsoft.com/office/drawing/2014/main" id="{CB778A94-D827-D8A3-A900-A3D289B5340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6215127" y="3108578"/>
                    <a:ext cx="164241" cy="387551"/>
                  </a:xfrm>
                  <a:prstGeom prst="line">
                    <a:avLst/>
                  </a:prstGeom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9" name="Connecteur droit 88">
                    <a:extLst>
                      <a:ext uri="{FF2B5EF4-FFF2-40B4-BE49-F238E27FC236}">
                        <a16:creationId xmlns:a16="http://schemas.microsoft.com/office/drawing/2014/main" id="{0F0866BC-F82F-D3D7-BF85-3B4A195953CB}"/>
                      </a:ext>
                    </a:extLst>
                  </p:cNvPr>
                  <p:cNvCxnSpPr>
                    <a:stCxn id="119" idx="3"/>
                  </p:cNvCxnSpPr>
                  <p:nvPr/>
                </p:nvCxnSpPr>
                <p:spPr>
                  <a:xfrm>
                    <a:off x="4268620" y="3276068"/>
                    <a:ext cx="1456828" cy="535187"/>
                  </a:xfrm>
                  <a:prstGeom prst="line">
                    <a:avLst/>
                  </a:prstGeom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0" name="Connecteur droit 89">
                    <a:extLst>
                      <a:ext uri="{FF2B5EF4-FFF2-40B4-BE49-F238E27FC236}">
                        <a16:creationId xmlns:a16="http://schemas.microsoft.com/office/drawing/2014/main" id="{6440F59F-CE5F-161A-9C58-B011CE2CBD8D}"/>
                      </a:ext>
                    </a:extLst>
                  </p:cNvPr>
                  <p:cNvCxnSpPr>
                    <a:stCxn id="87" idx="3"/>
                  </p:cNvCxnSpPr>
                  <p:nvPr/>
                </p:nvCxnSpPr>
                <p:spPr>
                  <a:xfrm>
                    <a:off x="4770612" y="3128250"/>
                    <a:ext cx="954836" cy="683005"/>
                  </a:xfrm>
                  <a:prstGeom prst="line">
                    <a:avLst/>
                  </a:prstGeom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1" name="Connecteur droit 90">
                    <a:extLst>
                      <a:ext uri="{FF2B5EF4-FFF2-40B4-BE49-F238E27FC236}">
                        <a16:creationId xmlns:a16="http://schemas.microsoft.com/office/drawing/2014/main" id="{E3F54996-0A12-B834-5C9B-9DCE071DEFF6}"/>
                      </a:ext>
                    </a:extLst>
                  </p:cNvPr>
                  <p:cNvCxnSpPr/>
                  <p:nvPr/>
                </p:nvCxnSpPr>
                <p:spPr>
                  <a:xfrm>
                    <a:off x="5612775" y="3295454"/>
                    <a:ext cx="602350" cy="627577"/>
                  </a:xfrm>
                  <a:prstGeom prst="line">
                    <a:avLst/>
                  </a:prstGeom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2" name="Connecteur droit 91">
                    <a:extLst>
                      <a:ext uri="{FF2B5EF4-FFF2-40B4-BE49-F238E27FC236}">
                        <a16:creationId xmlns:a16="http://schemas.microsoft.com/office/drawing/2014/main" id="{C2BC83F9-4AF9-F492-0D2C-FC7BCC0DC438}"/>
                      </a:ext>
                    </a:extLst>
                  </p:cNvPr>
                  <p:cNvCxnSpPr>
                    <a:cxnSpLocks/>
                    <a:stCxn id="85" idx="2"/>
                  </p:cNvCxnSpPr>
                  <p:nvPr/>
                </p:nvCxnSpPr>
                <p:spPr>
                  <a:xfrm flipH="1">
                    <a:off x="6809988" y="2714921"/>
                    <a:ext cx="195858" cy="712560"/>
                  </a:xfrm>
                  <a:prstGeom prst="line">
                    <a:avLst/>
                  </a:prstGeom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3" name="Connecteur droit 92">
                    <a:extLst>
                      <a:ext uri="{FF2B5EF4-FFF2-40B4-BE49-F238E27FC236}">
                        <a16:creationId xmlns:a16="http://schemas.microsoft.com/office/drawing/2014/main" id="{FF7312F1-E928-FF27-12FF-EFD15FA52B36}"/>
                      </a:ext>
                    </a:extLst>
                  </p:cNvPr>
                  <p:cNvCxnSpPr>
                    <a:stCxn id="86" idx="1"/>
                  </p:cNvCxnSpPr>
                  <p:nvPr/>
                </p:nvCxnSpPr>
                <p:spPr>
                  <a:xfrm flipH="1" flipV="1">
                    <a:off x="6532402" y="3659045"/>
                    <a:ext cx="2302523" cy="330518"/>
                  </a:xfrm>
                  <a:prstGeom prst="line">
                    <a:avLst/>
                  </a:prstGeom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4" name="Connecteur droit 93">
                    <a:extLst>
                      <a:ext uri="{FF2B5EF4-FFF2-40B4-BE49-F238E27FC236}">
                        <a16:creationId xmlns:a16="http://schemas.microsoft.com/office/drawing/2014/main" id="{F537A7EB-15D1-0607-EDA6-58B775BA6497}"/>
                      </a:ext>
                    </a:extLst>
                  </p:cNvPr>
                  <p:cNvCxnSpPr>
                    <a:stCxn id="19" idx="1"/>
                  </p:cNvCxnSpPr>
                  <p:nvPr/>
                </p:nvCxnSpPr>
                <p:spPr>
                  <a:xfrm flipH="1" flipV="1">
                    <a:off x="7044596" y="4120517"/>
                    <a:ext cx="1490242" cy="60262"/>
                  </a:xfrm>
                  <a:prstGeom prst="line">
                    <a:avLst/>
                  </a:prstGeom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pic>
                <p:nvPicPr>
                  <p:cNvPr id="95" name="Image 94">
                    <a:extLst>
                      <a:ext uri="{FF2B5EF4-FFF2-40B4-BE49-F238E27FC236}">
                        <a16:creationId xmlns:a16="http://schemas.microsoft.com/office/drawing/2014/main" id="{7C0AF351-77F3-A3FA-D6F7-8828DE8B417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8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>
                  <a:xfrm>
                    <a:off x="7785260" y="1254498"/>
                    <a:ext cx="706256" cy="201653"/>
                  </a:xfrm>
                  <a:prstGeom prst="rect">
                    <a:avLst/>
                  </a:prstGeom>
                </p:spPr>
              </p:pic>
              <p:pic>
                <p:nvPicPr>
                  <p:cNvPr id="96" name="Image 95">
                    <a:extLst>
                      <a:ext uri="{FF2B5EF4-FFF2-40B4-BE49-F238E27FC236}">
                        <a16:creationId xmlns:a16="http://schemas.microsoft.com/office/drawing/2014/main" id="{7680728E-824E-0E49-1C72-94703043DDB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9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>
                  <a:xfrm>
                    <a:off x="9699132" y="1210183"/>
                    <a:ext cx="737686" cy="143495"/>
                  </a:xfrm>
                  <a:prstGeom prst="rect">
                    <a:avLst/>
                  </a:prstGeom>
                </p:spPr>
              </p:pic>
              <p:pic>
                <p:nvPicPr>
                  <p:cNvPr id="97" name="Image 96">
                    <a:extLst>
                      <a:ext uri="{FF2B5EF4-FFF2-40B4-BE49-F238E27FC236}">
                        <a16:creationId xmlns:a16="http://schemas.microsoft.com/office/drawing/2014/main" id="{BECA318C-C51B-75DB-5398-3D51DBDCDD1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10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>
                  <a:xfrm>
                    <a:off x="6597530" y="1430974"/>
                    <a:ext cx="416246" cy="376959"/>
                  </a:xfrm>
                  <a:prstGeom prst="rect">
                    <a:avLst/>
                  </a:prstGeom>
                </p:spPr>
              </p:pic>
              <p:pic>
                <p:nvPicPr>
                  <p:cNvPr id="98" name="Image 97" descr="Une image contenant clipart&#10;&#10;Description générée automatiquement">
                    <a:extLst>
                      <a:ext uri="{FF2B5EF4-FFF2-40B4-BE49-F238E27FC236}">
                        <a16:creationId xmlns:a16="http://schemas.microsoft.com/office/drawing/2014/main" id="{AE225D52-D054-8DA2-0E5F-9FA46B43A47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1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706939" y="1441412"/>
                    <a:ext cx="775239" cy="138845"/>
                  </a:xfrm>
                  <a:prstGeom prst="rect">
                    <a:avLst/>
                  </a:prstGeom>
                </p:spPr>
              </p:pic>
              <p:pic>
                <p:nvPicPr>
                  <p:cNvPr id="99" name="Image 98" descr="Une image contenant objets métalliques&#10;&#10;Description générée automatiquement">
                    <a:extLst>
                      <a:ext uri="{FF2B5EF4-FFF2-40B4-BE49-F238E27FC236}">
                        <a16:creationId xmlns:a16="http://schemas.microsoft.com/office/drawing/2014/main" id="{01BEB403-C1AD-72F6-27BD-22B29AA9603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2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506250" y="1085862"/>
                    <a:ext cx="1023481" cy="131956"/>
                  </a:xfrm>
                  <a:prstGeom prst="rect">
                    <a:avLst/>
                  </a:prstGeom>
                </p:spPr>
              </p:pic>
              <p:pic>
                <p:nvPicPr>
                  <p:cNvPr id="100" name="Image 99" descr="Une image contenant texte&#10;&#10;Description générée automatiquement">
                    <a:extLst>
                      <a:ext uri="{FF2B5EF4-FFF2-40B4-BE49-F238E27FC236}">
                        <a16:creationId xmlns:a16="http://schemas.microsoft.com/office/drawing/2014/main" id="{069707C3-0A14-7017-6E7F-D04E43E2597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13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>
                  <a:xfrm>
                    <a:off x="10034214" y="1693050"/>
                    <a:ext cx="334260" cy="423501"/>
                  </a:xfrm>
                  <a:prstGeom prst="rect">
                    <a:avLst/>
                  </a:prstGeom>
                </p:spPr>
              </p:pic>
              <p:pic>
                <p:nvPicPr>
                  <p:cNvPr id="101" name="Image 100">
                    <a:extLst>
                      <a:ext uri="{FF2B5EF4-FFF2-40B4-BE49-F238E27FC236}">
                        <a16:creationId xmlns:a16="http://schemas.microsoft.com/office/drawing/2014/main" id="{29A1D056-C5FF-D4D0-CB01-1CAF7734726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4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104500" y="1765553"/>
                    <a:ext cx="416246" cy="334303"/>
                  </a:xfrm>
                  <a:prstGeom prst="rect">
                    <a:avLst/>
                  </a:prstGeom>
                </p:spPr>
              </p:pic>
              <p:pic>
                <p:nvPicPr>
                  <p:cNvPr id="102" name="Image 101" descr="Une image contenant clipart&#10;&#10;Description générée automatiquement">
                    <a:extLst>
                      <a:ext uri="{FF2B5EF4-FFF2-40B4-BE49-F238E27FC236}">
                        <a16:creationId xmlns:a16="http://schemas.microsoft.com/office/drawing/2014/main" id="{E988CC3C-29CA-78A3-7AED-2A7839FEFDE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15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>
                  <a:xfrm>
                    <a:off x="6985387" y="1104320"/>
                    <a:ext cx="599280" cy="293484"/>
                  </a:xfrm>
                  <a:prstGeom prst="rect">
                    <a:avLst/>
                  </a:prstGeom>
                </p:spPr>
              </p:pic>
              <p:cxnSp>
                <p:nvCxnSpPr>
                  <p:cNvPr id="103" name="Connecteur droit 102">
                    <a:extLst>
                      <a:ext uri="{FF2B5EF4-FFF2-40B4-BE49-F238E27FC236}">
                        <a16:creationId xmlns:a16="http://schemas.microsoft.com/office/drawing/2014/main" id="{3BE92082-8383-D0EB-B38E-1C9FDA71E87E}"/>
                      </a:ext>
                    </a:extLst>
                  </p:cNvPr>
                  <p:cNvCxnSpPr>
                    <a:cxnSpLocks/>
                    <a:endCxn id="10" idx="0"/>
                  </p:cNvCxnSpPr>
                  <p:nvPr/>
                </p:nvCxnSpPr>
                <p:spPr>
                  <a:xfrm flipH="1" flipV="1">
                    <a:off x="6677326" y="1911379"/>
                    <a:ext cx="1103538" cy="264182"/>
                  </a:xfrm>
                  <a:prstGeom prst="line">
                    <a:avLst/>
                  </a:prstGeom>
                  <a:ln>
                    <a:solidFill>
                      <a:schemeClr val="bg1">
                        <a:lumMod val="7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4" name="Connecteur droit 103">
                    <a:extLst>
                      <a:ext uri="{FF2B5EF4-FFF2-40B4-BE49-F238E27FC236}">
                        <a16:creationId xmlns:a16="http://schemas.microsoft.com/office/drawing/2014/main" id="{6623FBC9-07C9-086F-0AC4-3217805DC7EF}"/>
                      </a:ext>
                    </a:extLst>
                  </p:cNvPr>
                  <p:cNvCxnSpPr>
                    <a:endCxn id="97" idx="3"/>
                  </p:cNvCxnSpPr>
                  <p:nvPr/>
                </p:nvCxnSpPr>
                <p:spPr>
                  <a:xfrm flipH="1" flipV="1">
                    <a:off x="7013776" y="1619454"/>
                    <a:ext cx="922715" cy="622641"/>
                  </a:xfrm>
                  <a:prstGeom prst="line">
                    <a:avLst/>
                  </a:prstGeom>
                  <a:ln>
                    <a:solidFill>
                      <a:schemeClr val="bg1">
                        <a:lumMod val="7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5" name="Connecteur droit 104">
                    <a:extLst>
                      <a:ext uri="{FF2B5EF4-FFF2-40B4-BE49-F238E27FC236}">
                        <a16:creationId xmlns:a16="http://schemas.microsoft.com/office/drawing/2014/main" id="{C49C2FCE-C1B5-5C6E-56FA-2D084648EE1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 flipV="1">
                    <a:off x="7620001" y="1484914"/>
                    <a:ext cx="376583" cy="552084"/>
                  </a:xfrm>
                  <a:prstGeom prst="line">
                    <a:avLst/>
                  </a:prstGeom>
                  <a:ln>
                    <a:solidFill>
                      <a:schemeClr val="bg1">
                        <a:lumMod val="7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6" name="Connecteur droit 105">
                    <a:extLst>
                      <a:ext uri="{FF2B5EF4-FFF2-40B4-BE49-F238E27FC236}">
                        <a16:creationId xmlns:a16="http://schemas.microsoft.com/office/drawing/2014/main" id="{5BA9718C-C83B-1A1B-57A5-418CD2E9917E}"/>
                      </a:ext>
                    </a:extLst>
                  </p:cNvPr>
                  <p:cNvCxnSpPr>
                    <a:cxnSpLocks/>
                    <a:endCxn id="95" idx="2"/>
                  </p:cNvCxnSpPr>
                  <p:nvPr/>
                </p:nvCxnSpPr>
                <p:spPr>
                  <a:xfrm flipV="1">
                    <a:off x="8138388" y="1456151"/>
                    <a:ext cx="0" cy="719409"/>
                  </a:xfrm>
                  <a:prstGeom prst="line">
                    <a:avLst/>
                  </a:prstGeom>
                  <a:ln>
                    <a:solidFill>
                      <a:schemeClr val="bg1">
                        <a:lumMod val="7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7" name="Connecteur droit 106">
                    <a:extLst>
                      <a:ext uri="{FF2B5EF4-FFF2-40B4-BE49-F238E27FC236}">
                        <a16:creationId xmlns:a16="http://schemas.microsoft.com/office/drawing/2014/main" id="{DA5B1B36-D186-008A-0256-A11F9CC0EB8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8150288" y="1234267"/>
                    <a:ext cx="695242" cy="954987"/>
                  </a:xfrm>
                  <a:prstGeom prst="line">
                    <a:avLst/>
                  </a:prstGeom>
                  <a:ln>
                    <a:solidFill>
                      <a:schemeClr val="bg1">
                        <a:lumMod val="7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8" name="Connecteur droit 107">
                    <a:extLst>
                      <a:ext uri="{FF2B5EF4-FFF2-40B4-BE49-F238E27FC236}">
                        <a16:creationId xmlns:a16="http://schemas.microsoft.com/office/drawing/2014/main" id="{D18E4989-A4BC-AC41-B7B4-DDE34EC889B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8206935" y="1375512"/>
                    <a:ext cx="1567558" cy="854594"/>
                  </a:xfrm>
                  <a:prstGeom prst="line">
                    <a:avLst/>
                  </a:prstGeom>
                  <a:ln>
                    <a:solidFill>
                      <a:schemeClr val="bg1">
                        <a:lumMod val="7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9" name="Connecteur droit 108">
                    <a:extLst>
                      <a:ext uri="{FF2B5EF4-FFF2-40B4-BE49-F238E27FC236}">
                        <a16:creationId xmlns:a16="http://schemas.microsoft.com/office/drawing/2014/main" id="{765A4790-5E56-B1C5-CCBD-60BB721F7A53}"/>
                      </a:ext>
                    </a:extLst>
                  </p:cNvPr>
                  <p:cNvCxnSpPr>
                    <a:cxnSpLocks/>
                    <a:endCxn id="98" idx="2"/>
                  </p:cNvCxnSpPr>
                  <p:nvPr/>
                </p:nvCxnSpPr>
                <p:spPr>
                  <a:xfrm flipV="1">
                    <a:off x="8147461" y="1580257"/>
                    <a:ext cx="947098" cy="620766"/>
                  </a:xfrm>
                  <a:prstGeom prst="line">
                    <a:avLst/>
                  </a:prstGeom>
                  <a:ln>
                    <a:solidFill>
                      <a:schemeClr val="bg1">
                        <a:lumMod val="7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0" name="Connecteur droit 109">
                    <a:extLst>
                      <a:ext uri="{FF2B5EF4-FFF2-40B4-BE49-F238E27FC236}">
                        <a16:creationId xmlns:a16="http://schemas.microsoft.com/office/drawing/2014/main" id="{34C6F9AA-6C34-3DF4-2009-0490E0820E91}"/>
                      </a:ext>
                    </a:extLst>
                  </p:cNvPr>
                  <p:cNvCxnSpPr>
                    <a:cxnSpLocks/>
                    <a:endCxn id="100" idx="1"/>
                  </p:cNvCxnSpPr>
                  <p:nvPr/>
                </p:nvCxnSpPr>
                <p:spPr>
                  <a:xfrm flipV="1">
                    <a:off x="8185622" y="1904801"/>
                    <a:ext cx="1848592" cy="270760"/>
                  </a:xfrm>
                  <a:prstGeom prst="line">
                    <a:avLst/>
                  </a:prstGeom>
                  <a:ln>
                    <a:solidFill>
                      <a:schemeClr val="bg1">
                        <a:lumMod val="7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1" name="Connecteur droit 110">
                    <a:extLst>
                      <a:ext uri="{FF2B5EF4-FFF2-40B4-BE49-F238E27FC236}">
                        <a16:creationId xmlns:a16="http://schemas.microsoft.com/office/drawing/2014/main" id="{A78125A2-7BAE-CD9C-CB49-9F16020459A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 flipV="1">
                    <a:off x="5843296" y="2243856"/>
                    <a:ext cx="2885754" cy="288718"/>
                  </a:xfrm>
                  <a:prstGeom prst="line">
                    <a:avLst/>
                  </a:prstGeom>
                  <a:ln>
                    <a:solidFill>
                      <a:srgbClr val="C0000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pic>
                <p:nvPicPr>
                  <p:cNvPr id="112" name="Picture 2" descr="Image result for mta logo">
                    <a:extLst>
                      <a:ext uri="{FF2B5EF4-FFF2-40B4-BE49-F238E27FC236}">
                        <a16:creationId xmlns:a16="http://schemas.microsoft.com/office/drawing/2014/main" id="{2763A0DB-A7E9-3AA7-1B56-BE7E1147EB86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6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9376976" y="3708753"/>
                    <a:ext cx="644312" cy="255443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113" name="Image 112">
                    <a:extLst>
                      <a:ext uri="{FF2B5EF4-FFF2-40B4-BE49-F238E27FC236}">
                        <a16:creationId xmlns:a16="http://schemas.microsoft.com/office/drawing/2014/main" id="{682B2FF0-B997-9EFE-8BDE-2BFCEADC5B0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17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>
                  <a:xfrm>
                    <a:off x="7043434" y="2824883"/>
                    <a:ext cx="640229" cy="257283"/>
                  </a:xfrm>
                  <a:prstGeom prst="rect">
                    <a:avLst/>
                  </a:prstGeom>
                </p:spPr>
              </p:pic>
              <p:pic>
                <p:nvPicPr>
                  <p:cNvPr id="114" name="Image 113" descr="Une image contenant clipart&#10;&#10;Description générée automatiquement">
                    <a:extLst>
                      <a:ext uri="{FF2B5EF4-FFF2-40B4-BE49-F238E27FC236}">
                        <a16:creationId xmlns:a16="http://schemas.microsoft.com/office/drawing/2014/main" id="{D77710B9-780A-BE2B-18C5-3FFAC2554AE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18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>
                  <a:xfrm>
                    <a:off x="4924965" y="2669509"/>
                    <a:ext cx="862738" cy="365180"/>
                  </a:xfrm>
                  <a:prstGeom prst="rect">
                    <a:avLst/>
                  </a:prstGeom>
                </p:spPr>
              </p:pic>
              <p:pic>
                <p:nvPicPr>
                  <p:cNvPr id="115" name="Picture 4" descr="Image result for simoldes">
                    <a:extLst>
                      <a:ext uri="{FF2B5EF4-FFF2-40B4-BE49-F238E27FC236}">
                        <a16:creationId xmlns:a16="http://schemas.microsoft.com/office/drawing/2014/main" id="{3C7F7E15-FA5B-ACD9-DDBF-67FE0036A7D1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9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198266" y="2746540"/>
                    <a:ext cx="1025059" cy="233713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116" name="Image 115" descr="Une image contenant clipart&#10;&#10;Description générée automatiquement">
                    <a:extLst>
                      <a:ext uri="{FF2B5EF4-FFF2-40B4-BE49-F238E27FC236}">
                        <a16:creationId xmlns:a16="http://schemas.microsoft.com/office/drawing/2014/main" id="{A1B16EC8-A673-812D-5AEB-DDACA9AC8A3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0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2817489" y="3217680"/>
                    <a:ext cx="1019351" cy="198097"/>
                  </a:xfrm>
                  <a:prstGeom prst="rect">
                    <a:avLst/>
                  </a:prstGeom>
                </p:spPr>
              </p:pic>
              <p:cxnSp>
                <p:nvCxnSpPr>
                  <p:cNvPr id="117" name="Connecteur droit 116">
                    <a:extLst>
                      <a:ext uri="{FF2B5EF4-FFF2-40B4-BE49-F238E27FC236}">
                        <a16:creationId xmlns:a16="http://schemas.microsoft.com/office/drawing/2014/main" id="{AF34F0E6-8590-EBB3-673A-91A484805CE9}"/>
                      </a:ext>
                    </a:extLst>
                  </p:cNvPr>
                  <p:cNvCxnSpPr/>
                  <p:nvPr/>
                </p:nvCxnSpPr>
                <p:spPr>
                  <a:xfrm flipH="1" flipV="1">
                    <a:off x="3734024" y="3391243"/>
                    <a:ext cx="771751" cy="217999"/>
                  </a:xfrm>
                  <a:prstGeom prst="line">
                    <a:avLst/>
                  </a:prstGeom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8" name="Connecteur droit 117">
                    <a:extLst>
                      <a:ext uri="{FF2B5EF4-FFF2-40B4-BE49-F238E27FC236}">
                        <a16:creationId xmlns:a16="http://schemas.microsoft.com/office/drawing/2014/main" id="{7926F69C-1ACD-5A8E-355D-696543AA03AF}"/>
                      </a:ext>
                    </a:extLst>
                  </p:cNvPr>
                  <p:cNvCxnSpPr/>
                  <p:nvPr/>
                </p:nvCxnSpPr>
                <p:spPr>
                  <a:xfrm flipH="1" flipV="1">
                    <a:off x="3655270" y="3003537"/>
                    <a:ext cx="1076318" cy="838684"/>
                  </a:xfrm>
                  <a:prstGeom prst="line">
                    <a:avLst/>
                  </a:prstGeom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pic>
                <p:nvPicPr>
                  <p:cNvPr id="119" name="Image 118" descr="Une image contenant signe&#10;&#10;Description générée automatiquement">
                    <a:extLst>
                      <a:ext uri="{FF2B5EF4-FFF2-40B4-BE49-F238E27FC236}">
                        <a16:creationId xmlns:a16="http://schemas.microsoft.com/office/drawing/2014/main" id="{B6EAC0EF-0C0E-7DC2-C964-A7CBEED28C8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963849" y="3123682"/>
                    <a:ext cx="304771" cy="304771"/>
                  </a:xfrm>
                  <a:prstGeom prst="rect">
                    <a:avLst/>
                  </a:prstGeom>
                </p:spPr>
              </p:pic>
              <p:cxnSp>
                <p:nvCxnSpPr>
                  <p:cNvPr id="120" name="Connecteur droit 119">
                    <a:extLst>
                      <a:ext uri="{FF2B5EF4-FFF2-40B4-BE49-F238E27FC236}">
                        <a16:creationId xmlns:a16="http://schemas.microsoft.com/office/drawing/2014/main" id="{1E6F9AE9-ECE3-7427-FEA4-626504D94576}"/>
                      </a:ext>
                    </a:extLst>
                  </p:cNvPr>
                  <p:cNvCxnSpPr/>
                  <p:nvPr/>
                </p:nvCxnSpPr>
                <p:spPr>
                  <a:xfrm flipH="1" flipV="1">
                    <a:off x="7043765" y="3609242"/>
                    <a:ext cx="2289663" cy="202013"/>
                  </a:xfrm>
                  <a:prstGeom prst="line">
                    <a:avLst/>
                  </a:prstGeom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1" name="Connecteur droit 120">
                    <a:extLst>
                      <a:ext uri="{FF2B5EF4-FFF2-40B4-BE49-F238E27FC236}">
                        <a16:creationId xmlns:a16="http://schemas.microsoft.com/office/drawing/2014/main" id="{58C9F332-5CE3-0D9C-7483-2492B6479EEF}"/>
                      </a:ext>
                    </a:extLst>
                  </p:cNvPr>
                  <p:cNvCxnSpPr>
                    <a:cxnSpLocks/>
                    <a:endCxn id="114" idx="3"/>
                  </p:cNvCxnSpPr>
                  <p:nvPr/>
                </p:nvCxnSpPr>
                <p:spPr>
                  <a:xfrm flipH="1" flipV="1">
                    <a:off x="5787703" y="2852099"/>
                    <a:ext cx="275330" cy="507974"/>
                  </a:xfrm>
                  <a:prstGeom prst="line">
                    <a:avLst/>
                  </a:prstGeom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pic>
                <p:nvPicPr>
                  <p:cNvPr id="122" name="Image 121">
                    <a:extLst>
                      <a:ext uri="{FF2B5EF4-FFF2-40B4-BE49-F238E27FC236}">
                        <a16:creationId xmlns:a16="http://schemas.microsoft.com/office/drawing/2014/main" id="{AF309B3F-C8A8-56FE-B3B7-636727EA14B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22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>
                  <a:xfrm>
                    <a:off x="4875904" y="3108578"/>
                    <a:ext cx="1187128" cy="186876"/>
                  </a:xfrm>
                  <a:prstGeom prst="rect">
                    <a:avLst/>
                  </a:prstGeom>
                </p:spPr>
              </p:pic>
              <p:cxnSp>
                <p:nvCxnSpPr>
                  <p:cNvPr id="123" name="Connecteur droit 122">
                    <a:extLst>
                      <a:ext uri="{FF2B5EF4-FFF2-40B4-BE49-F238E27FC236}">
                        <a16:creationId xmlns:a16="http://schemas.microsoft.com/office/drawing/2014/main" id="{7D67AF6B-9DD4-DC06-EA99-D9DDCE20AFDB}"/>
                      </a:ext>
                    </a:extLst>
                  </p:cNvPr>
                  <p:cNvCxnSpPr/>
                  <p:nvPr/>
                </p:nvCxnSpPr>
                <p:spPr>
                  <a:xfrm flipH="1">
                    <a:off x="6907917" y="2961046"/>
                    <a:ext cx="509240" cy="747707"/>
                  </a:xfrm>
                  <a:prstGeom prst="line">
                    <a:avLst/>
                  </a:prstGeom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pic>
              <p:nvPicPr>
                <p:cNvPr id="14" name="Image 13">
                  <a:extLst>
                    <a:ext uri="{FF2B5EF4-FFF2-40B4-BE49-F238E27FC236}">
                      <a16:creationId xmlns:a16="http://schemas.microsoft.com/office/drawing/2014/main" id="{B13B292A-1BE4-53EA-88BA-BF81377A343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2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2980258" y="4662026"/>
                  <a:ext cx="691872" cy="557929"/>
                </a:xfrm>
                <a:prstGeom prst="rect">
                  <a:avLst/>
                </a:prstGeom>
              </p:spPr>
            </p:pic>
            <p:pic>
              <p:nvPicPr>
                <p:cNvPr id="15" name="Image 14">
                  <a:extLst>
                    <a:ext uri="{FF2B5EF4-FFF2-40B4-BE49-F238E27FC236}">
                      <a16:creationId xmlns:a16="http://schemas.microsoft.com/office/drawing/2014/main" id="{9848FE4E-53F6-70DD-7665-C265E3CEE5F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016666" y="4530588"/>
                  <a:ext cx="679270" cy="169818"/>
                </a:xfrm>
                <a:prstGeom prst="rect">
                  <a:avLst/>
                </a:prstGeom>
              </p:spPr>
            </p:pic>
            <p:pic>
              <p:nvPicPr>
                <p:cNvPr id="16" name="Picture 2" descr="Image result for hirschmann">
                  <a:extLst>
                    <a:ext uri="{FF2B5EF4-FFF2-40B4-BE49-F238E27FC236}">
                      <a16:creationId xmlns:a16="http://schemas.microsoft.com/office/drawing/2014/main" id="{29DC895B-4CEF-736B-E2FA-8554AD49DB13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5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081971" y="4497949"/>
                  <a:ext cx="1010043" cy="202284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8" name="Image 17" descr="Une image contenant objet&#10;&#10;Description générée automatiquement">
                  <a:extLst>
                    <a:ext uri="{FF2B5EF4-FFF2-40B4-BE49-F238E27FC236}">
                      <a16:creationId xmlns:a16="http://schemas.microsoft.com/office/drawing/2014/main" id="{192FF0D9-1D21-EC05-F21A-DE0F234363E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6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731588" y="4477896"/>
                  <a:ext cx="562956" cy="237380"/>
                </a:xfrm>
                <a:prstGeom prst="rect">
                  <a:avLst/>
                </a:prstGeom>
              </p:spPr>
            </p:pic>
            <p:pic>
              <p:nvPicPr>
                <p:cNvPr id="19" name="Image 18">
                  <a:extLst>
                    <a:ext uri="{FF2B5EF4-FFF2-40B4-BE49-F238E27FC236}">
                      <a16:creationId xmlns:a16="http://schemas.microsoft.com/office/drawing/2014/main" id="{3233267F-BB11-D605-B441-A256B90EBEF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7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534838" y="4017864"/>
                  <a:ext cx="813104" cy="325829"/>
                </a:xfrm>
                <a:prstGeom prst="rect">
                  <a:avLst/>
                </a:prstGeom>
              </p:spPr>
            </p:pic>
            <p:pic>
              <p:nvPicPr>
                <p:cNvPr id="20" name="Image 19" descr="Une image contenant texte&#10;&#10;Description générée automatiquement">
                  <a:extLst>
                    <a:ext uri="{FF2B5EF4-FFF2-40B4-BE49-F238E27FC236}">
                      <a16:creationId xmlns:a16="http://schemas.microsoft.com/office/drawing/2014/main" id="{4F1D5C33-312E-A83B-7F5E-669A534AE27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28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5400650" y="4437363"/>
                  <a:ext cx="424250" cy="336039"/>
                </a:xfrm>
                <a:prstGeom prst="rect">
                  <a:avLst/>
                </a:prstGeom>
              </p:spPr>
            </p:pic>
            <p:cxnSp>
              <p:nvCxnSpPr>
                <p:cNvPr id="22" name="Connecteur droit 21">
                  <a:extLst>
                    <a:ext uri="{FF2B5EF4-FFF2-40B4-BE49-F238E27FC236}">
                      <a16:creationId xmlns:a16="http://schemas.microsoft.com/office/drawing/2014/main" id="{C043A5CD-A89A-A557-839E-261E24076E9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473533" y="4180778"/>
                  <a:ext cx="214723" cy="297118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Connecteur droit 23">
                  <a:extLst>
                    <a:ext uri="{FF2B5EF4-FFF2-40B4-BE49-F238E27FC236}">
                      <a16:creationId xmlns:a16="http://schemas.microsoft.com/office/drawing/2014/main" id="{6FBE81D9-DF61-E309-FF7D-E399D3077AA0}"/>
                    </a:ext>
                  </a:extLst>
                </p:cNvPr>
                <p:cNvCxnSpPr>
                  <a:stCxn id="20" idx="0"/>
                </p:cNvCxnSpPr>
                <p:nvPr/>
              </p:nvCxnSpPr>
              <p:spPr>
                <a:xfrm flipV="1">
                  <a:off x="5612775" y="4056095"/>
                  <a:ext cx="640801" cy="381268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Connecteur droit 26">
                  <a:extLst>
                    <a:ext uri="{FF2B5EF4-FFF2-40B4-BE49-F238E27FC236}">
                      <a16:creationId xmlns:a16="http://schemas.microsoft.com/office/drawing/2014/main" id="{B6A8060D-1100-571D-229B-4260201D21A8}"/>
                    </a:ext>
                  </a:extLst>
                </p:cNvPr>
                <p:cNvCxnSpPr/>
                <p:nvPr/>
              </p:nvCxnSpPr>
              <p:spPr>
                <a:xfrm flipH="1" flipV="1">
                  <a:off x="6688256" y="4180778"/>
                  <a:ext cx="850174" cy="285183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Connecteur droit 28">
                  <a:extLst>
                    <a:ext uri="{FF2B5EF4-FFF2-40B4-BE49-F238E27FC236}">
                      <a16:creationId xmlns:a16="http://schemas.microsoft.com/office/drawing/2014/main" id="{77BC6014-2160-F66B-2B83-C52A033CF39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7044598" y="3870769"/>
                  <a:ext cx="745119" cy="49799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Connecteur droit 29">
                  <a:extLst>
                    <a:ext uri="{FF2B5EF4-FFF2-40B4-BE49-F238E27FC236}">
                      <a16:creationId xmlns:a16="http://schemas.microsoft.com/office/drawing/2014/main" id="{90C6E391-29BA-F63D-FA65-50A57C99752C}"/>
                    </a:ext>
                  </a:extLst>
                </p:cNvPr>
                <p:cNvCxnSpPr>
                  <a:stCxn id="15" idx="0"/>
                </p:cNvCxnSpPr>
                <p:nvPr/>
              </p:nvCxnSpPr>
              <p:spPr>
                <a:xfrm flipV="1">
                  <a:off x="4356301" y="3496129"/>
                  <a:ext cx="1858824" cy="1034459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Connecteur droit 30">
                  <a:extLst>
                    <a:ext uri="{FF2B5EF4-FFF2-40B4-BE49-F238E27FC236}">
                      <a16:creationId xmlns:a16="http://schemas.microsoft.com/office/drawing/2014/main" id="{FE7E2318-C90F-1347-E52D-AFE2F16445D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5165849" y="3701474"/>
                  <a:ext cx="1365720" cy="79987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Connecteur droit 31">
                  <a:extLst>
                    <a:ext uri="{FF2B5EF4-FFF2-40B4-BE49-F238E27FC236}">
                      <a16:creationId xmlns:a16="http://schemas.microsoft.com/office/drawing/2014/main" id="{071EE2D5-6DB3-E2BD-F03F-493B211D01CD}"/>
                    </a:ext>
                  </a:extLst>
                </p:cNvPr>
                <p:cNvCxnSpPr/>
                <p:nvPr/>
              </p:nvCxnSpPr>
              <p:spPr>
                <a:xfrm flipV="1">
                  <a:off x="3716928" y="3782805"/>
                  <a:ext cx="797107" cy="798052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33" name="Image 32">
                  <a:extLst>
                    <a:ext uri="{FF2B5EF4-FFF2-40B4-BE49-F238E27FC236}">
                      <a16:creationId xmlns:a16="http://schemas.microsoft.com/office/drawing/2014/main" id="{A5DAAF4D-B8AB-A6BD-9FC8-7C3D60D87B1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29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7820935" y="4338473"/>
                  <a:ext cx="683306" cy="202284"/>
                </a:xfrm>
                <a:prstGeom prst="rect">
                  <a:avLst/>
                </a:prstGeom>
              </p:spPr>
            </p:pic>
            <p:pic>
              <p:nvPicPr>
                <p:cNvPr id="34" name="Image 33">
                  <a:extLst>
                    <a:ext uri="{FF2B5EF4-FFF2-40B4-BE49-F238E27FC236}">
                      <a16:creationId xmlns:a16="http://schemas.microsoft.com/office/drawing/2014/main" id="{E1E1B041-EF8A-9A9A-BA4B-50AF9923B58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0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7163028" y="4465961"/>
                  <a:ext cx="750804" cy="229792"/>
                </a:xfrm>
                <a:prstGeom prst="rect">
                  <a:avLst/>
                </a:prstGeom>
              </p:spPr>
            </p:pic>
            <p:pic>
              <p:nvPicPr>
                <p:cNvPr id="35" name="Picture 2" descr="Image result for novares logo">
                  <a:extLst>
                    <a:ext uri="{FF2B5EF4-FFF2-40B4-BE49-F238E27FC236}">
                      <a16:creationId xmlns:a16="http://schemas.microsoft.com/office/drawing/2014/main" id="{E4DA8EA5-D125-9AD1-A829-951D77964283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1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434737" y="4317949"/>
                  <a:ext cx="813238" cy="487943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cxnSp>
              <p:nvCxnSpPr>
                <p:cNvPr id="36" name="Connecteur droit 35">
                  <a:extLst>
                    <a:ext uri="{FF2B5EF4-FFF2-40B4-BE49-F238E27FC236}">
                      <a16:creationId xmlns:a16="http://schemas.microsoft.com/office/drawing/2014/main" id="{7B2607F2-50DC-9E0C-4DF5-710E395C123B}"/>
                    </a:ext>
                  </a:extLst>
                </p:cNvPr>
                <p:cNvCxnSpPr/>
                <p:nvPr/>
              </p:nvCxnSpPr>
              <p:spPr>
                <a:xfrm flipH="1" flipV="1">
                  <a:off x="6866939" y="3630744"/>
                  <a:ext cx="1766926" cy="768235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Connecteur droit 36">
                  <a:extLst>
                    <a:ext uri="{FF2B5EF4-FFF2-40B4-BE49-F238E27FC236}">
                      <a16:creationId xmlns:a16="http://schemas.microsoft.com/office/drawing/2014/main" id="{8D6E4849-2340-62F5-4F48-954428644E9D}"/>
                    </a:ext>
                  </a:extLst>
                </p:cNvPr>
                <p:cNvCxnSpPr/>
                <p:nvPr/>
              </p:nvCxnSpPr>
              <p:spPr>
                <a:xfrm flipV="1">
                  <a:off x="5975813" y="3811255"/>
                  <a:ext cx="269909" cy="1008737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38" name="Image 37">
                  <a:extLst>
                    <a:ext uri="{FF2B5EF4-FFF2-40B4-BE49-F238E27FC236}">
                      <a16:creationId xmlns:a16="http://schemas.microsoft.com/office/drawing/2014/main" id="{E253F1D7-0AE9-9644-4901-FFA8FC70F8E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2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t="40057" b="39096"/>
                <a:stretch/>
              </p:blipFill>
              <p:spPr>
                <a:xfrm>
                  <a:off x="5575603" y="4795746"/>
                  <a:ext cx="796221" cy="165983"/>
                </a:xfrm>
                <a:prstGeom prst="rect">
                  <a:avLst/>
                </a:prstGeom>
              </p:spPr>
            </p:pic>
            <p:pic>
              <p:nvPicPr>
                <p:cNvPr id="39" name="Image 38">
                  <a:extLst>
                    <a:ext uri="{FF2B5EF4-FFF2-40B4-BE49-F238E27FC236}">
                      <a16:creationId xmlns:a16="http://schemas.microsoft.com/office/drawing/2014/main" id="{99461ABD-A7EE-B6AF-A046-AF454779FAC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5975813" y="2990207"/>
                  <a:ext cx="872925" cy="100691"/>
                </a:xfrm>
                <a:prstGeom prst="rect">
                  <a:avLst/>
                </a:prstGeom>
              </p:spPr>
            </p:pic>
            <p:pic>
              <p:nvPicPr>
                <p:cNvPr id="40" name="Image 39">
                  <a:extLst>
                    <a:ext uri="{FF2B5EF4-FFF2-40B4-BE49-F238E27FC236}">
                      <a16:creationId xmlns:a16="http://schemas.microsoft.com/office/drawing/2014/main" id="{ABF8C840-FEB3-5BF2-75BA-EAF64F26C54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6660423" y="2507620"/>
                  <a:ext cx="690845" cy="208269"/>
                </a:xfrm>
                <a:prstGeom prst="rect">
                  <a:avLst/>
                </a:prstGeom>
              </p:spPr>
            </p:pic>
            <p:pic>
              <p:nvPicPr>
                <p:cNvPr id="41" name="Image 40" descr="Une image contenant clipart, arts de la table&#10;&#10;Description générée automatiquement">
                  <a:extLst>
                    <a:ext uri="{FF2B5EF4-FFF2-40B4-BE49-F238E27FC236}">
                      <a16:creationId xmlns:a16="http://schemas.microsoft.com/office/drawing/2014/main" id="{BCE2BBFC-5DA6-C153-2059-53AF6923022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834925" y="3923999"/>
                  <a:ext cx="489030" cy="133064"/>
                </a:xfrm>
                <a:prstGeom prst="rect">
                  <a:avLst/>
                </a:prstGeom>
              </p:spPr>
            </p:pic>
            <p:pic>
              <p:nvPicPr>
                <p:cNvPr id="42" name="Image 41" descr="Une image contenant clipart&#10;&#10;Description générée automatiquement">
                  <a:extLst>
                    <a:ext uri="{FF2B5EF4-FFF2-40B4-BE49-F238E27FC236}">
                      <a16:creationId xmlns:a16="http://schemas.microsoft.com/office/drawing/2014/main" id="{05C98A7A-7EDA-AF72-2889-AD610442933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7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4402485" y="2962014"/>
                  <a:ext cx="368127" cy="334408"/>
                </a:xfrm>
                <a:prstGeom prst="rect">
                  <a:avLst/>
                </a:prstGeom>
              </p:spPr>
            </p:pic>
            <p:cxnSp>
              <p:nvCxnSpPr>
                <p:cNvPr id="43" name="Connecteur droit 42">
                  <a:extLst>
                    <a:ext uri="{FF2B5EF4-FFF2-40B4-BE49-F238E27FC236}">
                      <a16:creationId xmlns:a16="http://schemas.microsoft.com/office/drawing/2014/main" id="{091454C3-7F78-CAE0-26FE-7CAE44715AF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6215127" y="3109546"/>
                  <a:ext cx="164241" cy="387551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Connecteur droit 43">
                  <a:extLst>
                    <a:ext uri="{FF2B5EF4-FFF2-40B4-BE49-F238E27FC236}">
                      <a16:creationId xmlns:a16="http://schemas.microsoft.com/office/drawing/2014/main" id="{E80869D4-6A52-B979-B010-1EF5B2293F2E}"/>
                    </a:ext>
                  </a:extLst>
                </p:cNvPr>
                <p:cNvCxnSpPr>
                  <a:stCxn id="73" idx="3"/>
                </p:cNvCxnSpPr>
                <p:nvPr/>
              </p:nvCxnSpPr>
              <p:spPr>
                <a:xfrm>
                  <a:off x="4268620" y="3277036"/>
                  <a:ext cx="1456828" cy="535187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Connecteur droit 44">
                  <a:extLst>
                    <a:ext uri="{FF2B5EF4-FFF2-40B4-BE49-F238E27FC236}">
                      <a16:creationId xmlns:a16="http://schemas.microsoft.com/office/drawing/2014/main" id="{58D8983F-B991-7F90-42DC-4EB1C28230EE}"/>
                    </a:ext>
                  </a:extLst>
                </p:cNvPr>
                <p:cNvCxnSpPr>
                  <a:stCxn id="42" idx="3"/>
                </p:cNvCxnSpPr>
                <p:nvPr/>
              </p:nvCxnSpPr>
              <p:spPr>
                <a:xfrm>
                  <a:off x="4770612" y="3129218"/>
                  <a:ext cx="954836" cy="683005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Connecteur droit 45">
                  <a:extLst>
                    <a:ext uri="{FF2B5EF4-FFF2-40B4-BE49-F238E27FC236}">
                      <a16:creationId xmlns:a16="http://schemas.microsoft.com/office/drawing/2014/main" id="{EC836066-DEFF-8424-214E-5DEEEEC3FF24}"/>
                    </a:ext>
                  </a:extLst>
                </p:cNvPr>
                <p:cNvCxnSpPr/>
                <p:nvPr/>
              </p:nvCxnSpPr>
              <p:spPr>
                <a:xfrm>
                  <a:off x="5612775" y="3296422"/>
                  <a:ext cx="602350" cy="627577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Connecteur droit 46">
                  <a:extLst>
                    <a:ext uri="{FF2B5EF4-FFF2-40B4-BE49-F238E27FC236}">
                      <a16:creationId xmlns:a16="http://schemas.microsoft.com/office/drawing/2014/main" id="{E2799513-2E9F-701E-B4EA-11F16B0610A2}"/>
                    </a:ext>
                  </a:extLst>
                </p:cNvPr>
                <p:cNvCxnSpPr>
                  <a:cxnSpLocks/>
                  <a:stCxn id="40" idx="2"/>
                </p:cNvCxnSpPr>
                <p:nvPr/>
              </p:nvCxnSpPr>
              <p:spPr>
                <a:xfrm flipH="1">
                  <a:off x="6809988" y="2715889"/>
                  <a:ext cx="195858" cy="71256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" name="Connecteur droit 47">
                  <a:extLst>
                    <a:ext uri="{FF2B5EF4-FFF2-40B4-BE49-F238E27FC236}">
                      <a16:creationId xmlns:a16="http://schemas.microsoft.com/office/drawing/2014/main" id="{609C5EF1-2FE5-2CF3-9CFF-6FFF4F402F6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6532403" y="3680126"/>
                  <a:ext cx="2302522" cy="330518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" name="Connecteur droit 48">
                  <a:extLst>
                    <a:ext uri="{FF2B5EF4-FFF2-40B4-BE49-F238E27FC236}">
                      <a16:creationId xmlns:a16="http://schemas.microsoft.com/office/drawing/2014/main" id="{9A3F3803-4962-05E1-E5F5-87330F489EE0}"/>
                    </a:ext>
                  </a:extLst>
                </p:cNvPr>
                <p:cNvCxnSpPr/>
                <p:nvPr/>
              </p:nvCxnSpPr>
              <p:spPr>
                <a:xfrm flipH="1" flipV="1">
                  <a:off x="7044596" y="4121485"/>
                  <a:ext cx="1490242" cy="60262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50" name="Image 49">
                  <a:extLst>
                    <a:ext uri="{FF2B5EF4-FFF2-40B4-BE49-F238E27FC236}">
                      <a16:creationId xmlns:a16="http://schemas.microsoft.com/office/drawing/2014/main" id="{A4FB55EB-D383-25A2-3C55-4D5B4469142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8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7785260" y="1255466"/>
                  <a:ext cx="706256" cy="201653"/>
                </a:xfrm>
                <a:prstGeom prst="rect">
                  <a:avLst/>
                </a:prstGeom>
              </p:spPr>
            </p:pic>
            <p:pic>
              <p:nvPicPr>
                <p:cNvPr id="51" name="Image 50">
                  <a:extLst>
                    <a:ext uri="{FF2B5EF4-FFF2-40B4-BE49-F238E27FC236}">
                      <a16:creationId xmlns:a16="http://schemas.microsoft.com/office/drawing/2014/main" id="{01F6F6CB-A1CD-4681-0A4B-775EBFA126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9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9699132" y="1211151"/>
                  <a:ext cx="737686" cy="143495"/>
                </a:xfrm>
                <a:prstGeom prst="rect">
                  <a:avLst/>
                </a:prstGeom>
              </p:spPr>
            </p:pic>
            <p:pic>
              <p:nvPicPr>
                <p:cNvPr id="52" name="Image 51">
                  <a:extLst>
                    <a:ext uri="{FF2B5EF4-FFF2-40B4-BE49-F238E27FC236}">
                      <a16:creationId xmlns:a16="http://schemas.microsoft.com/office/drawing/2014/main" id="{1706C921-A79E-F9B9-96CE-D085FE7CD2B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0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6597530" y="1431942"/>
                  <a:ext cx="416246" cy="376959"/>
                </a:xfrm>
                <a:prstGeom prst="rect">
                  <a:avLst/>
                </a:prstGeom>
              </p:spPr>
            </p:pic>
            <p:pic>
              <p:nvPicPr>
                <p:cNvPr id="53" name="Image 52" descr="Une image contenant clipart&#10;&#10;Description générée automatiquement">
                  <a:extLst>
                    <a:ext uri="{FF2B5EF4-FFF2-40B4-BE49-F238E27FC236}">
                      <a16:creationId xmlns:a16="http://schemas.microsoft.com/office/drawing/2014/main" id="{219EB386-0D67-DE4B-2C16-0FC382CB1AB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706939" y="1442380"/>
                  <a:ext cx="775239" cy="138845"/>
                </a:xfrm>
                <a:prstGeom prst="rect">
                  <a:avLst/>
                </a:prstGeom>
              </p:spPr>
            </p:pic>
            <p:pic>
              <p:nvPicPr>
                <p:cNvPr id="54" name="Image 53" descr="Une image contenant objets métalliques&#10;&#10;Description générée automatiquement">
                  <a:extLst>
                    <a:ext uri="{FF2B5EF4-FFF2-40B4-BE49-F238E27FC236}">
                      <a16:creationId xmlns:a16="http://schemas.microsoft.com/office/drawing/2014/main" id="{BB205889-F74D-7337-C519-E42BFB432D4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506250" y="1086830"/>
                  <a:ext cx="1023481" cy="131956"/>
                </a:xfrm>
                <a:prstGeom prst="rect">
                  <a:avLst/>
                </a:prstGeom>
              </p:spPr>
            </p:pic>
            <p:pic>
              <p:nvPicPr>
                <p:cNvPr id="55" name="Image 54" descr="Une image contenant texte&#10;&#10;Description générée automatiquement">
                  <a:extLst>
                    <a:ext uri="{FF2B5EF4-FFF2-40B4-BE49-F238E27FC236}">
                      <a16:creationId xmlns:a16="http://schemas.microsoft.com/office/drawing/2014/main" id="{03F6D85C-5748-7016-B4C8-55864460AC7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10034214" y="1694018"/>
                  <a:ext cx="334260" cy="423501"/>
                </a:xfrm>
                <a:prstGeom prst="rect">
                  <a:avLst/>
                </a:prstGeom>
              </p:spPr>
            </p:pic>
            <p:pic>
              <p:nvPicPr>
                <p:cNvPr id="56" name="Image 55">
                  <a:extLst>
                    <a:ext uri="{FF2B5EF4-FFF2-40B4-BE49-F238E27FC236}">
                      <a16:creationId xmlns:a16="http://schemas.microsoft.com/office/drawing/2014/main" id="{6CCD7519-9B4A-171C-880D-18051BD0A02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04500" y="1766521"/>
                  <a:ext cx="416246" cy="334303"/>
                </a:xfrm>
                <a:prstGeom prst="rect">
                  <a:avLst/>
                </a:prstGeom>
              </p:spPr>
            </p:pic>
            <p:pic>
              <p:nvPicPr>
                <p:cNvPr id="57" name="Image 56" descr="Une image contenant clipart&#10;&#10;Description générée automatiquement">
                  <a:extLst>
                    <a:ext uri="{FF2B5EF4-FFF2-40B4-BE49-F238E27FC236}">
                      <a16:creationId xmlns:a16="http://schemas.microsoft.com/office/drawing/2014/main" id="{9F40857A-D32A-DE26-6A88-FFA9A83F462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5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6985387" y="1105288"/>
                  <a:ext cx="599280" cy="293484"/>
                </a:xfrm>
                <a:prstGeom prst="rect">
                  <a:avLst/>
                </a:prstGeom>
              </p:spPr>
            </p:pic>
            <p:cxnSp>
              <p:nvCxnSpPr>
                <p:cNvPr id="58" name="Connecteur droit 57">
                  <a:extLst>
                    <a:ext uri="{FF2B5EF4-FFF2-40B4-BE49-F238E27FC236}">
                      <a16:creationId xmlns:a16="http://schemas.microsoft.com/office/drawing/2014/main" id="{CBCBF961-6D22-CDB7-C2B9-3E9D765D82A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7099190" y="1832422"/>
                  <a:ext cx="1103538" cy="264182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" name="Connecteur droit 58">
                  <a:extLst>
                    <a:ext uri="{FF2B5EF4-FFF2-40B4-BE49-F238E27FC236}">
                      <a16:creationId xmlns:a16="http://schemas.microsoft.com/office/drawing/2014/main" id="{8EBF5C9A-6C9F-2AE3-7699-C79FAD6C2B15}"/>
                    </a:ext>
                  </a:extLst>
                </p:cNvPr>
                <p:cNvCxnSpPr>
                  <a:endCxn id="52" idx="3"/>
                </p:cNvCxnSpPr>
                <p:nvPr/>
              </p:nvCxnSpPr>
              <p:spPr>
                <a:xfrm flipH="1" flipV="1">
                  <a:off x="7013776" y="1620422"/>
                  <a:ext cx="922715" cy="622641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" name="Connecteur droit 59">
                  <a:extLst>
                    <a:ext uri="{FF2B5EF4-FFF2-40B4-BE49-F238E27FC236}">
                      <a16:creationId xmlns:a16="http://schemas.microsoft.com/office/drawing/2014/main" id="{746D3AA9-7F1D-B323-251E-85B72388C8D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7620001" y="1485882"/>
                  <a:ext cx="376583" cy="552084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" name="Connecteur droit 60">
                  <a:extLst>
                    <a:ext uri="{FF2B5EF4-FFF2-40B4-BE49-F238E27FC236}">
                      <a16:creationId xmlns:a16="http://schemas.microsoft.com/office/drawing/2014/main" id="{810349CD-2585-B232-B7B8-33EA740A7829}"/>
                    </a:ext>
                  </a:extLst>
                </p:cNvPr>
                <p:cNvCxnSpPr>
                  <a:cxnSpLocks/>
                  <a:endCxn id="50" idx="2"/>
                </p:cNvCxnSpPr>
                <p:nvPr/>
              </p:nvCxnSpPr>
              <p:spPr>
                <a:xfrm flipV="1">
                  <a:off x="8138388" y="1457119"/>
                  <a:ext cx="0" cy="719409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" name="Connecteur droit 61">
                  <a:extLst>
                    <a:ext uri="{FF2B5EF4-FFF2-40B4-BE49-F238E27FC236}">
                      <a16:creationId xmlns:a16="http://schemas.microsoft.com/office/drawing/2014/main" id="{591CAD34-604E-F099-CC7F-79B906D7BD5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8150288" y="1235235"/>
                  <a:ext cx="695242" cy="954987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" name="Connecteur droit 62">
                  <a:extLst>
                    <a:ext uri="{FF2B5EF4-FFF2-40B4-BE49-F238E27FC236}">
                      <a16:creationId xmlns:a16="http://schemas.microsoft.com/office/drawing/2014/main" id="{AE40F66B-F1FA-1CD7-2609-B5F890E13D9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8206935" y="1376480"/>
                  <a:ext cx="1567558" cy="854594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" name="Connecteur droit 63">
                  <a:extLst>
                    <a:ext uri="{FF2B5EF4-FFF2-40B4-BE49-F238E27FC236}">
                      <a16:creationId xmlns:a16="http://schemas.microsoft.com/office/drawing/2014/main" id="{F430F2C2-56CD-C714-C18F-63A9ED8A7296}"/>
                    </a:ext>
                  </a:extLst>
                </p:cNvPr>
                <p:cNvCxnSpPr>
                  <a:cxnSpLocks/>
                  <a:endCxn id="53" idx="2"/>
                </p:cNvCxnSpPr>
                <p:nvPr/>
              </p:nvCxnSpPr>
              <p:spPr>
                <a:xfrm flipV="1">
                  <a:off x="8147461" y="1581225"/>
                  <a:ext cx="947098" cy="620766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5" name="Connecteur droit 64">
                  <a:extLst>
                    <a:ext uri="{FF2B5EF4-FFF2-40B4-BE49-F238E27FC236}">
                      <a16:creationId xmlns:a16="http://schemas.microsoft.com/office/drawing/2014/main" id="{C5881774-F4EC-8A26-EE4A-41E9C14B9270}"/>
                    </a:ext>
                  </a:extLst>
                </p:cNvPr>
                <p:cNvCxnSpPr>
                  <a:cxnSpLocks/>
                  <a:endCxn id="55" idx="1"/>
                </p:cNvCxnSpPr>
                <p:nvPr/>
              </p:nvCxnSpPr>
              <p:spPr>
                <a:xfrm flipV="1">
                  <a:off x="8185622" y="1905769"/>
                  <a:ext cx="1848592" cy="270760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66" name="Picture 2" descr="Image result for mta logo">
                  <a:extLst>
                    <a:ext uri="{FF2B5EF4-FFF2-40B4-BE49-F238E27FC236}">
                      <a16:creationId xmlns:a16="http://schemas.microsoft.com/office/drawing/2014/main" id="{B0999A24-4BFD-FBD0-7A54-89F6622489E9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6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376976" y="3709721"/>
                  <a:ext cx="644312" cy="255443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67" name="Image 66">
                  <a:extLst>
                    <a:ext uri="{FF2B5EF4-FFF2-40B4-BE49-F238E27FC236}">
                      <a16:creationId xmlns:a16="http://schemas.microsoft.com/office/drawing/2014/main" id="{EA1A3BED-44FF-F363-DF9A-9AE4043C5A5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7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7043434" y="2825851"/>
                  <a:ext cx="640229" cy="257283"/>
                </a:xfrm>
                <a:prstGeom prst="rect">
                  <a:avLst/>
                </a:prstGeom>
              </p:spPr>
            </p:pic>
            <p:pic>
              <p:nvPicPr>
                <p:cNvPr id="68" name="Image 67" descr="Une image contenant clipart&#10;&#10;Description générée automatiquement">
                  <a:extLst>
                    <a:ext uri="{FF2B5EF4-FFF2-40B4-BE49-F238E27FC236}">
                      <a16:creationId xmlns:a16="http://schemas.microsoft.com/office/drawing/2014/main" id="{CF961717-8127-5EE8-9021-4976E507FB3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8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4924965" y="2670477"/>
                  <a:ext cx="862738" cy="365180"/>
                </a:xfrm>
                <a:prstGeom prst="rect">
                  <a:avLst/>
                </a:prstGeom>
              </p:spPr>
            </p:pic>
            <p:pic>
              <p:nvPicPr>
                <p:cNvPr id="69" name="Picture 4" descr="Image result for simoldes">
                  <a:extLst>
                    <a:ext uri="{FF2B5EF4-FFF2-40B4-BE49-F238E27FC236}">
                      <a16:creationId xmlns:a16="http://schemas.microsoft.com/office/drawing/2014/main" id="{8F4C1EF7-3ADF-8E07-F84C-6D1554FCDACA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9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198266" y="2747508"/>
                  <a:ext cx="1025059" cy="233713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70" name="Image 69" descr="Une image contenant clipart&#10;&#10;Description générée automatiquement">
                  <a:extLst>
                    <a:ext uri="{FF2B5EF4-FFF2-40B4-BE49-F238E27FC236}">
                      <a16:creationId xmlns:a16="http://schemas.microsoft.com/office/drawing/2014/main" id="{968716DA-F40E-7BB5-E652-CF4285DB6B2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0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817489" y="3218648"/>
                  <a:ext cx="1019351" cy="198097"/>
                </a:xfrm>
                <a:prstGeom prst="rect">
                  <a:avLst/>
                </a:prstGeom>
              </p:spPr>
            </p:pic>
            <p:cxnSp>
              <p:nvCxnSpPr>
                <p:cNvPr id="71" name="Connecteur droit 70">
                  <a:extLst>
                    <a:ext uri="{FF2B5EF4-FFF2-40B4-BE49-F238E27FC236}">
                      <a16:creationId xmlns:a16="http://schemas.microsoft.com/office/drawing/2014/main" id="{16E2BEB4-E858-5B9D-7425-0CD18D5335ED}"/>
                    </a:ext>
                  </a:extLst>
                </p:cNvPr>
                <p:cNvCxnSpPr/>
                <p:nvPr/>
              </p:nvCxnSpPr>
              <p:spPr>
                <a:xfrm flipH="1" flipV="1">
                  <a:off x="3734024" y="3392211"/>
                  <a:ext cx="771751" cy="217999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2" name="Connecteur droit 71">
                  <a:extLst>
                    <a:ext uri="{FF2B5EF4-FFF2-40B4-BE49-F238E27FC236}">
                      <a16:creationId xmlns:a16="http://schemas.microsoft.com/office/drawing/2014/main" id="{300AF7C0-0A90-B822-486C-6789FED92E5A}"/>
                    </a:ext>
                  </a:extLst>
                </p:cNvPr>
                <p:cNvCxnSpPr/>
                <p:nvPr/>
              </p:nvCxnSpPr>
              <p:spPr>
                <a:xfrm flipH="1" flipV="1">
                  <a:off x="3655270" y="3004505"/>
                  <a:ext cx="1076318" cy="83868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73" name="Image 72" descr="Une image contenant signe&#10;&#10;Description générée automatiquement">
                  <a:extLst>
                    <a:ext uri="{FF2B5EF4-FFF2-40B4-BE49-F238E27FC236}">
                      <a16:creationId xmlns:a16="http://schemas.microsoft.com/office/drawing/2014/main" id="{E84B2CB1-D6D6-4053-E8C5-72621084D3B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1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963849" y="3124650"/>
                  <a:ext cx="304771" cy="304771"/>
                </a:xfrm>
                <a:prstGeom prst="rect">
                  <a:avLst/>
                </a:prstGeom>
              </p:spPr>
            </p:pic>
            <p:cxnSp>
              <p:nvCxnSpPr>
                <p:cNvPr id="74" name="Connecteur droit 73">
                  <a:extLst>
                    <a:ext uri="{FF2B5EF4-FFF2-40B4-BE49-F238E27FC236}">
                      <a16:creationId xmlns:a16="http://schemas.microsoft.com/office/drawing/2014/main" id="{0772A14D-4398-4150-2050-5AA22F6DE788}"/>
                    </a:ext>
                  </a:extLst>
                </p:cNvPr>
                <p:cNvCxnSpPr/>
                <p:nvPr/>
              </p:nvCxnSpPr>
              <p:spPr>
                <a:xfrm flipH="1" flipV="1">
                  <a:off x="7043765" y="3610210"/>
                  <a:ext cx="2289663" cy="202013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5" name="Connecteur droit 74">
                  <a:extLst>
                    <a:ext uri="{FF2B5EF4-FFF2-40B4-BE49-F238E27FC236}">
                      <a16:creationId xmlns:a16="http://schemas.microsoft.com/office/drawing/2014/main" id="{062E735E-78A6-8BC9-8BDC-23D4C2F08872}"/>
                    </a:ext>
                  </a:extLst>
                </p:cNvPr>
                <p:cNvCxnSpPr>
                  <a:cxnSpLocks/>
                  <a:endCxn id="68" idx="3"/>
                </p:cNvCxnSpPr>
                <p:nvPr/>
              </p:nvCxnSpPr>
              <p:spPr>
                <a:xfrm flipH="1" flipV="1">
                  <a:off x="5787703" y="2853067"/>
                  <a:ext cx="275330" cy="50797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76" name="Image 75">
                  <a:extLst>
                    <a:ext uri="{FF2B5EF4-FFF2-40B4-BE49-F238E27FC236}">
                      <a16:creationId xmlns:a16="http://schemas.microsoft.com/office/drawing/2014/main" id="{5F56CC75-4E65-DF61-9502-CE7A5C0379A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22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4875904" y="3109546"/>
                  <a:ext cx="1187128" cy="186876"/>
                </a:xfrm>
                <a:prstGeom prst="rect">
                  <a:avLst/>
                </a:prstGeom>
              </p:spPr>
            </p:pic>
            <p:cxnSp>
              <p:nvCxnSpPr>
                <p:cNvPr id="77" name="Connecteur droit 76">
                  <a:extLst>
                    <a:ext uri="{FF2B5EF4-FFF2-40B4-BE49-F238E27FC236}">
                      <a16:creationId xmlns:a16="http://schemas.microsoft.com/office/drawing/2014/main" id="{99F38664-172B-36ED-38FE-9B5A49A3C3BD}"/>
                    </a:ext>
                  </a:extLst>
                </p:cNvPr>
                <p:cNvCxnSpPr/>
                <p:nvPr/>
              </p:nvCxnSpPr>
              <p:spPr>
                <a:xfrm flipH="1">
                  <a:off x="6907917" y="2962014"/>
                  <a:ext cx="509240" cy="747707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78" name="Image 77">
                  <a:extLst>
                    <a:ext uri="{FF2B5EF4-FFF2-40B4-BE49-F238E27FC236}">
                      <a16:creationId xmlns:a16="http://schemas.microsoft.com/office/drawing/2014/main" id="{2E91CEB4-1D93-2C45-3C7C-26415CB3FEC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272585" y="4362559"/>
                  <a:ext cx="385686" cy="436596"/>
                </a:xfrm>
                <a:prstGeom prst="rect">
                  <a:avLst/>
                </a:prstGeom>
              </p:spPr>
            </p:pic>
            <p:pic>
              <p:nvPicPr>
                <p:cNvPr id="79" name="Image 78">
                  <a:extLst>
                    <a:ext uri="{FF2B5EF4-FFF2-40B4-BE49-F238E27FC236}">
                      <a16:creationId xmlns:a16="http://schemas.microsoft.com/office/drawing/2014/main" id="{A751F8CD-0165-D254-55AA-5507F0CB92B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l="20028" t="30232" r="17667" b="27146"/>
                <a:stretch/>
              </p:blipFill>
              <p:spPr>
                <a:xfrm>
                  <a:off x="1907486" y="3963248"/>
                  <a:ext cx="885889" cy="319989"/>
                </a:xfrm>
                <a:prstGeom prst="rect">
                  <a:avLst/>
                </a:prstGeom>
              </p:spPr>
            </p:pic>
            <p:cxnSp>
              <p:nvCxnSpPr>
                <p:cNvPr id="80" name="Connecteur droit 79">
                  <a:extLst>
                    <a:ext uri="{FF2B5EF4-FFF2-40B4-BE49-F238E27FC236}">
                      <a16:creationId xmlns:a16="http://schemas.microsoft.com/office/drawing/2014/main" id="{2F634FFA-9100-9DA1-D7BD-0D1829A16AFA}"/>
                    </a:ext>
                  </a:extLst>
                </p:cNvPr>
                <p:cNvCxnSpPr>
                  <a:cxnSpLocks/>
                  <a:endCxn id="79" idx="3"/>
                </p:cNvCxnSpPr>
                <p:nvPr/>
              </p:nvCxnSpPr>
              <p:spPr>
                <a:xfrm flipH="1">
                  <a:off x="2793375" y="3922002"/>
                  <a:ext cx="2773782" cy="201241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" name="Connecteur droit 80">
                  <a:extLst>
                    <a:ext uri="{FF2B5EF4-FFF2-40B4-BE49-F238E27FC236}">
                      <a16:creationId xmlns:a16="http://schemas.microsoft.com/office/drawing/2014/main" id="{2838DD42-74AB-F051-641A-D72EF54BE70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2652607" y="3976151"/>
                  <a:ext cx="3067602" cy="495619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82" name="Image 81">
                  <a:extLst>
                    <a:ext uri="{FF2B5EF4-FFF2-40B4-BE49-F238E27FC236}">
                      <a16:creationId xmlns:a16="http://schemas.microsoft.com/office/drawing/2014/main" id="{361F6718-543E-D0BF-DBFF-0E7584098D2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5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878663" y="3605274"/>
                  <a:ext cx="1201472" cy="187730"/>
                </a:xfrm>
                <a:prstGeom prst="rect">
                  <a:avLst/>
                </a:prstGeom>
              </p:spPr>
            </p:pic>
            <p:cxnSp>
              <p:nvCxnSpPr>
                <p:cNvPr id="83" name="Connecteur droit 82">
                  <a:extLst>
                    <a:ext uri="{FF2B5EF4-FFF2-40B4-BE49-F238E27FC236}">
                      <a16:creationId xmlns:a16="http://schemas.microsoft.com/office/drawing/2014/main" id="{C001AA35-8368-A16F-82B2-234F02D761C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3050166" y="3681970"/>
                  <a:ext cx="1218454" cy="114755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9" name="Ellipse 8">
                <a:extLst>
                  <a:ext uri="{FF2B5EF4-FFF2-40B4-BE49-F238E27FC236}">
                    <a16:creationId xmlns:a16="http://schemas.microsoft.com/office/drawing/2014/main" id="{61FE8186-D6B7-36D1-6ABB-EACB48C9EBBE}"/>
                  </a:ext>
                </a:extLst>
              </p:cNvPr>
              <p:cNvSpPr/>
              <p:nvPr/>
            </p:nvSpPr>
            <p:spPr>
              <a:xfrm>
                <a:off x="8660963" y="2473618"/>
                <a:ext cx="144000" cy="144000"/>
              </a:xfrm>
              <a:prstGeom prst="ellipse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MA"/>
              </a:p>
            </p:txBody>
          </p:sp>
        </p:grpSp>
        <p:sp>
          <p:nvSpPr>
            <p:cNvPr id="125" name="ZoneTexte 124">
              <a:extLst>
                <a:ext uri="{FF2B5EF4-FFF2-40B4-BE49-F238E27FC236}">
                  <a16:creationId xmlns:a16="http://schemas.microsoft.com/office/drawing/2014/main" id="{B36AC1AC-1501-911A-DB22-BC5C438106FD}"/>
                </a:ext>
              </a:extLst>
            </p:cNvPr>
            <p:cNvSpPr txBox="1"/>
            <p:nvPr/>
          </p:nvSpPr>
          <p:spPr>
            <a:xfrm>
              <a:off x="5788660" y="5337850"/>
              <a:ext cx="6096000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>
                <a:defRPr/>
              </a:pPr>
              <a:r>
                <a:rPr lang="en-US" sz="1400" err="1">
                  <a:solidFill>
                    <a:srgbClr val="002060"/>
                  </a:solidFill>
                  <a:latin typeface="Avenir Next LT Pro "/>
                </a:rPr>
                <a:t>Stellantis</a:t>
              </a:r>
              <a:r>
                <a:rPr lang="en-US" sz="1400">
                  <a:solidFill>
                    <a:srgbClr val="002060"/>
                  </a:solidFill>
                  <a:latin typeface="Avenir Next LT Pro "/>
                </a:rPr>
                <a:t> Ecosystem signed in 2015, operational with 60+ international companies in 2019 at the Atlantic Free Zone in Kenitra</a:t>
              </a:r>
            </a:p>
          </p:txBody>
        </p:sp>
      </p:grp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5F24F136-4962-9165-7E43-7F9DB1BF9D42}"/>
              </a:ext>
            </a:extLst>
          </p:cNvPr>
          <p:cNvGrpSpPr/>
          <p:nvPr/>
        </p:nvGrpSpPr>
        <p:grpSpPr>
          <a:xfrm>
            <a:off x="303225" y="375921"/>
            <a:ext cx="4886712" cy="6324008"/>
            <a:chOff x="303225" y="375921"/>
            <a:chExt cx="4886712" cy="6324008"/>
          </a:xfrm>
        </p:grpSpPr>
        <p:sp>
          <p:nvSpPr>
            <p:cNvPr id="130" name="Rectangle : avec coins arrondis en diagonale 129">
              <a:extLst>
                <a:ext uri="{FF2B5EF4-FFF2-40B4-BE49-F238E27FC236}">
                  <a16:creationId xmlns:a16="http://schemas.microsoft.com/office/drawing/2014/main" id="{A5324591-6496-4B69-C59F-E810055E31B5}"/>
                </a:ext>
              </a:extLst>
            </p:cNvPr>
            <p:cNvSpPr/>
            <p:nvPr/>
          </p:nvSpPr>
          <p:spPr>
            <a:xfrm>
              <a:off x="303225" y="375921"/>
              <a:ext cx="4579250" cy="5757664"/>
            </a:xfrm>
            <a:prstGeom prst="round2DiagRect">
              <a:avLst>
                <a:gd name="adj1" fmla="val 0"/>
                <a:gd name="adj2" fmla="val 23842"/>
              </a:avLst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MA"/>
            </a:p>
          </p:txBody>
        </p:sp>
        <p:pic>
          <p:nvPicPr>
            <p:cNvPr id="126" name="Image 125">
              <a:extLst>
                <a:ext uri="{FF2B5EF4-FFF2-40B4-BE49-F238E27FC236}">
                  <a16:creationId xmlns:a16="http://schemas.microsoft.com/office/drawing/2014/main" id="{917A437D-644B-C367-31FB-CC64AD28D3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6">
              <a:extLst>
                <a:ext uri="{BEBA8EAE-BF5A-486C-A8C5-ECC9F3942E4B}">
                  <a14:imgProps xmlns:a14="http://schemas.microsoft.com/office/drawing/2010/main">
                    <a14:imgLayer r:embed="rId37">
                      <a14:imgEffect>
                        <a14:saturation sat="400000"/>
                      </a14:imgEffect>
                    </a14:imgLayer>
                  </a14:imgProps>
                </a:ext>
              </a:extLst>
            </a:blip>
            <a:srcRect t="26096" b="27421"/>
            <a:stretch/>
          </p:blipFill>
          <p:spPr>
            <a:xfrm>
              <a:off x="1764850" y="6160560"/>
              <a:ext cx="1656000" cy="539369"/>
            </a:xfrm>
            <a:prstGeom prst="round2DiagRect">
              <a:avLst/>
            </a:prstGeom>
          </p:spPr>
        </p:pic>
        <p:pic>
          <p:nvPicPr>
            <p:cNvPr id="127" name="Image 126">
              <a:extLst>
                <a:ext uri="{FF2B5EF4-FFF2-40B4-BE49-F238E27FC236}">
                  <a16:creationId xmlns:a16="http://schemas.microsoft.com/office/drawing/2014/main" id="{F3BA5F14-89A6-5B6F-381B-24BC0991CD4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8"/>
            <a:srcRect l="2380" t="2233" r="2667" b="-6774"/>
            <a:stretch/>
          </p:blipFill>
          <p:spPr>
            <a:xfrm>
              <a:off x="863600" y="2964044"/>
              <a:ext cx="4326337" cy="2729415"/>
            </a:xfrm>
            <a:prstGeom prst="round2DiagRect">
              <a:avLst/>
            </a:prstGeom>
          </p:spPr>
        </p:pic>
        <p:sp>
          <p:nvSpPr>
            <p:cNvPr id="129" name="ZoneTexte 128">
              <a:extLst>
                <a:ext uri="{FF2B5EF4-FFF2-40B4-BE49-F238E27FC236}">
                  <a16:creationId xmlns:a16="http://schemas.microsoft.com/office/drawing/2014/main" id="{E38A5AFC-68AA-DC41-5219-76EB3A054EB4}"/>
                </a:ext>
              </a:extLst>
            </p:cNvPr>
            <p:cNvSpPr txBox="1"/>
            <p:nvPr/>
          </p:nvSpPr>
          <p:spPr>
            <a:xfrm>
              <a:off x="490507" y="1267096"/>
              <a:ext cx="400583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R="0" lvl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US" sz="1600" b="1">
                  <a:solidFill>
                    <a:schemeClr val="bg1"/>
                  </a:solidFill>
                  <a:latin typeface="Avenir Next LT Pro "/>
                </a:rPr>
                <a:t>First block of a </a:t>
              </a:r>
              <a:r>
                <a:rPr lang="en-US" b="1">
                  <a:solidFill>
                    <a:schemeClr val="bg1"/>
                  </a:solidFill>
                  <a:latin typeface="Avenir Next LT Pro "/>
                </a:rPr>
                <a:t>Regional</a:t>
              </a:r>
              <a:r>
                <a:rPr lang="en-US" sz="1600" b="1">
                  <a:solidFill>
                    <a:schemeClr val="bg1"/>
                  </a:solidFill>
                  <a:latin typeface="Avenir Next LT Pro "/>
                </a:rPr>
                <a:t> Bio </a:t>
              </a:r>
              <a:r>
                <a:rPr lang="en-US" sz="1600" b="1" kern="1200">
                  <a:solidFill>
                    <a:schemeClr val="bg1"/>
                  </a:solidFill>
                  <a:latin typeface="Avenir Next LT Pro "/>
                </a:rPr>
                <a:t>Tech Hub</a:t>
              </a:r>
            </a:p>
          </p:txBody>
        </p:sp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CB9135F4-0772-23F8-3D9B-6721EA9879F3}"/>
                </a:ext>
              </a:extLst>
            </p:cNvPr>
            <p:cNvSpPr txBox="1"/>
            <p:nvPr/>
          </p:nvSpPr>
          <p:spPr>
            <a:xfrm>
              <a:off x="527506" y="1727772"/>
              <a:ext cx="3780333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en-US" sz="1600" kern="1200">
                  <a:solidFill>
                    <a:schemeClr val="bg1"/>
                  </a:solidFill>
                  <a:latin typeface="Avenir Next LT Pro "/>
                </a:rPr>
                <a:t>20K+ m</a:t>
              </a:r>
              <a:r>
                <a:rPr lang="en-US" sz="1600" baseline="30000">
                  <a:solidFill>
                    <a:schemeClr val="bg1"/>
                  </a:solidFill>
                  <a:latin typeface="Avenir Next LT Pro "/>
                </a:rPr>
                <a:t>2</a:t>
              </a:r>
              <a:r>
                <a:rPr lang="en-US" sz="1600" kern="1200">
                  <a:solidFill>
                    <a:schemeClr val="bg1"/>
                  </a:solidFill>
                  <a:latin typeface="Avenir Next LT Pro "/>
                </a:rPr>
                <a:t> greenfield aseptic fill and finish facility built  within 12 month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625583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 : avec coins arrondis en diagonale 8">
            <a:extLst>
              <a:ext uri="{FF2B5EF4-FFF2-40B4-BE49-F238E27FC236}">
                <a16:creationId xmlns:a16="http://schemas.microsoft.com/office/drawing/2014/main" id="{9079601F-378C-6000-312A-EE7C90BA3BB5}"/>
              </a:ext>
            </a:extLst>
          </p:cNvPr>
          <p:cNvSpPr/>
          <p:nvPr/>
        </p:nvSpPr>
        <p:spPr>
          <a:xfrm rot="10800000">
            <a:off x="-1" y="-1"/>
            <a:ext cx="4965826" cy="2827284"/>
          </a:xfrm>
          <a:prstGeom prst="round2DiagRect">
            <a:avLst>
              <a:gd name="adj1" fmla="val 0"/>
              <a:gd name="adj2" fmla="val 23842"/>
            </a:avLst>
          </a:prstGeom>
          <a:gradFill flip="none" rotWithShape="1">
            <a:gsLst>
              <a:gs pos="0">
                <a:srgbClr val="004F9F">
                  <a:shade val="30000"/>
                  <a:satMod val="115000"/>
                </a:srgbClr>
              </a:gs>
              <a:gs pos="56000">
                <a:srgbClr val="004F9F"/>
              </a:gs>
              <a:gs pos="100000">
                <a:schemeClr val="bg1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8AB206C-BE5C-015B-ED7E-39BAD1A48491}"/>
              </a:ext>
            </a:extLst>
          </p:cNvPr>
          <p:cNvSpPr txBox="1"/>
          <p:nvPr/>
        </p:nvSpPr>
        <p:spPr>
          <a:xfrm>
            <a:off x="5596639" y="468057"/>
            <a:ext cx="6234487" cy="10895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kern="1200" dirty="0">
                <a:solidFill>
                  <a:schemeClr val="tx1"/>
                </a:solidFill>
                <a:latin typeface="Avenir Next LT Pro" panose="020B0504020202020204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THE NEW CHARTER OF INVESTMENT </a:t>
            </a:r>
          </a:p>
        </p:txBody>
      </p:sp>
      <p:sp>
        <p:nvSpPr>
          <p:cNvPr id="14" name="TextBox 7">
            <a:extLst>
              <a:ext uri="{FF2B5EF4-FFF2-40B4-BE49-F238E27FC236}">
                <a16:creationId xmlns:a16="http://schemas.microsoft.com/office/drawing/2014/main" id="{C8ED1800-A178-E181-D950-C59A667203A4}"/>
              </a:ext>
            </a:extLst>
          </p:cNvPr>
          <p:cNvSpPr txBox="1"/>
          <p:nvPr/>
        </p:nvSpPr>
        <p:spPr>
          <a:xfrm>
            <a:off x="6068547" y="3013501"/>
            <a:ext cx="5524920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600" dirty="0">
                <a:latin typeface="Avenir Next LT Pro "/>
                <a:cs typeface="Arial" panose="020B0604020202020204" pitchFamily="34" charset="0"/>
              </a:rPr>
              <a:t>The new Investment Charter </a:t>
            </a:r>
            <a:r>
              <a:rPr lang="fr-FR" sz="1600" dirty="0" err="1">
                <a:latin typeface="Avenir Next LT Pro "/>
                <a:cs typeface="Arial" panose="020B0604020202020204" pitchFamily="34" charset="0"/>
              </a:rPr>
              <a:t>aims</a:t>
            </a:r>
            <a:r>
              <a:rPr lang="fr-FR" sz="1600" dirty="0">
                <a:latin typeface="Avenir Next LT Pro "/>
                <a:cs typeface="Arial" panose="020B0604020202020204" pitchFamily="34" charset="0"/>
              </a:rPr>
              <a:t> to drive </a:t>
            </a:r>
            <a:r>
              <a:rPr lang="fr-FR" sz="1600" dirty="0" err="1">
                <a:latin typeface="Avenir Next LT Pro "/>
                <a:cs typeface="Arial" panose="020B0604020202020204" pitchFamily="34" charset="0"/>
              </a:rPr>
              <a:t>economic</a:t>
            </a:r>
            <a:r>
              <a:rPr lang="fr-FR" sz="1600" dirty="0">
                <a:latin typeface="Avenir Next LT Pro "/>
                <a:cs typeface="Arial" panose="020B0604020202020204" pitchFamily="34" charset="0"/>
              </a:rPr>
              <a:t> </a:t>
            </a:r>
            <a:r>
              <a:rPr lang="fr-FR" sz="1600" dirty="0" err="1">
                <a:latin typeface="Avenir Next LT Pro "/>
                <a:cs typeface="Arial" panose="020B0604020202020204" pitchFamily="34" charset="0"/>
              </a:rPr>
              <a:t>growth</a:t>
            </a:r>
            <a:r>
              <a:rPr lang="fr-FR" sz="1600" dirty="0">
                <a:latin typeface="Avenir Next LT Pro "/>
                <a:cs typeface="Arial" panose="020B0604020202020204" pitchFamily="34" charset="0"/>
              </a:rPr>
              <a:t> in Morocco </a:t>
            </a:r>
            <a:r>
              <a:rPr lang="fr-FR" sz="1600" dirty="0" err="1">
                <a:latin typeface="Avenir Next LT Pro "/>
                <a:cs typeface="Arial" panose="020B0604020202020204" pitchFamily="34" charset="0"/>
              </a:rPr>
              <a:t>through</a:t>
            </a:r>
            <a:r>
              <a:rPr lang="fr-FR" sz="1600" dirty="0">
                <a:latin typeface="Avenir Next LT Pro "/>
                <a:cs typeface="Arial" panose="020B0604020202020204" pitchFamily="34" charset="0"/>
              </a:rPr>
              <a:t> </a:t>
            </a:r>
            <a:r>
              <a:rPr lang="fr-FR" sz="1600" dirty="0" err="1">
                <a:latin typeface="Avenir Next LT Pro "/>
                <a:cs typeface="Arial" panose="020B0604020202020204" pitchFamily="34" charset="0"/>
              </a:rPr>
              <a:t>targeted</a:t>
            </a:r>
            <a:r>
              <a:rPr lang="fr-FR" sz="1600" dirty="0">
                <a:latin typeface="Avenir Next LT Pro "/>
                <a:cs typeface="Arial" panose="020B0604020202020204" pitchFamily="34" charset="0"/>
              </a:rPr>
              <a:t> </a:t>
            </a:r>
            <a:r>
              <a:rPr lang="fr-FR" sz="1600" dirty="0" err="1">
                <a:latin typeface="Avenir Next LT Pro "/>
                <a:cs typeface="Arial" panose="020B0604020202020204" pitchFamily="34" charset="0"/>
              </a:rPr>
              <a:t>investment</a:t>
            </a:r>
            <a:r>
              <a:rPr lang="fr-FR" sz="1600" dirty="0">
                <a:latin typeface="Avenir Next LT Pro "/>
                <a:cs typeface="Arial" panose="020B0604020202020204" pitchFamily="34" charset="0"/>
              </a:rPr>
              <a:t> support, job </a:t>
            </a:r>
            <a:r>
              <a:rPr lang="fr-FR" sz="1600" dirty="0" err="1">
                <a:latin typeface="Avenir Next LT Pro "/>
                <a:cs typeface="Arial" panose="020B0604020202020204" pitchFamily="34" charset="0"/>
              </a:rPr>
              <a:t>creation</a:t>
            </a:r>
            <a:r>
              <a:rPr lang="fr-FR" sz="1600" dirty="0">
                <a:latin typeface="Avenir Next LT Pro "/>
                <a:cs typeface="Arial" panose="020B0604020202020204" pitchFamily="34" charset="0"/>
              </a:rPr>
              <a:t>, </a:t>
            </a:r>
            <a:r>
              <a:rPr lang="fr-FR" sz="1600" dirty="0" err="1">
                <a:latin typeface="Avenir Next LT Pro "/>
                <a:cs typeface="Arial" panose="020B0604020202020204" pitchFamily="34" charset="0"/>
              </a:rPr>
              <a:t>regional</a:t>
            </a:r>
            <a:r>
              <a:rPr lang="fr-FR" sz="1600" dirty="0">
                <a:latin typeface="Avenir Next LT Pro "/>
                <a:cs typeface="Arial" panose="020B0604020202020204" pitchFamily="34" charset="0"/>
              </a:rPr>
              <a:t> </a:t>
            </a:r>
            <a:r>
              <a:rPr lang="fr-FR" sz="1600" dirty="0" err="1">
                <a:latin typeface="Avenir Next LT Pro "/>
                <a:cs typeface="Arial" panose="020B0604020202020204" pitchFamily="34" charset="0"/>
              </a:rPr>
              <a:t>equity</a:t>
            </a:r>
            <a:r>
              <a:rPr lang="fr-FR" sz="1600" dirty="0">
                <a:latin typeface="Avenir Next LT Pro "/>
                <a:cs typeface="Arial" panose="020B0604020202020204" pitchFamily="34" charset="0"/>
              </a:rPr>
              <a:t>, and </a:t>
            </a:r>
            <a:r>
              <a:rPr lang="fr-FR" sz="1600" dirty="0" err="1">
                <a:latin typeface="Avenir Next LT Pro "/>
                <a:cs typeface="Arial" panose="020B0604020202020204" pitchFamily="34" charset="0"/>
              </a:rPr>
              <a:t>sustainability</a:t>
            </a:r>
            <a:r>
              <a:rPr lang="fr-FR" sz="1600" dirty="0">
                <a:latin typeface="Avenir Next LT Pro "/>
                <a:cs typeface="Arial" panose="020B0604020202020204" pitchFamily="34" charset="0"/>
              </a:rPr>
              <a:t>.</a:t>
            </a:r>
          </a:p>
          <a:p>
            <a:endParaRPr lang="fr-FR" sz="1600" dirty="0">
              <a:latin typeface="Avenir Next LT Pro "/>
              <a:cs typeface="Arial" panose="020B0604020202020204" pitchFamily="34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7CADD4DC-D862-BC2E-6B7D-91D4DF20B3F9}"/>
              </a:ext>
            </a:extLst>
          </p:cNvPr>
          <p:cNvSpPr txBox="1"/>
          <p:nvPr/>
        </p:nvSpPr>
        <p:spPr>
          <a:xfrm>
            <a:off x="11751013" y="6611779"/>
            <a:ext cx="364661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000">
                <a:solidFill>
                  <a:schemeClr val="bg1">
                    <a:lumMod val="65000"/>
                  </a:schemeClr>
                </a:solidFill>
                <a:latin typeface="Avenir Next LT Pro Light" panose="020B0304020202020204" pitchFamily="34" charset="0"/>
                <a:cs typeface="Arial" panose="020B0604020202020204" pitchFamily="34" charset="0"/>
              </a:rPr>
              <a:t>2</a:t>
            </a:r>
          </a:p>
        </p:txBody>
      </p:sp>
      <p:pic>
        <p:nvPicPr>
          <p:cNvPr id="4" name="Picture 3" descr="A white building next to a body of water&#10;&#10;Description automatically generated with medium confidence">
            <a:extLst>
              <a:ext uri="{FF2B5EF4-FFF2-40B4-BE49-F238E27FC236}">
                <a16:creationId xmlns:a16="http://schemas.microsoft.com/office/drawing/2014/main" id="{5F51A0E2-D1E2-F47E-6FF3-35CB8863DE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8533" y="1970943"/>
            <a:ext cx="4787900" cy="3213100"/>
          </a:xfrm>
          <a:prstGeom prst="round2DiagRect">
            <a:avLst/>
          </a:prstGeom>
        </p:spPr>
      </p:pic>
    </p:spTree>
    <p:extLst>
      <p:ext uri="{BB962C8B-B14F-4D97-AF65-F5344CB8AC3E}">
        <p14:creationId xmlns:p14="http://schemas.microsoft.com/office/powerpoint/2010/main" val="21378335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AE927CF-870B-BF5F-BD4E-D49691A63690}"/>
              </a:ext>
            </a:extLst>
          </p:cNvPr>
          <p:cNvSpPr/>
          <p:nvPr/>
        </p:nvSpPr>
        <p:spPr>
          <a:xfrm>
            <a:off x="0" y="0"/>
            <a:ext cx="150471" cy="3600000"/>
          </a:xfrm>
          <a:prstGeom prst="rect">
            <a:avLst/>
          </a:prstGeom>
          <a:solidFill>
            <a:srgbClr val="3CA4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pic>
        <p:nvPicPr>
          <p:cNvPr id="1032" name="Picture 8" descr="Morocco Now">
            <a:extLst>
              <a:ext uri="{FF2B5EF4-FFF2-40B4-BE49-F238E27FC236}">
                <a16:creationId xmlns:a16="http://schemas.microsoft.com/office/drawing/2014/main" id="{1F3688B4-95A3-6C63-EC07-DB419E92C5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7548" y="2681424"/>
            <a:ext cx="3028625" cy="1408449"/>
          </a:xfrm>
          <a:prstGeom prst="rect">
            <a:avLst/>
          </a:prstGeom>
          <a:solidFill>
            <a:srgbClr val="64105B"/>
          </a:solidFill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A0353CD-56C5-82AB-649F-769C9B1A5336}"/>
              </a:ext>
            </a:extLst>
          </p:cNvPr>
          <p:cNvSpPr/>
          <p:nvPr/>
        </p:nvSpPr>
        <p:spPr>
          <a:xfrm>
            <a:off x="-1" y="3600000"/>
            <a:ext cx="150471" cy="2160000"/>
          </a:xfrm>
          <a:prstGeom prst="rect">
            <a:avLst/>
          </a:prstGeom>
          <a:solidFill>
            <a:srgbClr val="0076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6FE0AAD-C757-7656-40DD-EC57EA6B1892}"/>
              </a:ext>
            </a:extLst>
          </p:cNvPr>
          <p:cNvSpPr/>
          <p:nvPr/>
        </p:nvSpPr>
        <p:spPr>
          <a:xfrm>
            <a:off x="-1" y="5760000"/>
            <a:ext cx="150471" cy="1098000"/>
          </a:xfrm>
          <a:prstGeom prst="rect">
            <a:avLst/>
          </a:prstGeom>
          <a:solidFill>
            <a:srgbClr val="FBB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pic>
        <p:nvPicPr>
          <p:cNvPr id="4" name="Image 3" descr="Une image contenant motif, carré, Symétrie, pixel&#10;&#10;Description générée automatiquement">
            <a:extLst>
              <a:ext uri="{FF2B5EF4-FFF2-40B4-BE49-F238E27FC236}">
                <a16:creationId xmlns:a16="http://schemas.microsoft.com/office/drawing/2014/main" id="{D977CA40-07FF-48BC-DA57-88E8A75434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62528" y="1962092"/>
            <a:ext cx="2472897" cy="2472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40662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>
            <a:extLst>
              <a:ext uri="{FF2B5EF4-FFF2-40B4-BE49-F238E27FC236}">
                <a16:creationId xmlns:a16="http://schemas.microsoft.com/office/drawing/2014/main" id="{45F4B040-DE8D-066B-E779-CA29A801556B}"/>
              </a:ext>
            </a:extLst>
          </p:cNvPr>
          <p:cNvSpPr txBox="1"/>
          <p:nvPr/>
        </p:nvSpPr>
        <p:spPr>
          <a:xfrm>
            <a:off x="624841" y="1657882"/>
            <a:ext cx="8147020" cy="1569660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r>
              <a:rPr lang="en-AU" sz="4800" b="1">
                <a:latin typeface="Avenir Next LT Pro"/>
                <a:cs typeface="Arial"/>
              </a:rPr>
              <a:t>WHAT I</a:t>
            </a:r>
            <a:r>
              <a:rPr lang="en-AU" sz="4800" b="1">
                <a:latin typeface="Avenir Next LT Pro"/>
                <a:ea typeface="+mn-lt"/>
                <a:cs typeface="Arial"/>
              </a:rPr>
              <a:t>S</a:t>
            </a:r>
            <a:r>
              <a:rPr lang="en-AU" sz="4800" b="1">
                <a:latin typeface="Avenir Next LT Pro"/>
                <a:cs typeface="Arial"/>
              </a:rPr>
              <a:t> MOROCCO NOW? </a:t>
            </a:r>
            <a:endParaRPr lang="en-AU" sz="4800" b="1">
              <a:latin typeface="Avenir Next LT Pro" panose="020B05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AE927CF-870B-BF5F-BD4E-D49691A63690}"/>
              </a:ext>
            </a:extLst>
          </p:cNvPr>
          <p:cNvSpPr/>
          <p:nvPr/>
        </p:nvSpPr>
        <p:spPr>
          <a:xfrm>
            <a:off x="0" y="0"/>
            <a:ext cx="150471" cy="3600000"/>
          </a:xfrm>
          <a:prstGeom prst="rect">
            <a:avLst/>
          </a:prstGeom>
          <a:solidFill>
            <a:srgbClr val="3CA4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A8C0A539-738C-0791-F796-34A93E58BAB2}"/>
              </a:ext>
            </a:extLst>
          </p:cNvPr>
          <p:cNvCxnSpPr/>
          <p:nvPr/>
        </p:nvCxnSpPr>
        <p:spPr>
          <a:xfrm>
            <a:off x="721792" y="3556425"/>
            <a:ext cx="3240000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2" name="Picture 8" descr="Morocco Now">
            <a:extLst>
              <a:ext uri="{FF2B5EF4-FFF2-40B4-BE49-F238E27FC236}">
                <a16:creationId xmlns:a16="http://schemas.microsoft.com/office/drawing/2014/main" id="{1F3688B4-95A3-6C63-EC07-DB419E92C5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7548" y="3546900"/>
            <a:ext cx="3028625" cy="1408449"/>
          </a:xfrm>
          <a:prstGeom prst="rect">
            <a:avLst/>
          </a:prstGeom>
          <a:solidFill>
            <a:srgbClr val="64105B"/>
          </a:solidFill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A0353CD-56C5-82AB-649F-769C9B1A5336}"/>
              </a:ext>
            </a:extLst>
          </p:cNvPr>
          <p:cNvSpPr/>
          <p:nvPr/>
        </p:nvSpPr>
        <p:spPr>
          <a:xfrm>
            <a:off x="-1" y="3600000"/>
            <a:ext cx="150471" cy="2160000"/>
          </a:xfrm>
          <a:prstGeom prst="rect">
            <a:avLst/>
          </a:prstGeom>
          <a:solidFill>
            <a:srgbClr val="0076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6FE0AAD-C757-7656-40DD-EC57EA6B1892}"/>
              </a:ext>
            </a:extLst>
          </p:cNvPr>
          <p:cNvSpPr/>
          <p:nvPr/>
        </p:nvSpPr>
        <p:spPr>
          <a:xfrm>
            <a:off x="-1" y="5760000"/>
            <a:ext cx="150471" cy="1098000"/>
          </a:xfrm>
          <a:prstGeom prst="rect">
            <a:avLst/>
          </a:prstGeom>
          <a:solidFill>
            <a:srgbClr val="FBB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37373481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 : avec coins arrondis en diagonale 9">
            <a:extLst>
              <a:ext uri="{FF2B5EF4-FFF2-40B4-BE49-F238E27FC236}">
                <a16:creationId xmlns:a16="http://schemas.microsoft.com/office/drawing/2014/main" id="{AD4B1233-7E47-F205-05DD-6E9CB765D1CB}"/>
              </a:ext>
            </a:extLst>
          </p:cNvPr>
          <p:cNvSpPr/>
          <p:nvPr/>
        </p:nvSpPr>
        <p:spPr>
          <a:xfrm rot="5400000">
            <a:off x="3236479" y="-1982759"/>
            <a:ext cx="5955177" cy="11285975"/>
          </a:xfrm>
          <a:prstGeom prst="round2DiagRect">
            <a:avLst>
              <a:gd name="adj1" fmla="val 0"/>
              <a:gd name="adj2" fmla="val 6932"/>
            </a:avLst>
          </a:prstGeom>
          <a:gradFill flip="none" rotWithShape="1">
            <a:gsLst>
              <a:gs pos="0">
                <a:schemeClr val="bg1"/>
              </a:gs>
              <a:gs pos="79000">
                <a:schemeClr val="bg1">
                  <a:lumMod val="9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9" name="Rectangle : avec coins arrondis en diagonale 8">
            <a:extLst>
              <a:ext uri="{FF2B5EF4-FFF2-40B4-BE49-F238E27FC236}">
                <a16:creationId xmlns:a16="http://schemas.microsoft.com/office/drawing/2014/main" id="{9079601F-378C-6000-312A-EE7C90BA3BB5}"/>
              </a:ext>
            </a:extLst>
          </p:cNvPr>
          <p:cNvSpPr/>
          <p:nvPr/>
        </p:nvSpPr>
        <p:spPr>
          <a:xfrm rot="10800000">
            <a:off x="-1" y="-1"/>
            <a:ext cx="4965826" cy="1833822"/>
          </a:xfrm>
          <a:prstGeom prst="round2DiagRect">
            <a:avLst>
              <a:gd name="adj1" fmla="val 0"/>
              <a:gd name="adj2" fmla="val 23842"/>
            </a:avLst>
          </a:prstGeom>
          <a:gradFill flip="none" rotWithShape="1">
            <a:gsLst>
              <a:gs pos="0">
                <a:srgbClr val="004F9F">
                  <a:shade val="30000"/>
                  <a:satMod val="115000"/>
                </a:srgbClr>
              </a:gs>
              <a:gs pos="56000">
                <a:srgbClr val="004F9F"/>
              </a:gs>
              <a:gs pos="100000">
                <a:schemeClr val="bg1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8AB206C-BE5C-015B-ED7E-39BAD1A48491}"/>
              </a:ext>
            </a:extLst>
          </p:cNvPr>
          <p:cNvSpPr txBox="1"/>
          <p:nvPr/>
        </p:nvSpPr>
        <p:spPr>
          <a:xfrm>
            <a:off x="4044709" y="1720045"/>
            <a:ext cx="7716519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300" b="1">
                <a:latin typeface="Avenir Next LT Pro" panose="020B0504020202020204" pitchFamily="34" charset="0"/>
              </a:rPr>
              <a:t>Your world class hub for sustainable investment and trade</a:t>
            </a:r>
          </a:p>
        </p:txBody>
      </p: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06C76098-7421-0F68-730D-6CEA2E06C68D}"/>
              </a:ext>
            </a:extLst>
          </p:cNvPr>
          <p:cNvGrpSpPr/>
          <p:nvPr/>
        </p:nvGrpSpPr>
        <p:grpSpPr>
          <a:xfrm>
            <a:off x="1233177" y="3667738"/>
            <a:ext cx="5749068" cy="551385"/>
            <a:chOff x="5871852" y="3048613"/>
            <a:chExt cx="5749068" cy="551385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2D9B330-8F9F-F401-8F91-A5A2E172FE84}"/>
                </a:ext>
              </a:extLst>
            </p:cNvPr>
            <p:cNvSpPr/>
            <p:nvPr/>
          </p:nvSpPr>
          <p:spPr>
            <a:xfrm>
              <a:off x="5871852" y="3048613"/>
              <a:ext cx="36000" cy="551385"/>
            </a:xfrm>
            <a:prstGeom prst="rect">
              <a:avLst/>
            </a:prstGeom>
            <a:solidFill>
              <a:srgbClr val="3CA4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MA"/>
            </a:p>
          </p:txBody>
        </p:sp>
        <p:sp>
          <p:nvSpPr>
            <p:cNvPr id="14" name="TextBox 7">
              <a:extLst>
                <a:ext uri="{FF2B5EF4-FFF2-40B4-BE49-F238E27FC236}">
                  <a16:creationId xmlns:a16="http://schemas.microsoft.com/office/drawing/2014/main" id="{C8ED1800-A178-E181-D950-C59A667203A4}"/>
                </a:ext>
              </a:extLst>
            </p:cNvPr>
            <p:cNvSpPr txBox="1"/>
            <p:nvPr/>
          </p:nvSpPr>
          <p:spPr>
            <a:xfrm>
              <a:off x="6096000" y="3077188"/>
              <a:ext cx="5524920" cy="3970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</a:pPr>
              <a:r>
                <a:rPr lang="en-US" sz="2200" kern="1200">
                  <a:solidFill>
                    <a:schemeClr val="tx1"/>
                  </a:solidFill>
                  <a:latin typeface="Avenir Next LT Pro" panose="020B0504020202020204" pitchFamily="34" charset="0"/>
                  <a:ea typeface="Lato Medium" panose="020F0502020204030203" pitchFamily="34" charset="0"/>
                  <a:cs typeface="Lato Medium" panose="020F0502020204030203" pitchFamily="34" charset="0"/>
                </a:rPr>
                <a:t>Stable Environment </a:t>
              </a:r>
            </a:p>
          </p:txBody>
        </p:sp>
      </p:grpSp>
      <p:grpSp>
        <p:nvGrpSpPr>
          <p:cNvPr id="21" name="Groupe 20">
            <a:extLst>
              <a:ext uri="{FF2B5EF4-FFF2-40B4-BE49-F238E27FC236}">
                <a16:creationId xmlns:a16="http://schemas.microsoft.com/office/drawing/2014/main" id="{E59310F8-A195-8EC2-779F-86EEB632FC86}"/>
              </a:ext>
            </a:extLst>
          </p:cNvPr>
          <p:cNvGrpSpPr/>
          <p:nvPr/>
        </p:nvGrpSpPr>
        <p:grpSpPr>
          <a:xfrm>
            <a:off x="1233177" y="4659344"/>
            <a:ext cx="5749068" cy="705696"/>
            <a:chOff x="5871852" y="4040219"/>
            <a:chExt cx="5749068" cy="705696"/>
          </a:xfrm>
        </p:grpSpPr>
        <p:sp>
          <p:nvSpPr>
            <p:cNvPr id="15" name="TextBox 7">
              <a:extLst>
                <a:ext uri="{FF2B5EF4-FFF2-40B4-BE49-F238E27FC236}">
                  <a16:creationId xmlns:a16="http://schemas.microsoft.com/office/drawing/2014/main" id="{1FFCD99A-2597-7075-4791-CE539A409A08}"/>
                </a:ext>
              </a:extLst>
            </p:cNvPr>
            <p:cNvSpPr txBox="1"/>
            <p:nvPr/>
          </p:nvSpPr>
          <p:spPr>
            <a:xfrm>
              <a:off x="6096000" y="4044184"/>
              <a:ext cx="5524920" cy="7017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</a:pPr>
              <a:r>
                <a:rPr lang="en-US" sz="2200" kern="1200">
                  <a:solidFill>
                    <a:schemeClr val="tx1"/>
                  </a:solidFill>
                  <a:latin typeface="Avenir Next LT Pro" panose="020B0504020202020204" pitchFamily="34" charset="0"/>
                  <a:ea typeface="Lato Medium" panose="020F0502020204030203" pitchFamily="34" charset="0"/>
                  <a:cs typeface="Lato Medium" panose="020F0502020204030203" pitchFamily="34" charset="0"/>
                </a:rPr>
                <a:t>World class infrastructures and Ecosystems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2A1AE87-DAFE-BC48-3E6B-E8231F720B98}"/>
                </a:ext>
              </a:extLst>
            </p:cNvPr>
            <p:cNvSpPr/>
            <p:nvPr/>
          </p:nvSpPr>
          <p:spPr>
            <a:xfrm>
              <a:off x="5871852" y="4040219"/>
              <a:ext cx="36000" cy="551385"/>
            </a:xfrm>
            <a:prstGeom prst="rect">
              <a:avLst/>
            </a:prstGeom>
            <a:solidFill>
              <a:srgbClr val="00763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MA"/>
            </a:p>
          </p:txBody>
        </p:sp>
      </p:grpSp>
      <p:grpSp>
        <p:nvGrpSpPr>
          <p:cNvPr id="22" name="Groupe 21">
            <a:extLst>
              <a:ext uri="{FF2B5EF4-FFF2-40B4-BE49-F238E27FC236}">
                <a16:creationId xmlns:a16="http://schemas.microsoft.com/office/drawing/2014/main" id="{AE14D924-CCAF-BC81-46C2-9C7CA802A5C2}"/>
              </a:ext>
            </a:extLst>
          </p:cNvPr>
          <p:cNvGrpSpPr/>
          <p:nvPr/>
        </p:nvGrpSpPr>
        <p:grpSpPr>
          <a:xfrm>
            <a:off x="1233177" y="5650951"/>
            <a:ext cx="5749068" cy="551385"/>
            <a:chOff x="5871852" y="5031826"/>
            <a:chExt cx="5749068" cy="551385"/>
          </a:xfrm>
        </p:grpSpPr>
        <p:sp>
          <p:nvSpPr>
            <p:cNvPr id="16" name="TextBox 7">
              <a:extLst>
                <a:ext uri="{FF2B5EF4-FFF2-40B4-BE49-F238E27FC236}">
                  <a16:creationId xmlns:a16="http://schemas.microsoft.com/office/drawing/2014/main" id="{C4FFF34D-FB09-FB96-5F67-BB448DC4CF97}"/>
                </a:ext>
              </a:extLst>
            </p:cNvPr>
            <p:cNvSpPr txBox="1"/>
            <p:nvPr/>
          </p:nvSpPr>
          <p:spPr>
            <a:xfrm>
              <a:off x="6096000" y="5039754"/>
              <a:ext cx="5524920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2200">
                  <a:latin typeface="Avenir Next LT Pro" panose="020B0504020202020204" pitchFamily="34" charset="0"/>
                  <a:cs typeface="Arial" panose="020B0604020202020204" pitchFamily="34" charset="0"/>
                </a:rPr>
                <a:t>Swift Access to a 2,5 bn Consumer Market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22430314-DD04-BCE2-F318-3D2C85C290CD}"/>
                </a:ext>
              </a:extLst>
            </p:cNvPr>
            <p:cNvSpPr/>
            <p:nvPr/>
          </p:nvSpPr>
          <p:spPr>
            <a:xfrm>
              <a:off x="5871852" y="5031826"/>
              <a:ext cx="36000" cy="551385"/>
            </a:xfrm>
            <a:prstGeom prst="rect">
              <a:avLst/>
            </a:prstGeom>
            <a:solidFill>
              <a:srgbClr val="FBB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MA">
                <a:latin typeface="Avenir Next LT Pro" panose="020B0504020202020204" pitchFamily="34" charset="0"/>
              </a:endParaRPr>
            </a:p>
          </p:txBody>
        </p:sp>
      </p:grpSp>
      <p:sp>
        <p:nvSpPr>
          <p:cNvPr id="2" name="ZoneTexte 1">
            <a:extLst>
              <a:ext uri="{FF2B5EF4-FFF2-40B4-BE49-F238E27FC236}">
                <a16:creationId xmlns:a16="http://schemas.microsoft.com/office/drawing/2014/main" id="{7CADD4DC-D862-BC2E-6B7D-91D4DF20B3F9}"/>
              </a:ext>
            </a:extLst>
          </p:cNvPr>
          <p:cNvSpPr txBox="1"/>
          <p:nvPr/>
        </p:nvSpPr>
        <p:spPr>
          <a:xfrm>
            <a:off x="11751013" y="6611779"/>
            <a:ext cx="364661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000">
                <a:solidFill>
                  <a:schemeClr val="bg1">
                    <a:lumMod val="65000"/>
                  </a:schemeClr>
                </a:solidFill>
                <a:latin typeface="Avenir Next LT Pro Light" panose="020B0304020202020204" pitchFamily="34" charset="0"/>
                <a:cs typeface="Arial" panose="020B0604020202020204" pitchFamily="34" charset="0"/>
              </a:rPr>
              <a:t>2</a:t>
            </a:r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187AEE12-86F6-0CC2-E73B-3681C5C5913E}"/>
              </a:ext>
            </a:extLst>
          </p:cNvPr>
          <p:cNvGrpSpPr/>
          <p:nvPr/>
        </p:nvGrpSpPr>
        <p:grpSpPr>
          <a:xfrm>
            <a:off x="7206084" y="3574087"/>
            <a:ext cx="5749069" cy="769441"/>
            <a:chOff x="5871851" y="2981938"/>
            <a:chExt cx="5749069" cy="769441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FBB03BF8-323C-4B2F-8F76-8EE4801F9304}"/>
                </a:ext>
              </a:extLst>
            </p:cNvPr>
            <p:cNvSpPr/>
            <p:nvPr/>
          </p:nvSpPr>
          <p:spPr>
            <a:xfrm>
              <a:off x="5871851" y="3048613"/>
              <a:ext cx="45719" cy="551385"/>
            </a:xfrm>
            <a:prstGeom prst="rect">
              <a:avLst/>
            </a:prstGeom>
            <a:solidFill>
              <a:srgbClr val="D4112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MA">
                <a:latin typeface="Avenir Next LT Pro" panose="020B0504020202020204" pitchFamily="34" charset="0"/>
              </a:endParaRPr>
            </a:p>
          </p:txBody>
        </p:sp>
        <p:sp>
          <p:nvSpPr>
            <p:cNvPr id="6" name="TextBox 7">
              <a:extLst>
                <a:ext uri="{FF2B5EF4-FFF2-40B4-BE49-F238E27FC236}">
                  <a16:creationId xmlns:a16="http://schemas.microsoft.com/office/drawing/2014/main" id="{957E9DCC-2EAB-786E-3C66-1606DCD736A4}"/>
                </a:ext>
              </a:extLst>
            </p:cNvPr>
            <p:cNvSpPr txBox="1"/>
            <p:nvPr/>
          </p:nvSpPr>
          <p:spPr>
            <a:xfrm>
              <a:off x="6096000" y="2981938"/>
              <a:ext cx="5524920" cy="76944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2200">
                  <a:latin typeface="Avenir Next LT Pro" panose="020B0504020202020204" pitchFamily="34" charset="0"/>
                  <a:cs typeface="Arial" panose="020B0604020202020204" pitchFamily="34" charset="0"/>
                </a:rPr>
                <a:t>Young, Diverse and Motivated</a:t>
              </a:r>
            </a:p>
            <a:p>
              <a:r>
                <a:rPr lang="en-US" sz="2200">
                  <a:latin typeface="Avenir Next LT Pro" panose="020B0504020202020204" pitchFamily="34" charset="0"/>
                  <a:cs typeface="Arial" panose="020B0604020202020204" pitchFamily="34" charset="0"/>
                </a:rPr>
                <a:t>Human Capital</a:t>
              </a:r>
            </a:p>
          </p:txBody>
        </p:sp>
      </p:grpSp>
      <p:grpSp>
        <p:nvGrpSpPr>
          <p:cNvPr id="7" name="Groupe 6">
            <a:extLst>
              <a:ext uri="{FF2B5EF4-FFF2-40B4-BE49-F238E27FC236}">
                <a16:creationId xmlns:a16="http://schemas.microsoft.com/office/drawing/2014/main" id="{5B708479-01E0-059D-4440-15A97AC2E5BD}"/>
              </a:ext>
            </a:extLst>
          </p:cNvPr>
          <p:cNvGrpSpPr/>
          <p:nvPr/>
        </p:nvGrpSpPr>
        <p:grpSpPr>
          <a:xfrm>
            <a:off x="7206084" y="4632368"/>
            <a:ext cx="5749069" cy="578361"/>
            <a:chOff x="5871851" y="4040219"/>
            <a:chExt cx="5749069" cy="578361"/>
          </a:xfrm>
        </p:grpSpPr>
        <p:sp>
          <p:nvSpPr>
            <p:cNvPr id="12" name="TextBox 7">
              <a:extLst>
                <a:ext uri="{FF2B5EF4-FFF2-40B4-BE49-F238E27FC236}">
                  <a16:creationId xmlns:a16="http://schemas.microsoft.com/office/drawing/2014/main" id="{C5890724-6662-AFA1-22BF-68BBD2AF0FDA}"/>
                </a:ext>
              </a:extLst>
            </p:cNvPr>
            <p:cNvSpPr txBox="1"/>
            <p:nvPr/>
          </p:nvSpPr>
          <p:spPr>
            <a:xfrm>
              <a:off x="6096000" y="4044184"/>
              <a:ext cx="5524920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2000">
                  <a:latin typeface="Avenir Next LT Pro" panose="020B0504020202020204" pitchFamily="34" charset="0"/>
                  <a:cs typeface="Arial" panose="020B0604020202020204" pitchFamily="34" charset="0"/>
                </a:rPr>
                <a:t>Leader in Energy Transition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D863543-1559-8888-63DE-BEF5F5370968}"/>
                </a:ext>
              </a:extLst>
            </p:cNvPr>
            <p:cNvSpPr/>
            <p:nvPr/>
          </p:nvSpPr>
          <p:spPr>
            <a:xfrm>
              <a:off x="5871851" y="4040219"/>
              <a:ext cx="45719" cy="578361"/>
            </a:xfrm>
            <a:prstGeom prst="rect">
              <a:avLst/>
            </a:prstGeom>
            <a:solidFill>
              <a:srgbClr val="8FBE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MA">
                <a:latin typeface="Avenir Next LT Pro" panose="020B0504020202020204" pitchFamily="34" charset="0"/>
              </a:endParaRPr>
            </a:p>
          </p:txBody>
        </p:sp>
      </p:grp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FE68C023-2AAA-8122-B6EA-2E6A59A532C3}"/>
              </a:ext>
            </a:extLst>
          </p:cNvPr>
          <p:cNvGrpSpPr/>
          <p:nvPr/>
        </p:nvGrpSpPr>
        <p:grpSpPr>
          <a:xfrm>
            <a:off x="7206084" y="5623975"/>
            <a:ext cx="5749069" cy="551385"/>
            <a:chOff x="5871851" y="5031826"/>
            <a:chExt cx="5749069" cy="551385"/>
          </a:xfrm>
        </p:grpSpPr>
        <p:sp>
          <p:nvSpPr>
            <p:cNvPr id="23" name="TextBox 7">
              <a:extLst>
                <a:ext uri="{FF2B5EF4-FFF2-40B4-BE49-F238E27FC236}">
                  <a16:creationId xmlns:a16="http://schemas.microsoft.com/office/drawing/2014/main" id="{83CF3A54-04C8-3CBA-B236-5A28D2B1E615}"/>
                </a:ext>
              </a:extLst>
            </p:cNvPr>
            <p:cNvSpPr txBox="1"/>
            <p:nvPr/>
          </p:nvSpPr>
          <p:spPr>
            <a:xfrm>
              <a:off x="6096000" y="5039754"/>
              <a:ext cx="5524920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2200">
                  <a:latin typeface="Avenir Next LT Pro" panose="020B0504020202020204" pitchFamily="34" charset="0"/>
                  <a:cs typeface="Arial" panose="020B0604020202020204" pitchFamily="34" charset="0"/>
                </a:rPr>
                <a:t>Execution Driven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C03286DE-B766-E356-5272-42A8FC94B25D}"/>
                </a:ext>
              </a:extLst>
            </p:cNvPr>
            <p:cNvSpPr/>
            <p:nvPr/>
          </p:nvSpPr>
          <p:spPr>
            <a:xfrm>
              <a:off x="5871851" y="5031826"/>
              <a:ext cx="45719" cy="551385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MA">
                <a:latin typeface="Avenir Next LT Pro" panose="020B0504020202020204" pitchFamily="34" charset="0"/>
              </a:endParaRPr>
            </a:p>
          </p:txBody>
        </p:sp>
      </p:grpSp>
      <p:pic>
        <p:nvPicPr>
          <p:cNvPr id="25" name="Picture 2" descr="Complexe solaire NOOR à Ouarzazate, le Maroc sur la « Route de la soie  verte » #27 - Observatoire Français des Nouvelles Routes de la Soie">
            <a:extLst>
              <a:ext uri="{FF2B5EF4-FFF2-40B4-BE49-F238E27FC236}">
                <a16:creationId xmlns:a16="http://schemas.microsoft.com/office/drawing/2014/main" id="{84FB3709-DF76-8ADD-4549-3E485B233C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1080" y="383020"/>
            <a:ext cx="3473629" cy="2608392"/>
          </a:xfrm>
          <a:prstGeom prst="round2Diag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60182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 : avec coins arrondis en diagonale 3">
            <a:extLst>
              <a:ext uri="{FF2B5EF4-FFF2-40B4-BE49-F238E27FC236}">
                <a16:creationId xmlns:a16="http://schemas.microsoft.com/office/drawing/2014/main" id="{3650CD39-FEE5-D698-7B85-0730961093A2}"/>
              </a:ext>
            </a:extLst>
          </p:cNvPr>
          <p:cNvSpPr/>
          <p:nvPr/>
        </p:nvSpPr>
        <p:spPr>
          <a:xfrm>
            <a:off x="8549640" y="105848"/>
            <a:ext cx="3642360" cy="6752152"/>
          </a:xfrm>
          <a:prstGeom prst="round2DiagRect">
            <a:avLst>
              <a:gd name="adj1" fmla="val 0"/>
              <a:gd name="adj2" fmla="val 23842"/>
            </a:avLst>
          </a:prstGeom>
          <a:gradFill flip="none" rotWithShape="1">
            <a:gsLst>
              <a:gs pos="0">
                <a:srgbClr val="004F9F">
                  <a:shade val="30000"/>
                  <a:satMod val="115000"/>
                </a:srgbClr>
              </a:gs>
              <a:gs pos="48000">
                <a:srgbClr val="004F9F"/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13E2DCE8-3FE5-DB4B-8E0D-85191BEE15C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91" t="160" r="10447" b="-160"/>
          <a:stretch/>
        </p:blipFill>
        <p:spPr bwMode="auto">
          <a:xfrm>
            <a:off x="7142386" y="1874254"/>
            <a:ext cx="4726117" cy="3912869"/>
          </a:xfrm>
          <a:prstGeom prst="round2DiagRect">
            <a:avLst>
              <a:gd name="adj1" fmla="val 0"/>
              <a:gd name="adj2" fmla="val 1698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5">
            <a:extLst>
              <a:ext uri="{FF2B5EF4-FFF2-40B4-BE49-F238E27FC236}">
                <a16:creationId xmlns:a16="http://schemas.microsoft.com/office/drawing/2014/main" id="{F0C8B7E2-68EC-39CF-E023-E8988B368393}"/>
              </a:ext>
            </a:extLst>
          </p:cNvPr>
          <p:cNvSpPr txBox="1"/>
          <p:nvPr/>
        </p:nvSpPr>
        <p:spPr>
          <a:xfrm>
            <a:off x="420020" y="220159"/>
            <a:ext cx="799055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000" b="1">
                <a:effectLst/>
                <a:latin typeface="Avenir Next LT Pro" panose="020B0504020202020204" pitchFamily="34" charset="77"/>
                <a:ea typeface="Lato Medium" panose="020F0502020204030203" pitchFamily="34" charset="0"/>
                <a:cs typeface="Lato Medium" panose="020F0502020204030203" pitchFamily="34" charset="0"/>
              </a:rPr>
              <a:t>A Stable Country with a Vision</a:t>
            </a:r>
            <a:endParaRPr lang="fr-FR" sz="4000" b="1">
              <a:solidFill>
                <a:schemeClr val="tx1">
                  <a:lumMod val="85000"/>
                  <a:lumOff val="15000"/>
                </a:schemeClr>
              </a:solidFill>
              <a:latin typeface="Avenir Next LT Pro" panose="020B0504020202020204" pitchFamily="34" charset="77"/>
              <a:ea typeface="Lato Medium" panose="020F0502020204030203" pitchFamily="34" charset="0"/>
              <a:cs typeface="Lato Medium" panose="020F0502020204030203" pitchFamily="34" charset="0"/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2A9615F3-AEEF-7232-C77D-85E86E309014}"/>
              </a:ext>
            </a:extLst>
          </p:cNvPr>
          <p:cNvSpPr txBox="1"/>
          <p:nvPr/>
        </p:nvSpPr>
        <p:spPr>
          <a:xfrm>
            <a:off x="629570" y="3199449"/>
            <a:ext cx="614360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GB" sz="1600" dirty="0">
                <a:latin typeface="Avenir Next LT Pro "/>
                <a:cs typeface="Arial" panose="020B0604020202020204" pitchFamily="34" charset="0"/>
                <a:sym typeface="Wingdings" pitchFamily="2" charset="2"/>
              </a:rPr>
              <a:t>Sizeable investments in the service of sustainable and inclusive development : Education, Health, Transportation and Renewable Energy Infrastructures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42D4AE7A-47A7-9C04-0693-7E18937300C2}"/>
              </a:ext>
            </a:extLst>
          </p:cNvPr>
          <p:cNvSpPr txBox="1"/>
          <p:nvPr/>
        </p:nvSpPr>
        <p:spPr>
          <a:xfrm>
            <a:off x="629570" y="4296795"/>
            <a:ext cx="614360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1600">
                <a:latin typeface="Avenir Next LT Pro "/>
                <a:cs typeface="Arial" panose="020B0604020202020204" pitchFamily="34" charset="0"/>
              </a:rPr>
              <a:t>Solid macro-economic fundamentals : Inflation &lt; 2% from 2009 to 2021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0D2EFA5D-8F20-18E7-46F9-4CADFD391284}"/>
              </a:ext>
            </a:extLst>
          </p:cNvPr>
          <p:cNvSpPr txBox="1"/>
          <p:nvPr/>
        </p:nvSpPr>
        <p:spPr>
          <a:xfrm>
            <a:off x="629570" y="5224556"/>
            <a:ext cx="617960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1600">
                <a:latin typeface="Avenir Next LT Pro "/>
                <a:cs typeface="Arial" panose="020B0604020202020204" pitchFamily="34" charset="0"/>
              </a:rPr>
              <a:t>Long time commitment to trade openness and foreign investment : 50 non double taxation agreements, no restrictions on capital and profit repatriation for non-residents </a:t>
            </a:r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17958EF3-8FBC-1D17-13AC-20FFC17064FF}"/>
              </a:ext>
            </a:extLst>
          </p:cNvPr>
          <p:cNvSpPr txBox="1"/>
          <p:nvPr/>
        </p:nvSpPr>
        <p:spPr>
          <a:xfrm>
            <a:off x="641702" y="2408121"/>
            <a:ext cx="622792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fr-FR" sz="1600">
                <a:latin typeface="Avenir Next LT Pro "/>
                <a:cs typeface="Arial" panose="020B0604020202020204" pitchFamily="34" charset="0"/>
              </a:rPr>
              <a:t>Stability rooted </a:t>
            </a:r>
            <a:r>
              <a:rPr lang="en-US" sz="1600">
                <a:latin typeface="Avenir Next LT Pro "/>
                <a:cs typeface="Arial" panose="020B0604020202020204" pitchFamily="34" charset="0"/>
              </a:rPr>
              <a:t>in</a:t>
            </a:r>
            <a:r>
              <a:rPr lang="fr-FR" sz="1600">
                <a:latin typeface="Avenir Next LT Pro "/>
                <a:cs typeface="Arial" panose="020B0604020202020204" pitchFamily="34" charset="0"/>
              </a:rPr>
              <a:t> history and in continuous reforms in favor of a more </a:t>
            </a:r>
            <a:r>
              <a:rPr lang="en-US" sz="1600">
                <a:latin typeface="Avenir Next LT Pro "/>
                <a:cs typeface="Arial" panose="020B0604020202020204" pitchFamily="34" charset="0"/>
              </a:rPr>
              <a:t>egalitarian</a:t>
            </a:r>
            <a:r>
              <a:rPr lang="fr-FR" sz="1600">
                <a:latin typeface="Avenir Next LT Pro "/>
                <a:cs typeface="Arial" panose="020B0604020202020204" pitchFamily="34" charset="0"/>
              </a:rPr>
              <a:t> and democratic society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2AABAAF-9C28-C998-085B-350930B924EF}"/>
              </a:ext>
            </a:extLst>
          </p:cNvPr>
          <p:cNvSpPr/>
          <p:nvPr/>
        </p:nvSpPr>
        <p:spPr>
          <a:xfrm>
            <a:off x="527311" y="4361210"/>
            <a:ext cx="36000" cy="432000"/>
          </a:xfrm>
          <a:prstGeom prst="rect">
            <a:avLst/>
          </a:prstGeom>
          <a:solidFill>
            <a:srgbClr val="3CA4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ABD60E0-69E6-233F-65E3-1D610845E134}"/>
              </a:ext>
            </a:extLst>
          </p:cNvPr>
          <p:cNvSpPr/>
          <p:nvPr/>
        </p:nvSpPr>
        <p:spPr>
          <a:xfrm>
            <a:off x="527311" y="5306478"/>
            <a:ext cx="36000" cy="432000"/>
          </a:xfrm>
          <a:prstGeom prst="rect">
            <a:avLst/>
          </a:prstGeom>
          <a:solidFill>
            <a:srgbClr val="3CA4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B84599EF-11E1-FC85-5E2B-C954175E6F41}"/>
              </a:ext>
            </a:extLst>
          </p:cNvPr>
          <p:cNvSpPr txBox="1"/>
          <p:nvPr/>
        </p:nvSpPr>
        <p:spPr>
          <a:xfrm>
            <a:off x="11751013" y="6611779"/>
            <a:ext cx="364661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000">
                <a:solidFill>
                  <a:schemeClr val="bg1">
                    <a:lumMod val="65000"/>
                  </a:schemeClr>
                </a:solidFill>
                <a:latin typeface="Avenir Next LT Pro Light" panose="020B03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5" name="TextBox 55">
            <a:extLst>
              <a:ext uri="{FF2B5EF4-FFF2-40B4-BE49-F238E27FC236}">
                <a16:creationId xmlns:a16="http://schemas.microsoft.com/office/drawing/2014/main" id="{32B7C39E-9885-59D8-2EF5-C12FAD10E48A}"/>
              </a:ext>
            </a:extLst>
          </p:cNvPr>
          <p:cNvSpPr txBox="1"/>
          <p:nvPr/>
        </p:nvSpPr>
        <p:spPr>
          <a:xfrm>
            <a:off x="471456" y="958880"/>
            <a:ext cx="799055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>
                <a:latin typeface="Avenir Next LT Pro Demi" panose="020B0704020202020204" pitchFamily="34" charset="0"/>
                <a:cs typeface="Arial" panose="020B0604020202020204" pitchFamily="34" charset="0"/>
              </a:rPr>
              <a:t>A stable political, economic, and social environment driven by the commitment to build an open, diverse and equitable society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1FC5BC-5469-C68F-16EE-9CEBFBAD5885}"/>
              </a:ext>
            </a:extLst>
          </p:cNvPr>
          <p:cNvSpPr/>
          <p:nvPr/>
        </p:nvSpPr>
        <p:spPr>
          <a:xfrm>
            <a:off x="527311" y="3273229"/>
            <a:ext cx="36000" cy="432000"/>
          </a:xfrm>
          <a:prstGeom prst="rect">
            <a:avLst/>
          </a:prstGeom>
          <a:solidFill>
            <a:srgbClr val="3CA4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FEA3A9B-C619-B723-F863-08947AE48B38}"/>
              </a:ext>
            </a:extLst>
          </p:cNvPr>
          <p:cNvSpPr/>
          <p:nvPr/>
        </p:nvSpPr>
        <p:spPr>
          <a:xfrm>
            <a:off x="527311" y="2460651"/>
            <a:ext cx="36000" cy="432000"/>
          </a:xfrm>
          <a:prstGeom prst="rect">
            <a:avLst/>
          </a:prstGeom>
          <a:solidFill>
            <a:srgbClr val="3CA4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30563136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 : avec coins arrondis en diagonale 3">
            <a:extLst>
              <a:ext uri="{FF2B5EF4-FFF2-40B4-BE49-F238E27FC236}">
                <a16:creationId xmlns:a16="http://schemas.microsoft.com/office/drawing/2014/main" id="{3F92B1A8-A0B0-28F0-47D5-48E732DA0A98}"/>
              </a:ext>
            </a:extLst>
          </p:cNvPr>
          <p:cNvSpPr/>
          <p:nvPr/>
        </p:nvSpPr>
        <p:spPr>
          <a:xfrm rot="5400000">
            <a:off x="-1066277" y="1096593"/>
            <a:ext cx="6857999" cy="4704188"/>
          </a:xfrm>
          <a:prstGeom prst="round2DiagRect">
            <a:avLst>
              <a:gd name="adj1" fmla="val 0"/>
              <a:gd name="adj2" fmla="val 6932"/>
            </a:avLst>
          </a:prstGeom>
          <a:gradFill flip="none" rotWithShape="1">
            <a:gsLst>
              <a:gs pos="0">
                <a:schemeClr val="bg1"/>
              </a:gs>
              <a:gs pos="79000">
                <a:schemeClr val="bg1">
                  <a:lumMod val="9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730C4615-FA34-9C67-1291-6E61BEB948B8}"/>
              </a:ext>
            </a:extLst>
          </p:cNvPr>
          <p:cNvSpPr txBox="1"/>
          <p:nvPr/>
        </p:nvSpPr>
        <p:spPr>
          <a:xfrm>
            <a:off x="5601858" y="229913"/>
            <a:ext cx="5732260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ts val="4800"/>
              </a:lnSpc>
            </a:pPr>
            <a:r>
              <a:rPr lang="en-US" sz="4000" b="1">
                <a:latin typeface="Avenir Next LT Pro" panose="020B0504020202020204" pitchFamily="34" charset="77"/>
                <a:ea typeface="Lato Medium" panose="020F0502020204030203" pitchFamily="34" charset="0"/>
                <a:cs typeface="Lato Medium" panose="020F0502020204030203" pitchFamily="34" charset="0"/>
              </a:rPr>
              <a:t>A World Class Hub</a:t>
            </a:r>
          </a:p>
        </p:txBody>
      </p:sp>
      <p:sp>
        <p:nvSpPr>
          <p:cNvPr id="22" name="object 410">
            <a:extLst>
              <a:ext uri="{FF2B5EF4-FFF2-40B4-BE49-F238E27FC236}">
                <a16:creationId xmlns:a16="http://schemas.microsoft.com/office/drawing/2014/main" id="{E24CB702-F2DD-C54B-6B08-CA7166EFD88D}"/>
              </a:ext>
            </a:extLst>
          </p:cNvPr>
          <p:cNvSpPr txBox="1"/>
          <p:nvPr/>
        </p:nvSpPr>
        <p:spPr>
          <a:xfrm>
            <a:off x="401509" y="6566088"/>
            <a:ext cx="2205737" cy="14972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750">
                <a:solidFill>
                  <a:srgbClr val="706F6F"/>
                </a:solidFill>
                <a:latin typeface="Tahoma"/>
                <a:cs typeface="Tahoma"/>
              </a:rPr>
              <a:t>Source : UNCTAD, Lloyd’s list 2021</a:t>
            </a:r>
            <a:endParaRPr sz="750">
              <a:latin typeface="Tahoma"/>
              <a:cs typeface="Tahoma"/>
            </a:endParaRPr>
          </a:p>
        </p:txBody>
      </p:sp>
      <p:sp>
        <p:nvSpPr>
          <p:cNvPr id="5434" name="ZoneTexte 5433">
            <a:extLst>
              <a:ext uri="{FF2B5EF4-FFF2-40B4-BE49-F238E27FC236}">
                <a16:creationId xmlns:a16="http://schemas.microsoft.com/office/drawing/2014/main" id="{2D3AE7FF-7EDB-CC5F-B107-EB13D45C505B}"/>
              </a:ext>
            </a:extLst>
          </p:cNvPr>
          <p:cNvSpPr txBox="1"/>
          <p:nvPr/>
        </p:nvSpPr>
        <p:spPr>
          <a:xfrm>
            <a:off x="11751013" y="6611779"/>
            <a:ext cx="364661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000">
                <a:solidFill>
                  <a:schemeClr val="bg1">
                    <a:lumMod val="65000"/>
                  </a:schemeClr>
                </a:solidFill>
                <a:latin typeface="Avenir Next LT Pro Light" panose="020B0304020202020204" pitchFamily="34" charset="0"/>
                <a:cs typeface="Arial" panose="020B0604020202020204" pitchFamily="34" charset="0"/>
              </a:rPr>
              <a:t>7</a:t>
            </a:r>
          </a:p>
        </p:txBody>
      </p:sp>
      <p:sp>
        <p:nvSpPr>
          <p:cNvPr id="15" name="TextBox 55">
            <a:extLst>
              <a:ext uri="{FF2B5EF4-FFF2-40B4-BE49-F238E27FC236}">
                <a16:creationId xmlns:a16="http://schemas.microsoft.com/office/drawing/2014/main" id="{B81DAC7C-98D8-B1B6-29E5-63B47983E09A}"/>
              </a:ext>
            </a:extLst>
          </p:cNvPr>
          <p:cNvSpPr txBox="1"/>
          <p:nvPr/>
        </p:nvSpPr>
        <p:spPr>
          <a:xfrm>
            <a:off x="5601858" y="883897"/>
            <a:ext cx="799055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>
                <a:latin typeface="Avenir Next LT Pro Demi" panose="020B0704020202020204" pitchFamily="34" charset="0"/>
                <a:cs typeface="Arial" panose="020B0604020202020204" pitchFamily="34" charset="0"/>
              </a:rPr>
              <a:t>Infrastructures built to the highest international standards</a:t>
            </a:r>
          </a:p>
        </p:txBody>
      </p:sp>
      <p:grpSp>
        <p:nvGrpSpPr>
          <p:cNvPr id="1071" name="Groupe 1070">
            <a:extLst>
              <a:ext uri="{FF2B5EF4-FFF2-40B4-BE49-F238E27FC236}">
                <a16:creationId xmlns:a16="http://schemas.microsoft.com/office/drawing/2014/main" id="{CCE7E651-C858-BB5E-BD3E-2D078236FF53}"/>
              </a:ext>
            </a:extLst>
          </p:cNvPr>
          <p:cNvGrpSpPr/>
          <p:nvPr/>
        </p:nvGrpSpPr>
        <p:grpSpPr>
          <a:xfrm>
            <a:off x="5806594" y="2127796"/>
            <a:ext cx="6126749" cy="3983919"/>
            <a:chOff x="140965" y="2114987"/>
            <a:chExt cx="6126749" cy="3983919"/>
          </a:xfrm>
        </p:grpSpPr>
        <p:grpSp>
          <p:nvGrpSpPr>
            <p:cNvPr id="5394" name="Groupe 5393">
              <a:extLst>
                <a:ext uri="{FF2B5EF4-FFF2-40B4-BE49-F238E27FC236}">
                  <a16:creationId xmlns:a16="http://schemas.microsoft.com/office/drawing/2014/main" id="{43AECB10-333C-FA4C-71CE-6F8903E4E977}"/>
                </a:ext>
              </a:extLst>
            </p:cNvPr>
            <p:cNvGrpSpPr/>
            <p:nvPr/>
          </p:nvGrpSpPr>
          <p:grpSpPr>
            <a:xfrm>
              <a:off x="1124007" y="2114987"/>
              <a:ext cx="3717570" cy="3983919"/>
              <a:chOff x="4393409" y="585781"/>
              <a:chExt cx="4777974" cy="5443760"/>
            </a:xfrm>
            <a:solidFill>
              <a:schemeClr val="bg1">
                <a:lumMod val="95000"/>
              </a:schemeClr>
            </a:solidFill>
          </p:grpSpPr>
          <p:sp>
            <p:nvSpPr>
              <p:cNvPr id="5395" name="Freeform 294">
                <a:extLst>
                  <a:ext uri="{FF2B5EF4-FFF2-40B4-BE49-F238E27FC236}">
                    <a16:creationId xmlns:a16="http://schemas.microsoft.com/office/drawing/2014/main" id="{BCC2A0FA-5A29-A830-E19F-F76DC085132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308812" y="4249936"/>
                <a:ext cx="456122" cy="1031910"/>
              </a:xfrm>
              <a:custGeom>
                <a:avLst/>
                <a:gdLst>
                  <a:gd name="T0" fmla="*/ 2147483647 w 144"/>
                  <a:gd name="T1" fmla="*/ 0 h 296"/>
                  <a:gd name="T2" fmla="*/ 2147483647 w 144"/>
                  <a:gd name="T3" fmla="*/ 0 h 296"/>
                  <a:gd name="T4" fmla="*/ 2147483647 w 144"/>
                  <a:gd name="T5" fmla="*/ 2147483647 h 296"/>
                  <a:gd name="T6" fmla="*/ 2147483647 w 144"/>
                  <a:gd name="T7" fmla="*/ 2147483647 h 296"/>
                  <a:gd name="T8" fmla="*/ 2147483647 w 144"/>
                  <a:gd name="T9" fmla="*/ 2147483647 h 296"/>
                  <a:gd name="T10" fmla="*/ 2147483647 w 144"/>
                  <a:gd name="T11" fmla="*/ 2147483647 h 296"/>
                  <a:gd name="T12" fmla="*/ 2147483647 w 144"/>
                  <a:gd name="T13" fmla="*/ 2147483647 h 296"/>
                  <a:gd name="T14" fmla="*/ 2147483647 w 144"/>
                  <a:gd name="T15" fmla="*/ 2147483647 h 296"/>
                  <a:gd name="T16" fmla="*/ 2147483647 w 144"/>
                  <a:gd name="T17" fmla="*/ 2147483647 h 296"/>
                  <a:gd name="T18" fmla="*/ 2147483647 w 144"/>
                  <a:gd name="T19" fmla="*/ 2147483647 h 296"/>
                  <a:gd name="T20" fmla="*/ 2147483647 w 144"/>
                  <a:gd name="T21" fmla="*/ 2147483647 h 296"/>
                  <a:gd name="T22" fmla="*/ 2147483647 w 144"/>
                  <a:gd name="T23" fmla="*/ 2147483647 h 296"/>
                  <a:gd name="T24" fmla="*/ 2147483647 w 144"/>
                  <a:gd name="T25" fmla="*/ 2147483647 h 296"/>
                  <a:gd name="T26" fmla="*/ 2147483647 w 144"/>
                  <a:gd name="T27" fmla="*/ 2147483647 h 296"/>
                  <a:gd name="T28" fmla="*/ 2147483647 w 144"/>
                  <a:gd name="T29" fmla="*/ 2147483647 h 296"/>
                  <a:gd name="T30" fmla="*/ 2147483647 w 144"/>
                  <a:gd name="T31" fmla="*/ 2147483647 h 296"/>
                  <a:gd name="T32" fmla="*/ 2147483647 w 144"/>
                  <a:gd name="T33" fmla="*/ 2147483647 h 296"/>
                  <a:gd name="T34" fmla="*/ 2147483647 w 144"/>
                  <a:gd name="T35" fmla="*/ 2147483647 h 296"/>
                  <a:gd name="T36" fmla="*/ 2147483647 w 144"/>
                  <a:gd name="T37" fmla="*/ 2147483647 h 296"/>
                  <a:gd name="T38" fmla="*/ 0 w 144"/>
                  <a:gd name="T39" fmla="*/ 2147483647 h 296"/>
                  <a:gd name="T40" fmla="*/ 0 w 144"/>
                  <a:gd name="T41" fmla="*/ 2147483647 h 296"/>
                  <a:gd name="T42" fmla="*/ 2147483647 w 144"/>
                  <a:gd name="T43" fmla="*/ 2147483647 h 296"/>
                  <a:gd name="T44" fmla="*/ 2147483647 w 144"/>
                  <a:gd name="T45" fmla="*/ 2147483647 h 296"/>
                  <a:gd name="T46" fmla="*/ 2147483647 w 144"/>
                  <a:gd name="T47" fmla="*/ 2147483647 h 296"/>
                  <a:gd name="T48" fmla="*/ 2147483647 w 144"/>
                  <a:gd name="T49" fmla="*/ 2147483647 h 296"/>
                  <a:gd name="T50" fmla="*/ 2147483647 w 144"/>
                  <a:gd name="T51" fmla="*/ 2147483647 h 296"/>
                  <a:gd name="T52" fmla="*/ 2147483647 w 144"/>
                  <a:gd name="T53" fmla="*/ 2147483647 h 296"/>
                  <a:gd name="T54" fmla="*/ 2147483647 w 144"/>
                  <a:gd name="T55" fmla="*/ 2147483647 h 296"/>
                  <a:gd name="T56" fmla="*/ 2147483647 w 144"/>
                  <a:gd name="T57" fmla="*/ 2147483647 h 296"/>
                  <a:gd name="T58" fmla="*/ 2147483647 w 144"/>
                  <a:gd name="T59" fmla="*/ 2147483647 h 296"/>
                  <a:gd name="T60" fmla="*/ 2147483647 w 144"/>
                  <a:gd name="T61" fmla="*/ 2147483647 h 296"/>
                  <a:gd name="T62" fmla="*/ 2147483647 w 144"/>
                  <a:gd name="T63" fmla="*/ 2147483647 h 296"/>
                  <a:gd name="T64" fmla="*/ 2147483647 w 144"/>
                  <a:gd name="T65" fmla="*/ 2147483647 h 296"/>
                  <a:gd name="T66" fmla="*/ 2147483647 w 144"/>
                  <a:gd name="T67" fmla="*/ 2147483647 h 296"/>
                  <a:gd name="T68" fmla="*/ 2147483647 w 144"/>
                  <a:gd name="T69" fmla="*/ 2147483647 h 296"/>
                  <a:gd name="T70" fmla="*/ 2147483647 w 144"/>
                  <a:gd name="T71" fmla="*/ 2147483647 h 296"/>
                  <a:gd name="T72" fmla="*/ 2147483647 w 144"/>
                  <a:gd name="T73" fmla="*/ 0 h 29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144"/>
                  <a:gd name="T112" fmla="*/ 0 h 296"/>
                  <a:gd name="T113" fmla="*/ 144 w 144"/>
                  <a:gd name="T114" fmla="*/ 296 h 29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144" h="296">
                    <a:moveTo>
                      <a:pt x="120" y="0"/>
                    </a:moveTo>
                    <a:lnTo>
                      <a:pt x="128" y="0"/>
                    </a:lnTo>
                    <a:lnTo>
                      <a:pt x="128" y="8"/>
                    </a:lnTo>
                    <a:lnTo>
                      <a:pt x="128" y="24"/>
                    </a:lnTo>
                    <a:lnTo>
                      <a:pt x="144" y="64"/>
                    </a:lnTo>
                    <a:lnTo>
                      <a:pt x="144" y="80"/>
                    </a:lnTo>
                    <a:lnTo>
                      <a:pt x="128" y="80"/>
                    </a:lnTo>
                    <a:lnTo>
                      <a:pt x="128" y="104"/>
                    </a:lnTo>
                    <a:lnTo>
                      <a:pt x="128" y="112"/>
                    </a:lnTo>
                    <a:lnTo>
                      <a:pt x="112" y="168"/>
                    </a:lnTo>
                    <a:lnTo>
                      <a:pt x="104" y="200"/>
                    </a:lnTo>
                    <a:lnTo>
                      <a:pt x="88" y="224"/>
                    </a:lnTo>
                    <a:lnTo>
                      <a:pt x="88" y="264"/>
                    </a:lnTo>
                    <a:lnTo>
                      <a:pt x="72" y="280"/>
                    </a:lnTo>
                    <a:lnTo>
                      <a:pt x="56" y="288"/>
                    </a:lnTo>
                    <a:lnTo>
                      <a:pt x="40" y="296"/>
                    </a:lnTo>
                    <a:lnTo>
                      <a:pt x="24" y="288"/>
                    </a:lnTo>
                    <a:lnTo>
                      <a:pt x="16" y="272"/>
                    </a:lnTo>
                    <a:lnTo>
                      <a:pt x="8" y="248"/>
                    </a:lnTo>
                    <a:lnTo>
                      <a:pt x="0" y="232"/>
                    </a:lnTo>
                    <a:lnTo>
                      <a:pt x="0" y="208"/>
                    </a:lnTo>
                    <a:lnTo>
                      <a:pt x="16" y="184"/>
                    </a:lnTo>
                    <a:lnTo>
                      <a:pt x="24" y="144"/>
                    </a:lnTo>
                    <a:lnTo>
                      <a:pt x="16" y="136"/>
                    </a:lnTo>
                    <a:lnTo>
                      <a:pt x="16" y="104"/>
                    </a:lnTo>
                    <a:lnTo>
                      <a:pt x="24" y="88"/>
                    </a:lnTo>
                    <a:lnTo>
                      <a:pt x="40" y="88"/>
                    </a:lnTo>
                    <a:lnTo>
                      <a:pt x="40" y="80"/>
                    </a:lnTo>
                    <a:lnTo>
                      <a:pt x="56" y="80"/>
                    </a:lnTo>
                    <a:lnTo>
                      <a:pt x="64" y="72"/>
                    </a:lnTo>
                    <a:lnTo>
                      <a:pt x="80" y="64"/>
                    </a:lnTo>
                    <a:lnTo>
                      <a:pt x="88" y="56"/>
                    </a:lnTo>
                    <a:lnTo>
                      <a:pt x="96" y="48"/>
                    </a:lnTo>
                    <a:lnTo>
                      <a:pt x="96" y="40"/>
                    </a:lnTo>
                    <a:lnTo>
                      <a:pt x="104" y="32"/>
                    </a:lnTo>
                    <a:lnTo>
                      <a:pt x="112" y="8"/>
                    </a:lnTo>
                    <a:lnTo>
                      <a:pt x="120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5396" name="Freeform 296">
                <a:extLst>
                  <a:ext uri="{FF2B5EF4-FFF2-40B4-BE49-F238E27FC236}">
                    <a16:creationId xmlns:a16="http://schemas.microsoft.com/office/drawing/2014/main" id="{6926CAB4-DAFE-56DA-4EF7-2C20E765204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727592" y="1578336"/>
                <a:ext cx="1088364" cy="1088749"/>
              </a:xfrm>
              <a:custGeom>
                <a:avLst/>
                <a:gdLst>
                  <a:gd name="T0" fmla="*/ 2147483647 w 344"/>
                  <a:gd name="T1" fmla="*/ 0 h 312"/>
                  <a:gd name="T2" fmla="*/ 2147483647 w 344"/>
                  <a:gd name="T3" fmla="*/ 0 h 312"/>
                  <a:gd name="T4" fmla="*/ 2147483647 w 344"/>
                  <a:gd name="T5" fmla="*/ 2147483647 h 312"/>
                  <a:gd name="T6" fmla="*/ 2147483647 w 344"/>
                  <a:gd name="T7" fmla="*/ 2147483647 h 312"/>
                  <a:gd name="T8" fmla="*/ 2147483647 w 344"/>
                  <a:gd name="T9" fmla="*/ 2147483647 h 312"/>
                  <a:gd name="T10" fmla="*/ 2147483647 w 344"/>
                  <a:gd name="T11" fmla="*/ 2147483647 h 312"/>
                  <a:gd name="T12" fmla="*/ 2147483647 w 344"/>
                  <a:gd name="T13" fmla="*/ 2147483647 h 312"/>
                  <a:gd name="T14" fmla="*/ 2147483647 w 344"/>
                  <a:gd name="T15" fmla="*/ 2147483647 h 312"/>
                  <a:gd name="T16" fmla="*/ 2147483647 w 344"/>
                  <a:gd name="T17" fmla="*/ 2147483647 h 312"/>
                  <a:gd name="T18" fmla="*/ 2147483647 w 344"/>
                  <a:gd name="T19" fmla="*/ 2147483647 h 312"/>
                  <a:gd name="T20" fmla="*/ 0 w 344"/>
                  <a:gd name="T21" fmla="*/ 2147483647 h 312"/>
                  <a:gd name="T22" fmla="*/ 2147483647 w 344"/>
                  <a:gd name="T23" fmla="*/ 2147483647 h 312"/>
                  <a:gd name="T24" fmla="*/ 2147483647 w 344"/>
                  <a:gd name="T25" fmla="*/ 2147483647 h 312"/>
                  <a:gd name="T26" fmla="*/ 2147483647 w 344"/>
                  <a:gd name="T27" fmla="*/ 2147483647 h 312"/>
                  <a:gd name="T28" fmla="*/ 2147483647 w 344"/>
                  <a:gd name="T29" fmla="*/ 2147483647 h 312"/>
                  <a:gd name="T30" fmla="*/ 2147483647 w 344"/>
                  <a:gd name="T31" fmla="*/ 2147483647 h 312"/>
                  <a:gd name="T32" fmla="*/ 2147483647 w 344"/>
                  <a:gd name="T33" fmla="*/ 2147483647 h 312"/>
                  <a:gd name="T34" fmla="*/ 2147483647 w 344"/>
                  <a:gd name="T35" fmla="*/ 2147483647 h 312"/>
                  <a:gd name="T36" fmla="*/ 2147483647 w 344"/>
                  <a:gd name="T37" fmla="*/ 2147483647 h 312"/>
                  <a:gd name="T38" fmla="*/ 2147483647 w 344"/>
                  <a:gd name="T39" fmla="*/ 2147483647 h 312"/>
                  <a:gd name="T40" fmla="*/ 2147483647 w 344"/>
                  <a:gd name="T41" fmla="*/ 2147483647 h 312"/>
                  <a:gd name="T42" fmla="*/ 2147483647 w 344"/>
                  <a:gd name="T43" fmla="*/ 2147483647 h 312"/>
                  <a:gd name="T44" fmla="*/ 2147483647 w 344"/>
                  <a:gd name="T45" fmla="*/ 2147483647 h 312"/>
                  <a:gd name="T46" fmla="*/ 2147483647 w 344"/>
                  <a:gd name="T47" fmla="*/ 2147483647 h 312"/>
                  <a:gd name="T48" fmla="*/ 2147483647 w 344"/>
                  <a:gd name="T49" fmla="*/ 2147483647 h 312"/>
                  <a:gd name="T50" fmla="*/ 2147483647 w 344"/>
                  <a:gd name="T51" fmla="*/ 2147483647 h 312"/>
                  <a:gd name="T52" fmla="*/ 2147483647 w 344"/>
                  <a:gd name="T53" fmla="*/ 2147483647 h 312"/>
                  <a:gd name="T54" fmla="*/ 2147483647 w 344"/>
                  <a:gd name="T55" fmla="*/ 2147483647 h 312"/>
                  <a:gd name="T56" fmla="*/ 2147483647 w 344"/>
                  <a:gd name="T57" fmla="*/ 2147483647 h 312"/>
                  <a:gd name="T58" fmla="*/ 2147483647 w 344"/>
                  <a:gd name="T59" fmla="*/ 2147483647 h 312"/>
                  <a:gd name="T60" fmla="*/ 2147483647 w 344"/>
                  <a:gd name="T61" fmla="*/ 2147483647 h 312"/>
                  <a:gd name="T62" fmla="*/ 2147483647 w 344"/>
                  <a:gd name="T63" fmla="*/ 2147483647 h 312"/>
                  <a:gd name="T64" fmla="*/ 2147483647 w 344"/>
                  <a:gd name="T65" fmla="*/ 2147483647 h 312"/>
                  <a:gd name="T66" fmla="*/ 2147483647 w 344"/>
                  <a:gd name="T67" fmla="*/ 2147483647 h 312"/>
                  <a:gd name="T68" fmla="*/ 2147483647 w 344"/>
                  <a:gd name="T69" fmla="*/ 2147483647 h 312"/>
                  <a:gd name="T70" fmla="*/ 2147483647 w 344"/>
                  <a:gd name="T71" fmla="*/ 2147483647 h 312"/>
                  <a:gd name="T72" fmla="*/ 2147483647 w 344"/>
                  <a:gd name="T73" fmla="*/ 2147483647 h 312"/>
                  <a:gd name="T74" fmla="*/ 2147483647 w 344"/>
                  <a:gd name="T75" fmla="*/ 2147483647 h 312"/>
                  <a:gd name="T76" fmla="*/ 2147483647 w 344"/>
                  <a:gd name="T77" fmla="*/ 2147483647 h 312"/>
                  <a:gd name="T78" fmla="*/ 2147483647 w 344"/>
                  <a:gd name="T79" fmla="*/ 2147483647 h 312"/>
                  <a:gd name="T80" fmla="*/ 2147483647 w 344"/>
                  <a:gd name="T81" fmla="*/ 2147483647 h 312"/>
                  <a:gd name="T82" fmla="*/ 2147483647 w 344"/>
                  <a:gd name="T83" fmla="*/ 2147483647 h 312"/>
                  <a:gd name="T84" fmla="*/ 2147483647 w 344"/>
                  <a:gd name="T85" fmla="*/ 2147483647 h 312"/>
                  <a:gd name="T86" fmla="*/ 2147483647 w 344"/>
                  <a:gd name="T87" fmla="*/ 2147483647 h 312"/>
                  <a:gd name="T88" fmla="*/ 2147483647 w 344"/>
                  <a:gd name="T89" fmla="*/ 0 h 312"/>
                  <a:gd name="T90" fmla="*/ 2147483647 w 344"/>
                  <a:gd name="T91" fmla="*/ 0 h 312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344"/>
                  <a:gd name="T139" fmla="*/ 0 h 312"/>
                  <a:gd name="T140" fmla="*/ 344 w 344"/>
                  <a:gd name="T141" fmla="*/ 312 h 312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344" h="312">
                    <a:moveTo>
                      <a:pt x="160" y="0"/>
                    </a:moveTo>
                    <a:lnTo>
                      <a:pt x="112" y="0"/>
                    </a:lnTo>
                    <a:lnTo>
                      <a:pt x="136" y="200"/>
                    </a:lnTo>
                    <a:lnTo>
                      <a:pt x="64" y="200"/>
                    </a:lnTo>
                    <a:lnTo>
                      <a:pt x="56" y="192"/>
                    </a:lnTo>
                    <a:lnTo>
                      <a:pt x="48" y="200"/>
                    </a:lnTo>
                    <a:lnTo>
                      <a:pt x="32" y="200"/>
                    </a:lnTo>
                    <a:lnTo>
                      <a:pt x="24" y="208"/>
                    </a:lnTo>
                    <a:lnTo>
                      <a:pt x="16" y="200"/>
                    </a:lnTo>
                    <a:lnTo>
                      <a:pt x="8" y="200"/>
                    </a:lnTo>
                    <a:lnTo>
                      <a:pt x="0" y="216"/>
                    </a:lnTo>
                    <a:lnTo>
                      <a:pt x="8" y="248"/>
                    </a:lnTo>
                    <a:lnTo>
                      <a:pt x="16" y="256"/>
                    </a:lnTo>
                    <a:lnTo>
                      <a:pt x="16" y="272"/>
                    </a:lnTo>
                    <a:lnTo>
                      <a:pt x="40" y="280"/>
                    </a:lnTo>
                    <a:lnTo>
                      <a:pt x="56" y="280"/>
                    </a:lnTo>
                    <a:lnTo>
                      <a:pt x="64" y="272"/>
                    </a:lnTo>
                    <a:lnTo>
                      <a:pt x="72" y="280"/>
                    </a:lnTo>
                    <a:lnTo>
                      <a:pt x="88" y="312"/>
                    </a:lnTo>
                    <a:lnTo>
                      <a:pt x="104" y="312"/>
                    </a:lnTo>
                    <a:lnTo>
                      <a:pt x="112" y="296"/>
                    </a:lnTo>
                    <a:lnTo>
                      <a:pt x="128" y="312"/>
                    </a:lnTo>
                    <a:lnTo>
                      <a:pt x="144" y="312"/>
                    </a:lnTo>
                    <a:lnTo>
                      <a:pt x="144" y="288"/>
                    </a:lnTo>
                    <a:lnTo>
                      <a:pt x="152" y="280"/>
                    </a:lnTo>
                    <a:lnTo>
                      <a:pt x="152" y="272"/>
                    </a:lnTo>
                    <a:lnTo>
                      <a:pt x="168" y="256"/>
                    </a:lnTo>
                    <a:lnTo>
                      <a:pt x="168" y="248"/>
                    </a:lnTo>
                    <a:lnTo>
                      <a:pt x="184" y="248"/>
                    </a:lnTo>
                    <a:lnTo>
                      <a:pt x="208" y="224"/>
                    </a:lnTo>
                    <a:lnTo>
                      <a:pt x="216" y="224"/>
                    </a:lnTo>
                    <a:lnTo>
                      <a:pt x="224" y="208"/>
                    </a:lnTo>
                    <a:lnTo>
                      <a:pt x="248" y="208"/>
                    </a:lnTo>
                    <a:lnTo>
                      <a:pt x="256" y="216"/>
                    </a:lnTo>
                    <a:lnTo>
                      <a:pt x="280" y="216"/>
                    </a:lnTo>
                    <a:lnTo>
                      <a:pt x="296" y="208"/>
                    </a:lnTo>
                    <a:lnTo>
                      <a:pt x="320" y="208"/>
                    </a:lnTo>
                    <a:lnTo>
                      <a:pt x="344" y="120"/>
                    </a:lnTo>
                    <a:lnTo>
                      <a:pt x="312" y="128"/>
                    </a:lnTo>
                    <a:lnTo>
                      <a:pt x="312" y="112"/>
                    </a:lnTo>
                    <a:lnTo>
                      <a:pt x="304" y="104"/>
                    </a:lnTo>
                    <a:lnTo>
                      <a:pt x="296" y="104"/>
                    </a:lnTo>
                    <a:lnTo>
                      <a:pt x="280" y="104"/>
                    </a:lnTo>
                    <a:lnTo>
                      <a:pt x="272" y="88"/>
                    </a:lnTo>
                    <a:lnTo>
                      <a:pt x="168" y="0"/>
                    </a:lnTo>
                    <a:lnTo>
                      <a:pt x="160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5397" name="Freeform 297">
                <a:extLst>
                  <a:ext uri="{FF2B5EF4-FFF2-40B4-BE49-F238E27FC236}">
                    <a16:creationId xmlns:a16="http://schemas.microsoft.com/office/drawing/2014/main" id="{ACC5DD06-DB9E-8B3C-8548-06A97D55A30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183712" y="2304171"/>
                <a:ext cx="483219" cy="415386"/>
              </a:xfrm>
              <a:custGeom>
                <a:avLst/>
                <a:gdLst>
                  <a:gd name="T0" fmla="*/ 2147483647 w 152"/>
                  <a:gd name="T1" fmla="*/ 2147483647 h 120"/>
                  <a:gd name="T2" fmla="*/ 2147483647 w 152"/>
                  <a:gd name="T3" fmla="*/ 2147483647 h 120"/>
                  <a:gd name="T4" fmla="*/ 2147483647 w 152"/>
                  <a:gd name="T5" fmla="*/ 2147483647 h 120"/>
                  <a:gd name="T6" fmla="*/ 2147483647 w 152"/>
                  <a:gd name="T7" fmla="*/ 2147483647 h 120"/>
                  <a:gd name="T8" fmla="*/ 2147483647 w 152"/>
                  <a:gd name="T9" fmla="*/ 2147483647 h 120"/>
                  <a:gd name="T10" fmla="*/ 2147483647 w 152"/>
                  <a:gd name="T11" fmla="*/ 2147483647 h 120"/>
                  <a:gd name="T12" fmla="*/ 2147483647 w 152"/>
                  <a:gd name="T13" fmla="*/ 2147483647 h 120"/>
                  <a:gd name="T14" fmla="*/ 2147483647 w 152"/>
                  <a:gd name="T15" fmla="*/ 2147483647 h 120"/>
                  <a:gd name="T16" fmla="*/ 2147483647 w 152"/>
                  <a:gd name="T17" fmla="*/ 2147483647 h 120"/>
                  <a:gd name="T18" fmla="*/ 2147483647 w 152"/>
                  <a:gd name="T19" fmla="*/ 2147483647 h 120"/>
                  <a:gd name="T20" fmla="*/ 2147483647 w 152"/>
                  <a:gd name="T21" fmla="*/ 2147483647 h 120"/>
                  <a:gd name="T22" fmla="*/ 2147483647 w 152"/>
                  <a:gd name="T23" fmla="*/ 2147483647 h 120"/>
                  <a:gd name="T24" fmla="*/ 2147483647 w 152"/>
                  <a:gd name="T25" fmla="*/ 2147483647 h 120"/>
                  <a:gd name="T26" fmla="*/ 2147483647 w 152"/>
                  <a:gd name="T27" fmla="*/ 2147483647 h 120"/>
                  <a:gd name="T28" fmla="*/ 2147483647 w 152"/>
                  <a:gd name="T29" fmla="*/ 2147483647 h 120"/>
                  <a:gd name="T30" fmla="*/ 2147483647 w 152"/>
                  <a:gd name="T31" fmla="*/ 2147483647 h 120"/>
                  <a:gd name="T32" fmla="*/ 2147483647 w 152"/>
                  <a:gd name="T33" fmla="*/ 2147483647 h 120"/>
                  <a:gd name="T34" fmla="*/ 0 w 152"/>
                  <a:gd name="T35" fmla="*/ 2147483647 h 120"/>
                  <a:gd name="T36" fmla="*/ 0 w 152"/>
                  <a:gd name="T37" fmla="*/ 2147483647 h 120"/>
                  <a:gd name="T38" fmla="*/ 2147483647 w 152"/>
                  <a:gd name="T39" fmla="*/ 2147483647 h 120"/>
                  <a:gd name="T40" fmla="*/ 2147483647 w 152"/>
                  <a:gd name="T41" fmla="*/ 2147483647 h 120"/>
                  <a:gd name="T42" fmla="*/ 2147483647 w 152"/>
                  <a:gd name="T43" fmla="*/ 2147483647 h 120"/>
                  <a:gd name="T44" fmla="*/ 2147483647 w 152"/>
                  <a:gd name="T45" fmla="*/ 2147483647 h 120"/>
                  <a:gd name="T46" fmla="*/ 2147483647 w 152"/>
                  <a:gd name="T47" fmla="*/ 2147483647 h 120"/>
                  <a:gd name="T48" fmla="*/ 2147483647 w 152"/>
                  <a:gd name="T49" fmla="*/ 2147483647 h 120"/>
                  <a:gd name="T50" fmla="*/ 2147483647 w 152"/>
                  <a:gd name="T51" fmla="*/ 2147483647 h 120"/>
                  <a:gd name="T52" fmla="*/ 2147483647 w 152"/>
                  <a:gd name="T53" fmla="*/ 0 h 120"/>
                  <a:gd name="T54" fmla="*/ 2147483647 w 152"/>
                  <a:gd name="T55" fmla="*/ 0 h 120"/>
                  <a:gd name="T56" fmla="*/ 2147483647 w 152"/>
                  <a:gd name="T57" fmla="*/ 2147483647 h 120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52"/>
                  <a:gd name="T88" fmla="*/ 0 h 120"/>
                  <a:gd name="T89" fmla="*/ 152 w 152"/>
                  <a:gd name="T90" fmla="*/ 120 h 120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52" h="120">
                    <a:moveTo>
                      <a:pt x="112" y="8"/>
                    </a:moveTo>
                    <a:lnTo>
                      <a:pt x="112" y="24"/>
                    </a:lnTo>
                    <a:lnTo>
                      <a:pt x="120" y="32"/>
                    </a:lnTo>
                    <a:lnTo>
                      <a:pt x="128" y="32"/>
                    </a:lnTo>
                    <a:lnTo>
                      <a:pt x="136" y="48"/>
                    </a:lnTo>
                    <a:lnTo>
                      <a:pt x="152" y="56"/>
                    </a:lnTo>
                    <a:lnTo>
                      <a:pt x="152" y="64"/>
                    </a:lnTo>
                    <a:lnTo>
                      <a:pt x="152" y="72"/>
                    </a:lnTo>
                    <a:lnTo>
                      <a:pt x="120" y="88"/>
                    </a:lnTo>
                    <a:lnTo>
                      <a:pt x="104" y="88"/>
                    </a:lnTo>
                    <a:lnTo>
                      <a:pt x="96" y="80"/>
                    </a:lnTo>
                    <a:lnTo>
                      <a:pt x="88" y="88"/>
                    </a:lnTo>
                    <a:lnTo>
                      <a:pt x="72" y="80"/>
                    </a:lnTo>
                    <a:lnTo>
                      <a:pt x="56" y="80"/>
                    </a:lnTo>
                    <a:lnTo>
                      <a:pt x="48" y="112"/>
                    </a:lnTo>
                    <a:lnTo>
                      <a:pt x="24" y="112"/>
                    </a:lnTo>
                    <a:lnTo>
                      <a:pt x="16" y="120"/>
                    </a:lnTo>
                    <a:lnTo>
                      <a:pt x="0" y="104"/>
                    </a:lnTo>
                    <a:lnTo>
                      <a:pt x="0" y="80"/>
                    </a:lnTo>
                    <a:lnTo>
                      <a:pt x="8" y="72"/>
                    </a:lnTo>
                    <a:lnTo>
                      <a:pt x="8" y="64"/>
                    </a:lnTo>
                    <a:lnTo>
                      <a:pt x="24" y="48"/>
                    </a:lnTo>
                    <a:lnTo>
                      <a:pt x="24" y="40"/>
                    </a:lnTo>
                    <a:lnTo>
                      <a:pt x="40" y="40"/>
                    </a:lnTo>
                    <a:lnTo>
                      <a:pt x="64" y="16"/>
                    </a:lnTo>
                    <a:lnTo>
                      <a:pt x="72" y="16"/>
                    </a:lnTo>
                    <a:lnTo>
                      <a:pt x="80" y="0"/>
                    </a:lnTo>
                    <a:lnTo>
                      <a:pt x="104" y="0"/>
                    </a:lnTo>
                    <a:lnTo>
                      <a:pt x="112" y="8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5398" name="Freeform 298">
                <a:extLst>
                  <a:ext uri="{FF2B5EF4-FFF2-40B4-BE49-F238E27FC236}">
                    <a16:creationId xmlns:a16="http://schemas.microsoft.com/office/drawing/2014/main" id="{E0A6F3E6-4786-080E-70BE-0FBCED892B2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276594" y="3720866"/>
                <a:ext cx="99352" cy="83078"/>
              </a:xfrm>
              <a:custGeom>
                <a:avLst/>
                <a:gdLst>
                  <a:gd name="T0" fmla="*/ 0 w 32"/>
                  <a:gd name="T1" fmla="*/ 2147483647 h 24"/>
                  <a:gd name="T2" fmla="*/ 2147483647 w 32"/>
                  <a:gd name="T3" fmla="*/ 0 h 24"/>
                  <a:gd name="T4" fmla="*/ 2147483647 w 32"/>
                  <a:gd name="T5" fmla="*/ 0 h 24"/>
                  <a:gd name="T6" fmla="*/ 2147483647 w 32"/>
                  <a:gd name="T7" fmla="*/ 2147483647 h 24"/>
                  <a:gd name="T8" fmla="*/ 2147483647 w 32"/>
                  <a:gd name="T9" fmla="*/ 2147483647 h 24"/>
                  <a:gd name="T10" fmla="*/ 2147483647 w 32"/>
                  <a:gd name="T11" fmla="*/ 2147483647 h 24"/>
                  <a:gd name="T12" fmla="*/ 0 w 32"/>
                  <a:gd name="T13" fmla="*/ 2147483647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2"/>
                  <a:gd name="T22" fmla="*/ 0 h 24"/>
                  <a:gd name="T23" fmla="*/ 32 w 32"/>
                  <a:gd name="T24" fmla="*/ 24 h 2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2" h="24">
                    <a:moveTo>
                      <a:pt x="0" y="8"/>
                    </a:moveTo>
                    <a:lnTo>
                      <a:pt x="24" y="0"/>
                    </a:lnTo>
                    <a:lnTo>
                      <a:pt x="32" y="0"/>
                    </a:lnTo>
                    <a:lnTo>
                      <a:pt x="32" y="8"/>
                    </a:lnTo>
                    <a:lnTo>
                      <a:pt x="24" y="16"/>
                    </a:lnTo>
                    <a:lnTo>
                      <a:pt x="8" y="24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5399" name="Freeform 299">
                <a:extLst>
                  <a:ext uri="{FF2B5EF4-FFF2-40B4-BE49-F238E27FC236}">
                    <a16:creationId xmlns:a16="http://schemas.microsoft.com/office/drawing/2014/main" id="{EBD0FEAF-5F5C-9D12-3BB0-CE960C8E511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967550" y="3974470"/>
                <a:ext cx="704502" cy="695228"/>
              </a:xfrm>
              <a:custGeom>
                <a:avLst/>
                <a:gdLst>
                  <a:gd name="T0" fmla="*/ 2147483647 w 224"/>
                  <a:gd name="T1" fmla="*/ 2147483647 h 200"/>
                  <a:gd name="T2" fmla="*/ 2147483647 w 224"/>
                  <a:gd name="T3" fmla="*/ 2147483647 h 200"/>
                  <a:gd name="T4" fmla="*/ 2147483647 w 224"/>
                  <a:gd name="T5" fmla="*/ 2147483647 h 200"/>
                  <a:gd name="T6" fmla="*/ 2147483647 w 224"/>
                  <a:gd name="T7" fmla="*/ 2147483647 h 200"/>
                  <a:gd name="T8" fmla="*/ 2147483647 w 224"/>
                  <a:gd name="T9" fmla="*/ 2147483647 h 200"/>
                  <a:gd name="T10" fmla="*/ 2147483647 w 224"/>
                  <a:gd name="T11" fmla="*/ 2147483647 h 200"/>
                  <a:gd name="T12" fmla="*/ 2147483647 w 224"/>
                  <a:gd name="T13" fmla="*/ 2147483647 h 200"/>
                  <a:gd name="T14" fmla="*/ 2147483647 w 224"/>
                  <a:gd name="T15" fmla="*/ 2147483647 h 200"/>
                  <a:gd name="T16" fmla="*/ 2147483647 w 224"/>
                  <a:gd name="T17" fmla="*/ 2147483647 h 200"/>
                  <a:gd name="T18" fmla="*/ 2147483647 w 224"/>
                  <a:gd name="T19" fmla="*/ 2147483647 h 200"/>
                  <a:gd name="T20" fmla="*/ 2147483647 w 224"/>
                  <a:gd name="T21" fmla="*/ 2147483647 h 200"/>
                  <a:gd name="T22" fmla="*/ 2147483647 w 224"/>
                  <a:gd name="T23" fmla="*/ 2147483647 h 200"/>
                  <a:gd name="T24" fmla="*/ 2147483647 w 224"/>
                  <a:gd name="T25" fmla="*/ 2147483647 h 200"/>
                  <a:gd name="T26" fmla="*/ 2147483647 w 224"/>
                  <a:gd name="T27" fmla="*/ 2147483647 h 200"/>
                  <a:gd name="T28" fmla="*/ 2147483647 w 224"/>
                  <a:gd name="T29" fmla="*/ 2147483647 h 200"/>
                  <a:gd name="T30" fmla="*/ 2147483647 w 224"/>
                  <a:gd name="T31" fmla="*/ 2147483647 h 200"/>
                  <a:gd name="T32" fmla="*/ 2147483647 w 224"/>
                  <a:gd name="T33" fmla="*/ 2147483647 h 200"/>
                  <a:gd name="T34" fmla="*/ 2147483647 w 224"/>
                  <a:gd name="T35" fmla="*/ 2147483647 h 200"/>
                  <a:gd name="T36" fmla="*/ 2147483647 w 224"/>
                  <a:gd name="T37" fmla="*/ 2147483647 h 200"/>
                  <a:gd name="T38" fmla="*/ 2147483647 w 224"/>
                  <a:gd name="T39" fmla="*/ 2147483647 h 200"/>
                  <a:gd name="T40" fmla="*/ 2147483647 w 224"/>
                  <a:gd name="T41" fmla="*/ 2147483647 h 200"/>
                  <a:gd name="T42" fmla="*/ 2147483647 w 224"/>
                  <a:gd name="T43" fmla="*/ 2147483647 h 200"/>
                  <a:gd name="T44" fmla="*/ 2147483647 w 224"/>
                  <a:gd name="T45" fmla="*/ 0 h 200"/>
                  <a:gd name="T46" fmla="*/ 2147483647 w 224"/>
                  <a:gd name="T47" fmla="*/ 2147483647 h 200"/>
                  <a:gd name="T48" fmla="*/ 2147483647 w 224"/>
                  <a:gd name="T49" fmla="*/ 2147483647 h 200"/>
                  <a:gd name="T50" fmla="*/ 2147483647 w 224"/>
                  <a:gd name="T51" fmla="*/ 2147483647 h 200"/>
                  <a:gd name="T52" fmla="*/ 2147483647 w 224"/>
                  <a:gd name="T53" fmla="*/ 2147483647 h 200"/>
                  <a:gd name="T54" fmla="*/ 2147483647 w 224"/>
                  <a:gd name="T55" fmla="*/ 2147483647 h 200"/>
                  <a:gd name="T56" fmla="*/ 2147483647 w 224"/>
                  <a:gd name="T57" fmla="*/ 2147483647 h 200"/>
                  <a:gd name="T58" fmla="*/ 2147483647 w 224"/>
                  <a:gd name="T59" fmla="*/ 2147483647 h 200"/>
                  <a:gd name="T60" fmla="*/ 2147483647 w 224"/>
                  <a:gd name="T61" fmla="*/ 2147483647 h 200"/>
                  <a:gd name="T62" fmla="*/ 2147483647 w 224"/>
                  <a:gd name="T63" fmla="*/ 2147483647 h 200"/>
                  <a:gd name="T64" fmla="*/ 2147483647 w 224"/>
                  <a:gd name="T65" fmla="*/ 2147483647 h 200"/>
                  <a:gd name="T66" fmla="*/ 2147483647 w 224"/>
                  <a:gd name="T67" fmla="*/ 2147483647 h 200"/>
                  <a:gd name="T68" fmla="*/ 2147483647 w 224"/>
                  <a:gd name="T69" fmla="*/ 2147483647 h 200"/>
                  <a:gd name="T70" fmla="*/ 2147483647 w 224"/>
                  <a:gd name="T71" fmla="*/ 2147483647 h 200"/>
                  <a:gd name="T72" fmla="*/ 2147483647 w 224"/>
                  <a:gd name="T73" fmla="*/ 2147483647 h 200"/>
                  <a:gd name="T74" fmla="*/ 2147483647 w 224"/>
                  <a:gd name="T75" fmla="*/ 2147483647 h 200"/>
                  <a:gd name="T76" fmla="*/ 2147483647 w 224"/>
                  <a:gd name="T77" fmla="*/ 2147483647 h 200"/>
                  <a:gd name="T78" fmla="*/ 2147483647 w 224"/>
                  <a:gd name="T79" fmla="*/ 2147483647 h 200"/>
                  <a:gd name="T80" fmla="*/ 2147483647 w 224"/>
                  <a:gd name="T81" fmla="*/ 2147483647 h 200"/>
                  <a:gd name="T82" fmla="*/ 2147483647 w 224"/>
                  <a:gd name="T83" fmla="*/ 2147483647 h 200"/>
                  <a:gd name="T84" fmla="*/ 2147483647 w 224"/>
                  <a:gd name="T85" fmla="*/ 2147483647 h 200"/>
                  <a:gd name="T86" fmla="*/ 0 w 224"/>
                  <a:gd name="T87" fmla="*/ 2147483647 h 200"/>
                  <a:gd name="T88" fmla="*/ 0 w 224"/>
                  <a:gd name="T89" fmla="*/ 2147483647 h 200"/>
                  <a:gd name="T90" fmla="*/ 2147483647 w 224"/>
                  <a:gd name="T91" fmla="*/ 2147483647 h 20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224"/>
                  <a:gd name="T139" fmla="*/ 0 h 200"/>
                  <a:gd name="T140" fmla="*/ 224 w 224"/>
                  <a:gd name="T141" fmla="*/ 200 h 200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224" h="200">
                    <a:moveTo>
                      <a:pt x="16" y="184"/>
                    </a:moveTo>
                    <a:lnTo>
                      <a:pt x="24" y="192"/>
                    </a:lnTo>
                    <a:lnTo>
                      <a:pt x="48" y="192"/>
                    </a:lnTo>
                    <a:lnTo>
                      <a:pt x="64" y="192"/>
                    </a:lnTo>
                    <a:lnTo>
                      <a:pt x="72" y="200"/>
                    </a:lnTo>
                    <a:lnTo>
                      <a:pt x="88" y="200"/>
                    </a:lnTo>
                    <a:lnTo>
                      <a:pt x="104" y="184"/>
                    </a:lnTo>
                    <a:lnTo>
                      <a:pt x="112" y="184"/>
                    </a:lnTo>
                    <a:lnTo>
                      <a:pt x="128" y="176"/>
                    </a:lnTo>
                    <a:lnTo>
                      <a:pt x="128" y="160"/>
                    </a:lnTo>
                    <a:lnTo>
                      <a:pt x="136" y="160"/>
                    </a:lnTo>
                    <a:lnTo>
                      <a:pt x="152" y="152"/>
                    </a:lnTo>
                    <a:lnTo>
                      <a:pt x="160" y="136"/>
                    </a:lnTo>
                    <a:lnTo>
                      <a:pt x="168" y="136"/>
                    </a:lnTo>
                    <a:lnTo>
                      <a:pt x="184" y="128"/>
                    </a:lnTo>
                    <a:lnTo>
                      <a:pt x="192" y="128"/>
                    </a:lnTo>
                    <a:lnTo>
                      <a:pt x="216" y="120"/>
                    </a:lnTo>
                    <a:lnTo>
                      <a:pt x="216" y="80"/>
                    </a:lnTo>
                    <a:lnTo>
                      <a:pt x="224" y="80"/>
                    </a:lnTo>
                    <a:lnTo>
                      <a:pt x="224" y="40"/>
                    </a:lnTo>
                    <a:lnTo>
                      <a:pt x="208" y="24"/>
                    </a:lnTo>
                    <a:lnTo>
                      <a:pt x="184" y="16"/>
                    </a:lnTo>
                    <a:lnTo>
                      <a:pt x="168" y="0"/>
                    </a:lnTo>
                    <a:lnTo>
                      <a:pt x="152" y="8"/>
                    </a:lnTo>
                    <a:lnTo>
                      <a:pt x="136" y="8"/>
                    </a:lnTo>
                    <a:lnTo>
                      <a:pt x="128" y="16"/>
                    </a:lnTo>
                    <a:lnTo>
                      <a:pt x="120" y="64"/>
                    </a:lnTo>
                    <a:lnTo>
                      <a:pt x="128" y="80"/>
                    </a:lnTo>
                    <a:lnTo>
                      <a:pt x="136" y="80"/>
                    </a:lnTo>
                    <a:lnTo>
                      <a:pt x="144" y="72"/>
                    </a:lnTo>
                    <a:lnTo>
                      <a:pt x="152" y="80"/>
                    </a:lnTo>
                    <a:lnTo>
                      <a:pt x="152" y="104"/>
                    </a:lnTo>
                    <a:lnTo>
                      <a:pt x="144" y="112"/>
                    </a:lnTo>
                    <a:lnTo>
                      <a:pt x="96" y="64"/>
                    </a:lnTo>
                    <a:lnTo>
                      <a:pt x="88" y="64"/>
                    </a:lnTo>
                    <a:lnTo>
                      <a:pt x="80" y="72"/>
                    </a:lnTo>
                    <a:lnTo>
                      <a:pt x="72" y="72"/>
                    </a:lnTo>
                    <a:lnTo>
                      <a:pt x="64" y="64"/>
                    </a:lnTo>
                    <a:lnTo>
                      <a:pt x="56" y="56"/>
                    </a:lnTo>
                    <a:lnTo>
                      <a:pt x="56" y="64"/>
                    </a:lnTo>
                    <a:lnTo>
                      <a:pt x="48" y="64"/>
                    </a:lnTo>
                    <a:lnTo>
                      <a:pt x="40" y="64"/>
                    </a:lnTo>
                    <a:lnTo>
                      <a:pt x="32" y="96"/>
                    </a:lnTo>
                    <a:lnTo>
                      <a:pt x="0" y="96"/>
                    </a:lnTo>
                    <a:lnTo>
                      <a:pt x="0" y="176"/>
                    </a:lnTo>
                    <a:lnTo>
                      <a:pt x="16" y="184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5400" name="Freeform 300">
                <a:extLst>
                  <a:ext uri="{FF2B5EF4-FFF2-40B4-BE49-F238E27FC236}">
                    <a16:creationId xmlns:a16="http://schemas.microsoft.com/office/drawing/2014/main" id="{B0E07FF6-960A-E90C-228E-52A1559F6FF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392060" y="3445394"/>
                <a:ext cx="126449" cy="109314"/>
              </a:xfrm>
              <a:custGeom>
                <a:avLst/>
                <a:gdLst>
                  <a:gd name="T0" fmla="*/ 0 w 40"/>
                  <a:gd name="T1" fmla="*/ 2147483647 h 32"/>
                  <a:gd name="T2" fmla="*/ 2147483647 w 40"/>
                  <a:gd name="T3" fmla="*/ 2147483647 h 32"/>
                  <a:gd name="T4" fmla="*/ 2147483647 w 40"/>
                  <a:gd name="T5" fmla="*/ 0 h 32"/>
                  <a:gd name="T6" fmla="*/ 2147483647 w 40"/>
                  <a:gd name="T7" fmla="*/ 0 h 32"/>
                  <a:gd name="T8" fmla="*/ 2147483647 w 40"/>
                  <a:gd name="T9" fmla="*/ 2147483647 h 32"/>
                  <a:gd name="T10" fmla="*/ 2147483647 w 40"/>
                  <a:gd name="T11" fmla="*/ 2147483647 h 32"/>
                  <a:gd name="T12" fmla="*/ 2147483647 w 40"/>
                  <a:gd name="T13" fmla="*/ 2147483647 h 32"/>
                  <a:gd name="T14" fmla="*/ 2147483647 w 40"/>
                  <a:gd name="T15" fmla="*/ 2147483647 h 32"/>
                  <a:gd name="T16" fmla="*/ 2147483647 w 40"/>
                  <a:gd name="T17" fmla="*/ 2147483647 h 32"/>
                  <a:gd name="T18" fmla="*/ 2147483647 w 40"/>
                  <a:gd name="T19" fmla="*/ 2147483647 h 32"/>
                  <a:gd name="T20" fmla="*/ 0 w 40"/>
                  <a:gd name="T21" fmla="*/ 2147483647 h 32"/>
                  <a:gd name="T22" fmla="*/ 0 w 40"/>
                  <a:gd name="T23" fmla="*/ 2147483647 h 3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40"/>
                  <a:gd name="T37" fmla="*/ 0 h 32"/>
                  <a:gd name="T38" fmla="*/ 40 w 40"/>
                  <a:gd name="T39" fmla="*/ 32 h 32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40" h="32">
                    <a:moveTo>
                      <a:pt x="0" y="8"/>
                    </a:moveTo>
                    <a:lnTo>
                      <a:pt x="16" y="8"/>
                    </a:lnTo>
                    <a:lnTo>
                      <a:pt x="24" y="0"/>
                    </a:lnTo>
                    <a:lnTo>
                      <a:pt x="32" y="0"/>
                    </a:lnTo>
                    <a:lnTo>
                      <a:pt x="40" y="8"/>
                    </a:lnTo>
                    <a:lnTo>
                      <a:pt x="32" y="16"/>
                    </a:lnTo>
                    <a:lnTo>
                      <a:pt x="24" y="24"/>
                    </a:lnTo>
                    <a:lnTo>
                      <a:pt x="24" y="32"/>
                    </a:lnTo>
                    <a:lnTo>
                      <a:pt x="16" y="32"/>
                    </a:lnTo>
                    <a:lnTo>
                      <a:pt x="8" y="32"/>
                    </a:lnTo>
                    <a:lnTo>
                      <a:pt x="0" y="32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5401" name="Freeform 301">
                <a:extLst>
                  <a:ext uri="{FF2B5EF4-FFF2-40B4-BE49-F238E27FC236}">
                    <a16:creationId xmlns:a16="http://schemas.microsoft.com/office/drawing/2014/main" id="{7BCE2FE7-A20B-6A1C-E648-E9086E411E8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626894" y="4057542"/>
                <a:ext cx="167092" cy="550933"/>
              </a:xfrm>
              <a:custGeom>
                <a:avLst/>
                <a:gdLst>
                  <a:gd name="T0" fmla="*/ 0 w 56"/>
                  <a:gd name="T1" fmla="*/ 0 h 160"/>
                  <a:gd name="T2" fmla="*/ 2147483647 w 56"/>
                  <a:gd name="T3" fmla="*/ 2147483647 h 160"/>
                  <a:gd name="T4" fmla="*/ 2147483647 w 56"/>
                  <a:gd name="T5" fmla="*/ 2147483647 h 160"/>
                  <a:gd name="T6" fmla="*/ 2147483647 w 56"/>
                  <a:gd name="T7" fmla="*/ 2147483647 h 160"/>
                  <a:gd name="T8" fmla="*/ 2147483647 w 56"/>
                  <a:gd name="T9" fmla="*/ 2147483647 h 160"/>
                  <a:gd name="T10" fmla="*/ 2147483647 w 56"/>
                  <a:gd name="T11" fmla="*/ 2147483647 h 160"/>
                  <a:gd name="T12" fmla="*/ 2147483647 w 56"/>
                  <a:gd name="T13" fmla="*/ 2147483647 h 160"/>
                  <a:gd name="T14" fmla="*/ 2147483647 w 56"/>
                  <a:gd name="T15" fmla="*/ 2147483647 h 160"/>
                  <a:gd name="T16" fmla="*/ 2147483647 w 56"/>
                  <a:gd name="T17" fmla="*/ 2147483647 h 160"/>
                  <a:gd name="T18" fmla="*/ 2147483647 w 56"/>
                  <a:gd name="T19" fmla="*/ 2147483647 h 160"/>
                  <a:gd name="T20" fmla="*/ 2147483647 w 56"/>
                  <a:gd name="T21" fmla="*/ 2147483647 h 160"/>
                  <a:gd name="T22" fmla="*/ 2147483647 w 56"/>
                  <a:gd name="T23" fmla="*/ 2147483647 h 160"/>
                  <a:gd name="T24" fmla="*/ 2147483647 w 56"/>
                  <a:gd name="T25" fmla="*/ 2147483647 h 160"/>
                  <a:gd name="T26" fmla="*/ 2147483647 w 56"/>
                  <a:gd name="T27" fmla="*/ 2147483647 h 160"/>
                  <a:gd name="T28" fmla="*/ 2147483647 w 56"/>
                  <a:gd name="T29" fmla="*/ 2147483647 h 160"/>
                  <a:gd name="T30" fmla="*/ 2147483647 w 56"/>
                  <a:gd name="T31" fmla="*/ 2147483647 h 160"/>
                  <a:gd name="T32" fmla="*/ 2147483647 w 56"/>
                  <a:gd name="T33" fmla="*/ 2147483647 h 160"/>
                  <a:gd name="T34" fmla="*/ 2147483647 w 56"/>
                  <a:gd name="T35" fmla="*/ 2147483647 h 160"/>
                  <a:gd name="T36" fmla="*/ 2147483647 w 56"/>
                  <a:gd name="T37" fmla="*/ 2147483647 h 160"/>
                  <a:gd name="T38" fmla="*/ 2147483647 w 56"/>
                  <a:gd name="T39" fmla="*/ 2147483647 h 160"/>
                  <a:gd name="T40" fmla="*/ 2147483647 w 56"/>
                  <a:gd name="T41" fmla="*/ 0 h 160"/>
                  <a:gd name="T42" fmla="*/ 2147483647 w 56"/>
                  <a:gd name="T43" fmla="*/ 0 h 160"/>
                  <a:gd name="T44" fmla="*/ 0 w 56"/>
                  <a:gd name="T45" fmla="*/ 0 h 16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56"/>
                  <a:gd name="T70" fmla="*/ 0 h 160"/>
                  <a:gd name="T71" fmla="*/ 56 w 56"/>
                  <a:gd name="T72" fmla="*/ 160 h 160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56" h="160">
                    <a:moveTo>
                      <a:pt x="0" y="0"/>
                    </a:moveTo>
                    <a:lnTo>
                      <a:pt x="16" y="16"/>
                    </a:lnTo>
                    <a:lnTo>
                      <a:pt x="16" y="56"/>
                    </a:lnTo>
                    <a:lnTo>
                      <a:pt x="8" y="56"/>
                    </a:lnTo>
                    <a:lnTo>
                      <a:pt x="8" y="96"/>
                    </a:lnTo>
                    <a:lnTo>
                      <a:pt x="16" y="96"/>
                    </a:lnTo>
                    <a:lnTo>
                      <a:pt x="24" y="104"/>
                    </a:lnTo>
                    <a:lnTo>
                      <a:pt x="32" y="104"/>
                    </a:lnTo>
                    <a:lnTo>
                      <a:pt x="32" y="120"/>
                    </a:lnTo>
                    <a:lnTo>
                      <a:pt x="32" y="136"/>
                    </a:lnTo>
                    <a:lnTo>
                      <a:pt x="32" y="152"/>
                    </a:lnTo>
                    <a:lnTo>
                      <a:pt x="48" y="160"/>
                    </a:lnTo>
                    <a:lnTo>
                      <a:pt x="56" y="160"/>
                    </a:lnTo>
                    <a:lnTo>
                      <a:pt x="48" y="144"/>
                    </a:lnTo>
                    <a:lnTo>
                      <a:pt x="56" y="128"/>
                    </a:lnTo>
                    <a:lnTo>
                      <a:pt x="56" y="104"/>
                    </a:lnTo>
                    <a:lnTo>
                      <a:pt x="48" y="88"/>
                    </a:lnTo>
                    <a:lnTo>
                      <a:pt x="40" y="72"/>
                    </a:lnTo>
                    <a:lnTo>
                      <a:pt x="40" y="48"/>
                    </a:lnTo>
                    <a:lnTo>
                      <a:pt x="40" y="16"/>
                    </a:lnTo>
                    <a:lnTo>
                      <a:pt x="32" y="0"/>
                    </a:lnTo>
                    <a:lnTo>
                      <a:pt x="16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5402" name="Freeform 304">
                <a:extLst>
                  <a:ext uri="{FF2B5EF4-FFF2-40B4-BE49-F238E27FC236}">
                    <a16:creationId xmlns:a16="http://schemas.microsoft.com/office/drawing/2014/main" id="{039CE042-B883-60D5-C176-3287B004A6C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450764" y="4110014"/>
                <a:ext cx="677408" cy="1254910"/>
              </a:xfrm>
              <a:custGeom>
                <a:avLst/>
                <a:gdLst>
                  <a:gd name="T0" fmla="*/ 2147483647 w 216"/>
                  <a:gd name="T1" fmla="*/ 2147483647 h 360"/>
                  <a:gd name="T2" fmla="*/ 2147483647 w 216"/>
                  <a:gd name="T3" fmla="*/ 2147483647 h 360"/>
                  <a:gd name="T4" fmla="*/ 2147483647 w 216"/>
                  <a:gd name="T5" fmla="*/ 2147483647 h 360"/>
                  <a:gd name="T6" fmla="*/ 2147483647 w 216"/>
                  <a:gd name="T7" fmla="*/ 2147483647 h 360"/>
                  <a:gd name="T8" fmla="*/ 2147483647 w 216"/>
                  <a:gd name="T9" fmla="*/ 2147483647 h 360"/>
                  <a:gd name="T10" fmla="*/ 2147483647 w 216"/>
                  <a:gd name="T11" fmla="*/ 2147483647 h 360"/>
                  <a:gd name="T12" fmla="*/ 2147483647 w 216"/>
                  <a:gd name="T13" fmla="*/ 2147483647 h 360"/>
                  <a:gd name="T14" fmla="*/ 2147483647 w 216"/>
                  <a:gd name="T15" fmla="*/ 2147483647 h 360"/>
                  <a:gd name="T16" fmla="*/ 2147483647 w 216"/>
                  <a:gd name="T17" fmla="*/ 2147483647 h 360"/>
                  <a:gd name="T18" fmla="*/ 2147483647 w 216"/>
                  <a:gd name="T19" fmla="*/ 2147483647 h 360"/>
                  <a:gd name="T20" fmla="*/ 2147483647 w 216"/>
                  <a:gd name="T21" fmla="*/ 2147483647 h 360"/>
                  <a:gd name="T22" fmla="*/ 2147483647 w 216"/>
                  <a:gd name="T23" fmla="*/ 2147483647 h 360"/>
                  <a:gd name="T24" fmla="*/ 2147483647 w 216"/>
                  <a:gd name="T25" fmla="*/ 2147483647 h 360"/>
                  <a:gd name="T26" fmla="*/ 2147483647 w 216"/>
                  <a:gd name="T27" fmla="*/ 2147483647 h 360"/>
                  <a:gd name="T28" fmla="*/ 2147483647 w 216"/>
                  <a:gd name="T29" fmla="*/ 2147483647 h 360"/>
                  <a:gd name="T30" fmla="*/ 2147483647 w 216"/>
                  <a:gd name="T31" fmla="*/ 2147483647 h 360"/>
                  <a:gd name="T32" fmla="*/ 2147483647 w 216"/>
                  <a:gd name="T33" fmla="*/ 2147483647 h 360"/>
                  <a:gd name="T34" fmla="*/ 2147483647 w 216"/>
                  <a:gd name="T35" fmla="*/ 0 h 360"/>
                  <a:gd name="T36" fmla="*/ 2147483647 w 216"/>
                  <a:gd name="T37" fmla="*/ 2147483647 h 360"/>
                  <a:gd name="T38" fmla="*/ 2147483647 w 216"/>
                  <a:gd name="T39" fmla="*/ 2147483647 h 360"/>
                  <a:gd name="T40" fmla="*/ 2147483647 w 216"/>
                  <a:gd name="T41" fmla="*/ 2147483647 h 360"/>
                  <a:gd name="T42" fmla="*/ 2147483647 w 216"/>
                  <a:gd name="T43" fmla="*/ 2147483647 h 360"/>
                  <a:gd name="T44" fmla="*/ 2147483647 w 216"/>
                  <a:gd name="T45" fmla="*/ 2147483647 h 360"/>
                  <a:gd name="T46" fmla="*/ 2147483647 w 216"/>
                  <a:gd name="T47" fmla="*/ 2147483647 h 360"/>
                  <a:gd name="T48" fmla="*/ 2147483647 w 216"/>
                  <a:gd name="T49" fmla="*/ 2147483647 h 360"/>
                  <a:gd name="T50" fmla="*/ 2147483647 w 216"/>
                  <a:gd name="T51" fmla="*/ 2147483647 h 360"/>
                  <a:gd name="T52" fmla="*/ 2147483647 w 216"/>
                  <a:gd name="T53" fmla="*/ 2147483647 h 360"/>
                  <a:gd name="T54" fmla="*/ 2147483647 w 216"/>
                  <a:gd name="T55" fmla="*/ 2147483647 h 360"/>
                  <a:gd name="T56" fmla="*/ 2147483647 w 216"/>
                  <a:gd name="T57" fmla="*/ 2147483647 h 360"/>
                  <a:gd name="T58" fmla="*/ 2147483647 w 216"/>
                  <a:gd name="T59" fmla="*/ 2147483647 h 360"/>
                  <a:gd name="T60" fmla="*/ 2147483647 w 216"/>
                  <a:gd name="T61" fmla="*/ 2147483647 h 360"/>
                  <a:gd name="T62" fmla="*/ 2147483647 w 216"/>
                  <a:gd name="T63" fmla="*/ 2147483647 h 360"/>
                  <a:gd name="T64" fmla="*/ 2147483647 w 216"/>
                  <a:gd name="T65" fmla="*/ 2147483647 h 360"/>
                  <a:gd name="T66" fmla="*/ 2147483647 w 216"/>
                  <a:gd name="T67" fmla="*/ 2147483647 h 360"/>
                  <a:gd name="T68" fmla="*/ 2147483647 w 216"/>
                  <a:gd name="T69" fmla="*/ 2147483647 h 360"/>
                  <a:gd name="T70" fmla="*/ 2147483647 w 216"/>
                  <a:gd name="T71" fmla="*/ 2147483647 h 360"/>
                  <a:gd name="T72" fmla="*/ 2147483647 w 216"/>
                  <a:gd name="T73" fmla="*/ 2147483647 h 360"/>
                  <a:gd name="T74" fmla="*/ 2147483647 w 216"/>
                  <a:gd name="T75" fmla="*/ 2147483647 h 360"/>
                  <a:gd name="T76" fmla="*/ 2147483647 w 216"/>
                  <a:gd name="T77" fmla="*/ 2147483647 h 360"/>
                  <a:gd name="T78" fmla="*/ 2147483647 w 216"/>
                  <a:gd name="T79" fmla="*/ 2147483647 h 360"/>
                  <a:gd name="T80" fmla="*/ 2147483647 w 216"/>
                  <a:gd name="T81" fmla="*/ 2147483647 h 360"/>
                  <a:gd name="T82" fmla="*/ 2147483647 w 216"/>
                  <a:gd name="T83" fmla="*/ 2147483647 h 360"/>
                  <a:gd name="T84" fmla="*/ 2147483647 w 216"/>
                  <a:gd name="T85" fmla="*/ 2147483647 h 360"/>
                  <a:gd name="T86" fmla="*/ 2147483647 w 216"/>
                  <a:gd name="T87" fmla="*/ 2147483647 h 360"/>
                  <a:gd name="T88" fmla="*/ 0 w 216"/>
                  <a:gd name="T89" fmla="*/ 2147483647 h 360"/>
                  <a:gd name="T90" fmla="*/ 2147483647 w 216"/>
                  <a:gd name="T91" fmla="*/ 2147483647 h 360"/>
                  <a:gd name="T92" fmla="*/ 2147483647 w 216"/>
                  <a:gd name="T93" fmla="*/ 2147483647 h 360"/>
                  <a:gd name="T94" fmla="*/ 2147483647 w 216"/>
                  <a:gd name="T95" fmla="*/ 2147483647 h 360"/>
                  <a:gd name="T96" fmla="*/ 2147483647 w 216"/>
                  <a:gd name="T97" fmla="*/ 2147483647 h 360"/>
                  <a:gd name="T98" fmla="*/ 2147483647 w 216"/>
                  <a:gd name="T99" fmla="*/ 2147483647 h 360"/>
                  <a:gd name="T100" fmla="*/ 2147483647 w 216"/>
                  <a:gd name="T101" fmla="*/ 2147483647 h 360"/>
                  <a:gd name="T102" fmla="*/ 2147483647 w 216"/>
                  <a:gd name="T103" fmla="*/ 2147483647 h 360"/>
                  <a:gd name="T104" fmla="*/ 2147483647 w 216"/>
                  <a:gd name="T105" fmla="*/ 2147483647 h 360"/>
                  <a:gd name="T106" fmla="*/ 2147483647 w 216"/>
                  <a:gd name="T107" fmla="*/ 2147483647 h 360"/>
                  <a:gd name="T108" fmla="*/ 2147483647 w 216"/>
                  <a:gd name="T109" fmla="*/ 2147483647 h 360"/>
                  <a:gd name="T110" fmla="*/ 2147483647 w 216"/>
                  <a:gd name="T111" fmla="*/ 2147483647 h 360"/>
                  <a:gd name="T112" fmla="*/ 2147483647 w 216"/>
                  <a:gd name="T113" fmla="*/ 2147483647 h 360"/>
                  <a:gd name="T114" fmla="*/ 2147483647 w 216"/>
                  <a:gd name="T115" fmla="*/ 2147483647 h 360"/>
                  <a:gd name="T116" fmla="*/ 2147483647 w 216"/>
                  <a:gd name="T117" fmla="*/ 2147483647 h 36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16"/>
                  <a:gd name="T178" fmla="*/ 0 h 360"/>
                  <a:gd name="T179" fmla="*/ 216 w 216"/>
                  <a:gd name="T180" fmla="*/ 360 h 360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16" h="360">
                    <a:moveTo>
                      <a:pt x="56" y="360"/>
                    </a:moveTo>
                    <a:lnTo>
                      <a:pt x="56" y="344"/>
                    </a:lnTo>
                    <a:lnTo>
                      <a:pt x="56" y="336"/>
                    </a:lnTo>
                    <a:lnTo>
                      <a:pt x="64" y="328"/>
                    </a:lnTo>
                    <a:lnTo>
                      <a:pt x="104" y="312"/>
                    </a:lnTo>
                    <a:lnTo>
                      <a:pt x="112" y="288"/>
                    </a:lnTo>
                    <a:lnTo>
                      <a:pt x="104" y="248"/>
                    </a:lnTo>
                    <a:lnTo>
                      <a:pt x="96" y="208"/>
                    </a:lnTo>
                    <a:lnTo>
                      <a:pt x="96" y="200"/>
                    </a:lnTo>
                    <a:lnTo>
                      <a:pt x="112" y="184"/>
                    </a:lnTo>
                    <a:lnTo>
                      <a:pt x="128" y="176"/>
                    </a:lnTo>
                    <a:lnTo>
                      <a:pt x="136" y="168"/>
                    </a:lnTo>
                    <a:lnTo>
                      <a:pt x="152" y="152"/>
                    </a:lnTo>
                    <a:lnTo>
                      <a:pt x="192" y="136"/>
                    </a:lnTo>
                    <a:lnTo>
                      <a:pt x="216" y="104"/>
                    </a:lnTo>
                    <a:lnTo>
                      <a:pt x="216" y="56"/>
                    </a:lnTo>
                    <a:lnTo>
                      <a:pt x="216" y="40"/>
                    </a:lnTo>
                    <a:lnTo>
                      <a:pt x="216" y="0"/>
                    </a:lnTo>
                    <a:lnTo>
                      <a:pt x="200" y="8"/>
                    </a:lnTo>
                    <a:lnTo>
                      <a:pt x="192" y="16"/>
                    </a:lnTo>
                    <a:lnTo>
                      <a:pt x="184" y="16"/>
                    </a:lnTo>
                    <a:lnTo>
                      <a:pt x="168" y="32"/>
                    </a:lnTo>
                    <a:lnTo>
                      <a:pt x="152" y="32"/>
                    </a:lnTo>
                    <a:lnTo>
                      <a:pt x="144" y="32"/>
                    </a:lnTo>
                    <a:lnTo>
                      <a:pt x="128" y="32"/>
                    </a:lnTo>
                    <a:lnTo>
                      <a:pt x="96" y="32"/>
                    </a:lnTo>
                    <a:lnTo>
                      <a:pt x="96" y="56"/>
                    </a:lnTo>
                    <a:lnTo>
                      <a:pt x="104" y="72"/>
                    </a:lnTo>
                    <a:lnTo>
                      <a:pt x="112" y="88"/>
                    </a:lnTo>
                    <a:lnTo>
                      <a:pt x="112" y="112"/>
                    </a:lnTo>
                    <a:lnTo>
                      <a:pt x="104" y="128"/>
                    </a:lnTo>
                    <a:lnTo>
                      <a:pt x="112" y="144"/>
                    </a:lnTo>
                    <a:lnTo>
                      <a:pt x="104" y="144"/>
                    </a:lnTo>
                    <a:lnTo>
                      <a:pt x="88" y="136"/>
                    </a:lnTo>
                    <a:lnTo>
                      <a:pt x="88" y="120"/>
                    </a:lnTo>
                    <a:lnTo>
                      <a:pt x="88" y="104"/>
                    </a:lnTo>
                    <a:lnTo>
                      <a:pt x="88" y="88"/>
                    </a:lnTo>
                    <a:lnTo>
                      <a:pt x="80" y="88"/>
                    </a:lnTo>
                    <a:lnTo>
                      <a:pt x="72" y="80"/>
                    </a:lnTo>
                    <a:lnTo>
                      <a:pt x="64" y="80"/>
                    </a:lnTo>
                    <a:lnTo>
                      <a:pt x="40" y="88"/>
                    </a:lnTo>
                    <a:lnTo>
                      <a:pt x="32" y="88"/>
                    </a:lnTo>
                    <a:lnTo>
                      <a:pt x="16" y="96"/>
                    </a:lnTo>
                    <a:lnTo>
                      <a:pt x="8" y="96"/>
                    </a:lnTo>
                    <a:lnTo>
                      <a:pt x="0" y="112"/>
                    </a:lnTo>
                    <a:lnTo>
                      <a:pt x="48" y="128"/>
                    </a:lnTo>
                    <a:lnTo>
                      <a:pt x="56" y="144"/>
                    </a:lnTo>
                    <a:lnTo>
                      <a:pt x="64" y="168"/>
                    </a:lnTo>
                    <a:lnTo>
                      <a:pt x="56" y="176"/>
                    </a:lnTo>
                    <a:lnTo>
                      <a:pt x="56" y="192"/>
                    </a:lnTo>
                    <a:lnTo>
                      <a:pt x="64" y="200"/>
                    </a:lnTo>
                    <a:lnTo>
                      <a:pt x="64" y="208"/>
                    </a:lnTo>
                    <a:lnTo>
                      <a:pt x="40" y="224"/>
                    </a:lnTo>
                    <a:lnTo>
                      <a:pt x="40" y="248"/>
                    </a:lnTo>
                    <a:lnTo>
                      <a:pt x="32" y="256"/>
                    </a:lnTo>
                    <a:lnTo>
                      <a:pt x="40" y="304"/>
                    </a:lnTo>
                    <a:lnTo>
                      <a:pt x="32" y="328"/>
                    </a:lnTo>
                    <a:lnTo>
                      <a:pt x="40" y="352"/>
                    </a:lnTo>
                    <a:lnTo>
                      <a:pt x="56" y="360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5403" name="Freeform 305">
                <a:extLst>
                  <a:ext uri="{FF2B5EF4-FFF2-40B4-BE49-F238E27FC236}">
                    <a16:creationId xmlns:a16="http://schemas.microsoft.com/office/drawing/2014/main" id="{987860DB-584A-1A01-16CF-2A7663B6627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699147" y="3056238"/>
                <a:ext cx="505793" cy="642757"/>
              </a:xfrm>
              <a:custGeom>
                <a:avLst/>
                <a:gdLst>
                  <a:gd name="T0" fmla="*/ 2147483647 w 160"/>
                  <a:gd name="T1" fmla="*/ 2147483647 h 184"/>
                  <a:gd name="T2" fmla="*/ 2147483647 w 160"/>
                  <a:gd name="T3" fmla="*/ 2147483647 h 184"/>
                  <a:gd name="T4" fmla="*/ 2147483647 w 160"/>
                  <a:gd name="T5" fmla="*/ 2147483647 h 184"/>
                  <a:gd name="T6" fmla="*/ 2147483647 w 160"/>
                  <a:gd name="T7" fmla="*/ 2147483647 h 184"/>
                  <a:gd name="T8" fmla="*/ 2147483647 w 160"/>
                  <a:gd name="T9" fmla="*/ 2147483647 h 184"/>
                  <a:gd name="T10" fmla="*/ 2147483647 w 160"/>
                  <a:gd name="T11" fmla="*/ 2147483647 h 184"/>
                  <a:gd name="T12" fmla="*/ 2147483647 w 160"/>
                  <a:gd name="T13" fmla="*/ 2147483647 h 184"/>
                  <a:gd name="T14" fmla="*/ 2147483647 w 160"/>
                  <a:gd name="T15" fmla="*/ 2147483647 h 184"/>
                  <a:gd name="T16" fmla="*/ 2147483647 w 160"/>
                  <a:gd name="T17" fmla="*/ 2147483647 h 184"/>
                  <a:gd name="T18" fmla="*/ 2147483647 w 160"/>
                  <a:gd name="T19" fmla="*/ 2147483647 h 184"/>
                  <a:gd name="T20" fmla="*/ 2147483647 w 160"/>
                  <a:gd name="T21" fmla="*/ 2147483647 h 184"/>
                  <a:gd name="T22" fmla="*/ 2147483647 w 160"/>
                  <a:gd name="T23" fmla="*/ 2147483647 h 184"/>
                  <a:gd name="T24" fmla="*/ 2147483647 w 160"/>
                  <a:gd name="T25" fmla="*/ 2147483647 h 184"/>
                  <a:gd name="T26" fmla="*/ 2147483647 w 160"/>
                  <a:gd name="T27" fmla="*/ 0 h 184"/>
                  <a:gd name="T28" fmla="*/ 2147483647 w 160"/>
                  <a:gd name="T29" fmla="*/ 0 h 184"/>
                  <a:gd name="T30" fmla="*/ 0 w 160"/>
                  <a:gd name="T31" fmla="*/ 0 h 184"/>
                  <a:gd name="T32" fmla="*/ 2147483647 w 160"/>
                  <a:gd name="T33" fmla="*/ 2147483647 h 184"/>
                  <a:gd name="T34" fmla="*/ 2147483647 w 160"/>
                  <a:gd name="T35" fmla="*/ 2147483647 h 184"/>
                  <a:gd name="T36" fmla="*/ 2147483647 w 160"/>
                  <a:gd name="T37" fmla="*/ 2147483647 h 184"/>
                  <a:gd name="T38" fmla="*/ 0 w 160"/>
                  <a:gd name="T39" fmla="*/ 2147483647 h 184"/>
                  <a:gd name="T40" fmla="*/ 0 w 160"/>
                  <a:gd name="T41" fmla="*/ 2147483647 h 184"/>
                  <a:gd name="T42" fmla="*/ 2147483647 w 160"/>
                  <a:gd name="T43" fmla="*/ 2147483647 h 184"/>
                  <a:gd name="T44" fmla="*/ 2147483647 w 160"/>
                  <a:gd name="T45" fmla="*/ 2147483647 h 184"/>
                  <a:gd name="T46" fmla="*/ 2147483647 w 160"/>
                  <a:gd name="T47" fmla="*/ 2147483647 h 184"/>
                  <a:gd name="T48" fmla="*/ 2147483647 w 160"/>
                  <a:gd name="T49" fmla="*/ 2147483647 h 184"/>
                  <a:gd name="T50" fmla="*/ 2147483647 w 160"/>
                  <a:gd name="T51" fmla="*/ 2147483647 h 184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60"/>
                  <a:gd name="T79" fmla="*/ 0 h 184"/>
                  <a:gd name="T80" fmla="*/ 160 w 160"/>
                  <a:gd name="T81" fmla="*/ 184 h 184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60" h="184">
                    <a:moveTo>
                      <a:pt x="112" y="184"/>
                    </a:moveTo>
                    <a:lnTo>
                      <a:pt x="120" y="168"/>
                    </a:lnTo>
                    <a:lnTo>
                      <a:pt x="128" y="152"/>
                    </a:lnTo>
                    <a:lnTo>
                      <a:pt x="136" y="144"/>
                    </a:lnTo>
                    <a:lnTo>
                      <a:pt x="136" y="136"/>
                    </a:lnTo>
                    <a:lnTo>
                      <a:pt x="152" y="128"/>
                    </a:lnTo>
                    <a:lnTo>
                      <a:pt x="160" y="120"/>
                    </a:lnTo>
                    <a:lnTo>
                      <a:pt x="152" y="112"/>
                    </a:lnTo>
                    <a:lnTo>
                      <a:pt x="152" y="24"/>
                    </a:lnTo>
                    <a:lnTo>
                      <a:pt x="160" y="8"/>
                    </a:lnTo>
                    <a:lnTo>
                      <a:pt x="128" y="8"/>
                    </a:lnTo>
                    <a:lnTo>
                      <a:pt x="104" y="16"/>
                    </a:lnTo>
                    <a:lnTo>
                      <a:pt x="88" y="16"/>
                    </a:lnTo>
                    <a:lnTo>
                      <a:pt x="48" y="0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8" y="16"/>
                    </a:lnTo>
                    <a:lnTo>
                      <a:pt x="24" y="48"/>
                    </a:lnTo>
                    <a:lnTo>
                      <a:pt x="24" y="64"/>
                    </a:lnTo>
                    <a:lnTo>
                      <a:pt x="0" y="80"/>
                    </a:lnTo>
                    <a:lnTo>
                      <a:pt x="0" y="112"/>
                    </a:lnTo>
                    <a:lnTo>
                      <a:pt x="32" y="128"/>
                    </a:lnTo>
                    <a:lnTo>
                      <a:pt x="72" y="144"/>
                    </a:lnTo>
                    <a:lnTo>
                      <a:pt x="72" y="152"/>
                    </a:lnTo>
                    <a:lnTo>
                      <a:pt x="72" y="168"/>
                    </a:lnTo>
                    <a:lnTo>
                      <a:pt x="112" y="184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5404" name="Freeform 306">
                <a:extLst>
                  <a:ext uri="{FF2B5EF4-FFF2-40B4-BE49-F238E27FC236}">
                    <a16:creationId xmlns:a16="http://schemas.microsoft.com/office/drawing/2014/main" id="{D15A067B-1546-2EC0-323C-5193A9CA5DF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04945" y="2474702"/>
                <a:ext cx="103865" cy="135547"/>
              </a:xfrm>
              <a:custGeom>
                <a:avLst/>
                <a:gdLst>
                  <a:gd name="T0" fmla="*/ 0 w 32"/>
                  <a:gd name="T1" fmla="*/ 2147483647 h 40"/>
                  <a:gd name="T2" fmla="*/ 0 w 32"/>
                  <a:gd name="T3" fmla="*/ 2147483647 h 40"/>
                  <a:gd name="T4" fmla="*/ 2147483647 w 32"/>
                  <a:gd name="T5" fmla="*/ 2147483647 h 40"/>
                  <a:gd name="T6" fmla="*/ 2147483647 w 32"/>
                  <a:gd name="T7" fmla="*/ 2147483647 h 40"/>
                  <a:gd name="T8" fmla="*/ 2147483647 w 32"/>
                  <a:gd name="T9" fmla="*/ 2147483647 h 40"/>
                  <a:gd name="T10" fmla="*/ 2147483647 w 32"/>
                  <a:gd name="T11" fmla="*/ 2147483647 h 40"/>
                  <a:gd name="T12" fmla="*/ 2147483647 w 32"/>
                  <a:gd name="T13" fmla="*/ 2147483647 h 40"/>
                  <a:gd name="T14" fmla="*/ 2147483647 w 32"/>
                  <a:gd name="T15" fmla="*/ 0 h 40"/>
                  <a:gd name="T16" fmla="*/ 2147483647 w 32"/>
                  <a:gd name="T17" fmla="*/ 0 h 40"/>
                  <a:gd name="T18" fmla="*/ 2147483647 w 32"/>
                  <a:gd name="T19" fmla="*/ 0 h 40"/>
                  <a:gd name="T20" fmla="*/ 2147483647 w 32"/>
                  <a:gd name="T21" fmla="*/ 2147483647 h 40"/>
                  <a:gd name="T22" fmla="*/ 0 w 32"/>
                  <a:gd name="T23" fmla="*/ 2147483647 h 4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2"/>
                  <a:gd name="T37" fmla="*/ 0 h 40"/>
                  <a:gd name="T38" fmla="*/ 32 w 32"/>
                  <a:gd name="T39" fmla="*/ 40 h 40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2" h="40">
                    <a:moveTo>
                      <a:pt x="0" y="16"/>
                    </a:moveTo>
                    <a:lnTo>
                      <a:pt x="0" y="32"/>
                    </a:lnTo>
                    <a:lnTo>
                      <a:pt x="8" y="40"/>
                    </a:lnTo>
                    <a:lnTo>
                      <a:pt x="16" y="40"/>
                    </a:lnTo>
                    <a:lnTo>
                      <a:pt x="32" y="32"/>
                    </a:lnTo>
                    <a:lnTo>
                      <a:pt x="16" y="24"/>
                    </a:lnTo>
                    <a:lnTo>
                      <a:pt x="32" y="16"/>
                    </a:lnTo>
                    <a:lnTo>
                      <a:pt x="32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8" y="8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5405" name="Freeform 307">
                <a:extLst>
                  <a:ext uri="{FF2B5EF4-FFF2-40B4-BE49-F238E27FC236}">
                    <a16:creationId xmlns:a16="http://schemas.microsoft.com/office/drawing/2014/main" id="{DD37AC44-89F9-F357-5ED1-30D45F4A3B2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112065" y="1053636"/>
                <a:ext cx="681920" cy="747695"/>
              </a:xfrm>
              <a:custGeom>
                <a:avLst/>
                <a:gdLst>
                  <a:gd name="T0" fmla="*/ 2147483647 w 216"/>
                  <a:gd name="T1" fmla="*/ 0 h 216"/>
                  <a:gd name="T2" fmla="*/ 2147483647 w 216"/>
                  <a:gd name="T3" fmla="*/ 0 h 216"/>
                  <a:gd name="T4" fmla="*/ 2147483647 w 216"/>
                  <a:gd name="T5" fmla="*/ 0 h 216"/>
                  <a:gd name="T6" fmla="*/ 2147483647 w 216"/>
                  <a:gd name="T7" fmla="*/ 2147483647 h 216"/>
                  <a:gd name="T8" fmla="*/ 2147483647 w 216"/>
                  <a:gd name="T9" fmla="*/ 2147483647 h 216"/>
                  <a:gd name="T10" fmla="*/ 2147483647 w 216"/>
                  <a:gd name="T11" fmla="*/ 2147483647 h 216"/>
                  <a:gd name="T12" fmla="*/ 2147483647 w 216"/>
                  <a:gd name="T13" fmla="*/ 2147483647 h 216"/>
                  <a:gd name="T14" fmla="*/ 2147483647 w 216"/>
                  <a:gd name="T15" fmla="*/ 0 h 216"/>
                  <a:gd name="T16" fmla="*/ 2147483647 w 216"/>
                  <a:gd name="T17" fmla="*/ 0 h 216"/>
                  <a:gd name="T18" fmla="*/ 2147483647 w 216"/>
                  <a:gd name="T19" fmla="*/ 0 h 216"/>
                  <a:gd name="T20" fmla="*/ 2147483647 w 216"/>
                  <a:gd name="T21" fmla="*/ 2147483647 h 216"/>
                  <a:gd name="T22" fmla="*/ 2147483647 w 216"/>
                  <a:gd name="T23" fmla="*/ 2147483647 h 216"/>
                  <a:gd name="T24" fmla="*/ 2147483647 w 216"/>
                  <a:gd name="T25" fmla="*/ 2147483647 h 216"/>
                  <a:gd name="T26" fmla="*/ 2147483647 w 216"/>
                  <a:gd name="T27" fmla="*/ 0 h 216"/>
                  <a:gd name="T28" fmla="*/ 2147483647 w 216"/>
                  <a:gd name="T29" fmla="*/ 2147483647 h 216"/>
                  <a:gd name="T30" fmla="*/ 2147483647 w 216"/>
                  <a:gd name="T31" fmla="*/ 2147483647 h 216"/>
                  <a:gd name="T32" fmla="*/ 2147483647 w 216"/>
                  <a:gd name="T33" fmla="*/ 2147483647 h 216"/>
                  <a:gd name="T34" fmla="*/ 2147483647 w 216"/>
                  <a:gd name="T35" fmla="*/ 2147483647 h 216"/>
                  <a:gd name="T36" fmla="*/ 2147483647 w 216"/>
                  <a:gd name="T37" fmla="*/ 2147483647 h 216"/>
                  <a:gd name="T38" fmla="*/ 2147483647 w 216"/>
                  <a:gd name="T39" fmla="*/ 2147483647 h 216"/>
                  <a:gd name="T40" fmla="*/ 2147483647 w 216"/>
                  <a:gd name="T41" fmla="*/ 2147483647 h 216"/>
                  <a:gd name="T42" fmla="*/ 2147483647 w 216"/>
                  <a:gd name="T43" fmla="*/ 2147483647 h 216"/>
                  <a:gd name="T44" fmla="*/ 2147483647 w 216"/>
                  <a:gd name="T45" fmla="*/ 2147483647 h 216"/>
                  <a:gd name="T46" fmla="*/ 2147483647 w 216"/>
                  <a:gd name="T47" fmla="*/ 2147483647 h 216"/>
                  <a:gd name="T48" fmla="*/ 2147483647 w 216"/>
                  <a:gd name="T49" fmla="*/ 2147483647 h 216"/>
                  <a:gd name="T50" fmla="*/ 2147483647 w 216"/>
                  <a:gd name="T51" fmla="*/ 2147483647 h 216"/>
                  <a:gd name="T52" fmla="*/ 2147483647 w 216"/>
                  <a:gd name="T53" fmla="*/ 2147483647 h 216"/>
                  <a:gd name="T54" fmla="*/ 2147483647 w 216"/>
                  <a:gd name="T55" fmla="*/ 2147483647 h 216"/>
                  <a:gd name="T56" fmla="*/ 2147483647 w 216"/>
                  <a:gd name="T57" fmla="*/ 2147483647 h 216"/>
                  <a:gd name="T58" fmla="*/ 2147483647 w 216"/>
                  <a:gd name="T59" fmla="*/ 2147483647 h 216"/>
                  <a:gd name="T60" fmla="*/ 2147483647 w 216"/>
                  <a:gd name="T61" fmla="*/ 2147483647 h 216"/>
                  <a:gd name="T62" fmla="*/ 2147483647 w 216"/>
                  <a:gd name="T63" fmla="*/ 2147483647 h 216"/>
                  <a:gd name="T64" fmla="*/ 2147483647 w 216"/>
                  <a:gd name="T65" fmla="*/ 2147483647 h 216"/>
                  <a:gd name="T66" fmla="*/ 2147483647 w 216"/>
                  <a:gd name="T67" fmla="*/ 2147483647 h 216"/>
                  <a:gd name="T68" fmla="*/ 2147483647 w 216"/>
                  <a:gd name="T69" fmla="*/ 2147483647 h 216"/>
                  <a:gd name="T70" fmla="*/ 2147483647 w 216"/>
                  <a:gd name="T71" fmla="*/ 2147483647 h 216"/>
                  <a:gd name="T72" fmla="*/ 2147483647 w 216"/>
                  <a:gd name="T73" fmla="*/ 2147483647 h 216"/>
                  <a:gd name="T74" fmla="*/ 2147483647 w 216"/>
                  <a:gd name="T75" fmla="*/ 2147483647 h 216"/>
                  <a:gd name="T76" fmla="*/ 2147483647 w 216"/>
                  <a:gd name="T77" fmla="*/ 2147483647 h 216"/>
                  <a:gd name="T78" fmla="*/ 2147483647 w 216"/>
                  <a:gd name="T79" fmla="*/ 2147483647 h 216"/>
                  <a:gd name="T80" fmla="*/ 2147483647 w 216"/>
                  <a:gd name="T81" fmla="*/ 2147483647 h 216"/>
                  <a:gd name="T82" fmla="*/ 0 w 216"/>
                  <a:gd name="T83" fmla="*/ 2147483647 h 216"/>
                  <a:gd name="T84" fmla="*/ 2147483647 w 216"/>
                  <a:gd name="T85" fmla="*/ 2147483647 h 216"/>
                  <a:gd name="T86" fmla="*/ 2147483647 w 216"/>
                  <a:gd name="T87" fmla="*/ 0 h 21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216"/>
                  <a:gd name="T133" fmla="*/ 0 h 216"/>
                  <a:gd name="T134" fmla="*/ 216 w 216"/>
                  <a:gd name="T135" fmla="*/ 216 h 21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216" h="216">
                    <a:moveTo>
                      <a:pt x="8" y="0"/>
                    </a:moveTo>
                    <a:lnTo>
                      <a:pt x="24" y="0"/>
                    </a:lnTo>
                    <a:lnTo>
                      <a:pt x="40" y="0"/>
                    </a:lnTo>
                    <a:lnTo>
                      <a:pt x="56" y="8"/>
                    </a:lnTo>
                    <a:lnTo>
                      <a:pt x="80" y="16"/>
                    </a:lnTo>
                    <a:lnTo>
                      <a:pt x="96" y="8"/>
                    </a:lnTo>
                    <a:lnTo>
                      <a:pt x="104" y="8"/>
                    </a:lnTo>
                    <a:lnTo>
                      <a:pt x="112" y="0"/>
                    </a:lnTo>
                    <a:lnTo>
                      <a:pt x="120" y="0"/>
                    </a:lnTo>
                    <a:lnTo>
                      <a:pt x="128" y="0"/>
                    </a:lnTo>
                    <a:lnTo>
                      <a:pt x="144" y="8"/>
                    </a:lnTo>
                    <a:lnTo>
                      <a:pt x="152" y="8"/>
                    </a:lnTo>
                    <a:lnTo>
                      <a:pt x="168" y="8"/>
                    </a:lnTo>
                    <a:lnTo>
                      <a:pt x="184" y="0"/>
                    </a:lnTo>
                    <a:lnTo>
                      <a:pt x="192" y="8"/>
                    </a:lnTo>
                    <a:lnTo>
                      <a:pt x="192" y="24"/>
                    </a:lnTo>
                    <a:lnTo>
                      <a:pt x="200" y="40"/>
                    </a:lnTo>
                    <a:lnTo>
                      <a:pt x="192" y="64"/>
                    </a:lnTo>
                    <a:lnTo>
                      <a:pt x="192" y="80"/>
                    </a:lnTo>
                    <a:lnTo>
                      <a:pt x="184" y="80"/>
                    </a:lnTo>
                    <a:lnTo>
                      <a:pt x="168" y="64"/>
                    </a:lnTo>
                    <a:lnTo>
                      <a:pt x="160" y="48"/>
                    </a:lnTo>
                    <a:lnTo>
                      <a:pt x="160" y="32"/>
                    </a:lnTo>
                    <a:lnTo>
                      <a:pt x="152" y="24"/>
                    </a:lnTo>
                    <a:lnTo>
                      <a:pt x="152" y="32"/>
                    </a:lnTo>
                    <a:lnTo>
                      <a:pt x="152" y="64"/>
                    </a:lnTo>
                    <a:lnTo>
                      <a:pt x="168" y="80"/>
                    </a:lnTo>
                    <a:lnTo>
                      <a:pt x="176" y="88"/>
                    </a:lnTo>
                    <a:lnTo>
                      <a:pt x="184" y="104"/>
                    </a:lnTo>
                    <a:lnTo>
                      <a:pt x="200" y="136"/>
                    </a:lnTo>
                    <a:lnTo>
                      <a:pt x="208" y="160"/>
                    </a:lnTo>
                    <a:lnTo>
                      <a:pt x="216" y="184"/>
                    </a:lnTo>
                    <a:lnTo>
                      <a:pt x="200" y="200"/>
                    </a:lnTo>
                    <a:lnTo>
                      <a:pt x="184" y="208"/>
                    </a:lnTo>
                    <a:lnTo>
                      <a:pt x="184" y="216"/>
                    </a:lnTo>
                    <a:lnTo>
                      <a:pt x="176" y="216"/>
                    </a:lnTo>
                    <a:lnTo>
                      <a:pt x="168" y="208"/>
                    </a:lnTo>
                    <a:lnTo>
                      <a:pt x="72" y="216"/>
                    </a:lnTo>
                    <a:lnTo>
                      <a:pt x="8" y="208"/>
                    </a:lnTo>
                    <a:lnTo>
                      <a:pt x="8" y="160"/>
                    </a:lnTo>
                    <a:lnTo>
                      <a:pt x="8" y="64"/>
                    </a:lnTo>
                    <a:lnTo>
                      <a:pt x="0" y="24"/>
                    </a:lnTo>
                    <a:lnTo>
                      <a:pt x="8" y="16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5416" name="Freeform 308">
                <a:extLst>
                  <a:ext uri="{FF2B5EF4-FFF2-40B4-BE49-F238E27FC236}">
                    <a16:creationId xmlns:a16="http://schemas.microsoft.com/office/drawing/2014/main" id="{139DD884-95B0-17F1-032E-A3AA007900D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967550" y="1696390"/>
                <a:ext cx="1034173" cy="1416690"/>
              </a:xfrm>
              <a:custGeom>
                <a:avLst/>
                <a:gdLst>
                  <a:gd name="T0" fmla="*/ 2147483647 w 328"/>
                  <a:gd name="T1" fmla="*/ 2147483647 h 408"/>
                  <a:gd name="T2" fmla="*/ 2147483647 w 328"/>
                  <a:gd name="T3" fmla="*/ 2147483647 h 408"/>
                  <a:gd name="T4" fmla="*/ 2147483647 w 328"/>
                  <a:gd name="T5" fmla="*/ 2147483647 h 408"/>
                  <a:gd name="T6" fmla="*/ 2147483647 w 328"/>
                  <a:gd name="T7" fmla="*/ 2147483647 h 408"/>
                  <a:gd name="T8" fmla="*/ 2147483647 w 328"/>
                  <a:gd name="T9" fmla="*/ 2147483647 h 408"/>
                  <a:gd name="T10" fmla="*/ 2147483647 w 328"/>
                  <a:gd name="T11" fmla="*/ 2147483647 h 408"/>
                  <a:gd name="T12" fmla="*/ 2147483647 w 328"/>
                  <a:gd name="T13" fmla="*/ 2147483647 h 408"/>
                  <a:gd name="T14" fmla="*/ 2147483647 w 328"/>
                  <a:gd name="T15" fmla="*/ 2147483647 h 408"/>
                  <a:gd name="T16" fmla="*/ 2147483647 w 328"/>
                  <a:gd name="T17" fmla="*/ 2147483647 h 408"/>
                  <a:gd name="T18" fmla="*/ 2147483647 w 328"/>
                  <a:gd name="T19" fmla="*/ 0 h 408"/>
                  <a:gd name="T20" fmla="*/ 2147483647 w 328"/>
                  <a:gd name="T21" fmla="*/ 2147483647 h 408"/>
                  <a:gd name="T22" fmla="*/ 2147483647 w 328"/>
                  <a:gd name="T23" fmla="*/ 2147483647 h 408"/>
                  <a:gd name="T24" fmla="*/ 2147483647 w 328"/>
                  <a:gd name="T25" fmla="*/ 2147483647 h 408"/>
                  <a:gd name="T26" fmla="*/ 2147483647 w 328"/>
                  <a:gd name="T27" fmla="*/ 2147483647 h 408"/>
                  <a:gd name="T28" fmla="*/ 2147483647 w 328"/>
                  <a:gd name="T29" fmla="*/ 2147483647 h 408"/>
                  <a:gd name="T30" fmla="*/ 2147483647 w 328"/>
                  <a:gd name="T31" fmla="*/ 2147483647 h 408"/>
                  <a:gd name="T32" fmla="*/ 2147483647 w 328"/>
                  <a:gd name="T33" fmla="*/ 2147483647 h 408"/>
                  <a:gd name="T34" fmla="*/ 2147483647 w 328"/>
                  <a:gd name="T35" fmla="*/ 2147483647 h 408"/>
                  <a:gd name="T36" fmla="*/ 2147483647 w 328"/>
                  <a:gd name="T37" fmla="*/ 2147483647 h 408"/>
                  <a:gd name="T38" fmla="*/ 2147483647 w 328"/>
                  <a:gd name="T39" fmla="*/ 2147483647 h 408"/>
                  <a:gd name="T40" fmla="*/ 2147483647 w 328"/>
                  <a:gd name="T41" fmla="*/ 2147483647 h 408"/>
                  <a:gd name="T42" fmla="*/ 2147483647 w 328"/>
                  <a:gd name="T43" fmla="*/ 2147483647 h 408"/>
                  <a:gd name="T44" fmla="*/ 2147483647 w 328"/>
                  <a:gd name="T45" fmla="*/ 2147483647 h 408"/>
                  <a:gd name="T46" fmla="*/ 2147483647 w 328"/>
                  <a:gd name="T47" fmla="*/ 2147483647 h 408"/>
                  <a:gd name="T48" fmla="*/ 2147483647 w 328"/>
                  <a:gd name="T49" fmla="*/ 2147483647 h 408"/>
                  <a:gd name="T50" fmla="*/ 2147483647 w 328"/>
                  <a:gd name="T51" fmla="*/ 2147483647 h 408"/>
                  <a:gd name="T52" fmla="*/ 2147483647 w 328"/>
                  <a:gd name="T53" fmla="*/ 2147483647 h 408"/>
                  <a:gd name="T54" fmla="*/ 2147483647 w 328"/>
                  <a:gd name="T55" fmla="*/ 2147483647 h 408"/>
                  <a:gd name="T56" fmla="*/ 2147483647 w 328"/>
                  <a:gd name="T57" fmla="*/ 2147483647 h 408"/>
                  <a:gd name="T58" fmla="*/ 2147483647 w 328"/>
                  <a:gd name="T59" fmla="*/ 2147483647 h 408"/>
                  <a:gd name="T60" fmla="*/ 2147483647 w 328"/>
                  <a:gd name="T61" fmla="*/ 2147483647 h 408"/>
                  <a:gd name="T62" fmla="*/ 2147483647 w 328"/>
                  <a:gd name="T63" fmla="*/ 2147483647 h 408"/>
                  <a:gd name="T64" fmla="*/ 2147483647 w 328"/>
                  <a:gd name="T65" fmla="*/ 2147483647 h 408"/>
                  <a:gd name="T66" fmla="*/ 2147483647 w 328"/>
                  <a:gd name="T67" fmla="*/ 2147483647 h 408"/>
                  <a:gd name="T68" fmla="*/ 2147483647 w 328"/>
                  <a:gd name="T69" fmla="*/ 2147483647 h 408"/>
                  <a:gd name="T70" fmla="*/ 2147483647 w 328"/>
                  <a:gd name="T71" fmla="*/ 2147483647 h 408"/>
                  <a:gd name="T72" fmla="*/ 2147483647 w 328"/>
                  <a:gd name="T73" fmla="*/ 2147483647 h 408"/>
                  <a:gd name="T74" fmla="*/ 2147483647 w 328"/>
                  <a:gd name="T75" fmla="*/ 2147483647 h 408"/>
                  <a:gd name="T76" fmla="*/ 2147483647 w 328"/>
                  <a:gd name="T77" fmla="*/ 2147483647 h 408"/>
                  <a:gd name="T78" fmla="*/ 2147483647 w 328"/>
                  <a:gd name="T79" fmla="*/ 2147483647 h 408"/>
                  <a:gd name="T80" fmla="*/ 2147483647 w 328"/>
                  <a:gd name="T81" fmla="*/ 2147483647 h 408"/>
                  <a:gd name="T82" fmla="*/ 2147483647 w 328"/>
                  <a:gd name="T83" fmla="*/ 2147483647 h 408"/>
                  <a:gd name="T84" fmla="*/ 2147483647 w 328"/>
                  <a:gd name="T85" fmla="*/ 2147483647 h 408"/>
                  <a:gd name="T86" fmla="*/ 2147483647 w 328"/>
                  <a:gd name="T87" fmla="*/ 2147483647 h 408"/>
                  <a:gd name="T88" fmla="*/ 2147483647 w 328"/>
                  <a:gd name="T89" fmla="*/ 2147483647 h 408"/>
                  <a:gd name="T90" fmla="*/ 2147483647 w 328"/>
                  <a:gd name="T91" fmla="*/ 2147483647 h 408"/>
                  <a:gd name="T92" fmla="*/ 2147483647 w 328"/>
                  <a:gd name="T93" fmla="*/ 2147483647 h 408"/>
                  <a:gd name="T94" fmla="*/ 2147483647 w 328"/>
                  <a:gd name="T95" fmla="*/ 2147483647 h 408"/>
                  <a:gd name="T96" fmla="*/ 2147483647 w 328"/>
                  <a:gd name="T97" fmla="*/ 2147483647 h 408"/>
                  <a:gd name="T98" fmla="*/ 2147483647 w 328"/>
                  <a:gd name="T99" fmla="*/ 2147483647 h 408"/>
                  <a:gd name="T100" fmla="*/ 2147483647 w 328"/>
                  <a:gd name="T101" fmla="*/ 2147483647 h 408"/>
                  <a:gd name="T102" fmla="*/ 0 w 328"/>
                  <a:gd name="T103" fmla="*/ 2147483647 h 408"/>
                  <a:gd name="T104" fmla="*/ 0 w 328"/>
                  <a:gd name="T105" fmla="*/ 2147483647 h 408"/>
                  <a:gd name="T106" fmla="*/ 2147483647 w 328"/>
                  <a:gd name="T107" fmla="*/ 2147483647 h 408"/>
                  <a:gd name="T108" fmla="*/ 2147483647 w 328"/>
                  <a:gd name="T109" fmla="*/ 2147483647 h 408"/>
                  <a:gd name="T110" fmla="*/ 2147483647 w 328"/>
                  <a:gd name="T111" fmla="*/ 2147483647 h 408"/>
                  <a:gd name="T112" fmla="*/ 2147483647 w 328"/>
                  <a:gd name="T113" fmla="*/ 2147483647 h 408"/>
                  <a:gd name="T114" fmla="*/ 2147483647 w 328"/>
                  <a:gd name="T115" fmla="*/ 2147483647 h 40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328"/>
                  <a:gd name="T175" fmla="*/ 0 h 408"/>
                  <a:gd name="T176" fmla="*/ 328 w 328"/>
                  <a:gd name="T177" fmla="*/ 408 h 408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328" h="408">
                    <a:moveTo>
                      <a:pt x="40" y="72"/>
                    </a:moveTo>
                    <a:lnTo>
                      <a:pt x="56" y="72"/>
                    </a:lnTo>
                    <a:lnTo>
                      <a:pt x="56" y="24"/>
                    </a:lnTo>
                    <a:lnTo>
                      <a:pt x="120" y="32"/>
                    </a:lnTo>
                    <a:lnTo>
                      <a:pt x="216" y="24"/>
                    </a:lnTo>
                    <a:lnTo>
                      <a:pt x="224" y="32"/>
                    </a:lnTo>
                    <a:lnTo>
                      <a:pt x="232" y="32"/>
                    </a:lnTo>
                    <a:lnTo>
                      <a:pt x="232" y="24"/>
                    </a:lnTo>
                    <a:lnTo>
                      <a:pt x="248" y="16"/>
                    </a:lnTo>
                    <a:lnTo>
                      <a:pt x="264" y="0"/>
                    </a:lnTo>
                    <a:lnTo>
                      <a:pt x="288" y="24"/>
                    </a:lnTo>
                    <a:lnTo>
                      <a:pt x="296" y="40"/>
                    </a:lnTo>
                    <a:lnTo>
                      <a:pt x="296" y="72"/>
                    </a:lnTo>
                    <a:lnTo>
                      <a:pt x="296" y="88"/>
                    </a:lnTo>
                    <a:lnTo>
                      <a:pt x="328" y="112"/>
                    </a:lnTo>
                    <a:lnTo>
                      <a:pt x="296" y="136"/>
                    </a:lnTo>
                    <a:lnTo>
                      <a:pt x="280" y="160"/>
                    </a:lnTo>
                    <a:lnTo>
                      <a:pt x="280" y="192"/>
                    </a:lnTo>
                    <a:lnTo>
                      <a:pt x="280" y="232"/>
                    </a:lnTo>
                    <a:lnTo>
                      <a:pt x="256" y="240"/>
                    </a:lnTo>
                    <a:lnTo>
                      <a:pt x="256" y="256"/>
                    </a:lnTo>
                    <a:lnTo>
                      <a:pt x="232" y="264"/>
                    </a:lnTo>
                    <a:lnTo>
                      <a:pt x="232" y="296"/>
                    </a:lnTo>
                    <a:lnTo>
                      <a:pt x="216" y="312"/>
                    </a:lnTo>
                    <a:lnTo>
                      <a:pt x="248" y="352"/>
                    </a:lnTo>
                    <a:lnTo>
                      <a:pt x="256" y="376"/>
                    </a:lnTo>
                    <a:lnTo>
                      <a:pt x="272" y="392"/>
                    </a:lnTo>
                    <a:lnTo>
                      <a:pt x="232" y="392"/>
                    </a:lnTo>
                    <a:lnTo>
                      <a:pt x="216" y="408"/>
                    </a:lnTo>
                    <a:lnTo>
                      <a:pt x="192" y="408"/>
                    </a:lnTo>
                    <a:lnTo>
                      <a:pt x="176" y="408"/>
                    </a:lnTo>
                    <a:lnTo>
                      <a:pt x="168" y="408"/>
                    </a:lnTo>
                    <a:lnTo>
                      <a:pt x="152" y="392"/>
                    </a:lnTo>
                    <a:lnTo>
                      <a:pt x="136" y="392"/>
                    </a:lnTo>
                    <a:lnTo>
                      <a:pt x="128" y="392"/>
                    </a:lnTo>
                    <a:lnTo>
                      <a:pt x="120" y="392"/>
                    </a:lnTo>
                    <a:lnTo>
                      <a:pt x="112" y="392"/>
                    </a:lnTo>
                    <a:lnTo>
                      <a:pt x="104" y="384"/>
                    </a:lnTo>
                    <a:lnTo>
                      <a:pt x="96" y="376"/>
                    </a:lnTo>
                    <a:lnTo>
                      <a:pt x="80" y="360"/>
                    </a:lnTo>
                    <a:lnTo>
                      <a:pt x="72" y="344"/>
                    </a:lnTo>
                    <a:lnTo>
                      <a:pt x="56" y="328"/>
                    </a:lnTo>
                    <a:lnTo>
                      <a:pt x="48" y="328"/>
                    </a:lnTo>
                    <a:lnTo>
                      <a:pt x="40" y="312"/>
                    </a:lnTo>
                    <a:lnTo>
                      <a:pt x="32" y="312"/>
                    </a:lnTo>
                    <a:lnTo>
                      <a:pt x="32" y="280"/>
                    </a:lnTo>
                    <a:lnTo>
                      <a:pt x="16" y="264"/>
                    </a:lnTo>
                    <a:lnTo>
                      <a:pt x="24" y="264"/>
                    </a:lnTo>
                    <a:lnTo>
                      <a:pt x="24" y="256"/>
                    </a:lnTo>
                    <a:lnTo>
                      <a:pt x="8" y="240"/>
                    </a:lnTo>
                    <a:lnTo>
                      <a:pt x="8" y="232"/>
                    </a:lnTo>
                    <a:lnTo>
                      <a:pt x="0" y="224"/>
                    </a:lnTo>
                    <a:lnTo>
                      <a:pt x="0" y="216"/>
                    </a:lnTo>
                    <a:lnTo>
                      <a:pt x="8" y="184"/>
                    </a:lnTo>
                    <a:lnTo>
                      <a:pt x="8" y="176"/>
                    </a:lnTo>
                    <a:lnTo>
                      <a:pt x="8" y="160"/>
                    </a:lnTo>
                    <a:lnTo>
                      <a:pt x="40" y="160"/>
                    </a:lnTo>
                    <a:lnTo>
                      <a:pt x="40" y="72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5421" name="Freeform 309">
                <a:extLst>
                  <a:ext uri="{FF2B5EF4-FFF2-40B4-BE49-F238E27FC236}">
                    <a16:creationId xmlns:a16="http://schemas.microsoft.com/office/drawing/2014/main" id="{5F5509B1-A37B-9C66-AFBD-6C401E8F0BB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852692" y="2081170"/>
                <a:ext cx="406444" cy="450368"/>
              </a:xfrm>
              <a:custGeom>
                <a:avLst/>
                <a:gdLst>
                  <a:gd name="T0" fmla="*/ 2147483647 w 128"/>
                  <a:gd name="T1" fmla="*/ 2147483647 h 128"/>
                  <a:gd name="T2" fmla="*/ 2147483647 w 128"/>
                  <a:gd name="T3" fmla="*/ 2147483647 h 128"/>
                  <a:gd name="T4" fmla="*/ 2147483647 w 128"/>
                  <a:gd name="T5" fmla="*/ 2147483647 h 128"/>
                  <a:gd name="T6" fmla="*/ 2147483647 w 128"/>
                  <a:gd name="T7" fmla="*/ 2147483647 h 128"/>
                  <a:gd name="T8" fmla="*/ 2147483647 w 128"/>
                  <a:gd name="T9" fmla="*/ 2147483647 h 128"/>
                  <a:gd name="T10" fmla="*/ 2147483647 w 128"/>
                  <a:gd name="T11" fmla="*/ 2147483647 h 128"/>
                  <a:gd name="T12" fmla="*/ 0 w 128"/>
                  <a:gd name="T13" fmla="*/ 2147483647 h 128"/>
                  <a:gd name="T14" fmla="*/ 0 w 128"/>
                  <a:gd name="T15" fmla="*/ 2147483647 h 128"/>
                  <a:gd name="T16" fmla="*/ 2147483647 w 128"/>
                  <a:gd name="T17" fmla="*/ 2147483647 h 128"/>
                  <a:gd name="T18" fmla="*/ 2147483647 w 128"/>
                  <a:gd name="T19" fmla="*/ 0 h 128"/>
                  <a:gd name="T20" fmla="*/ 2147483647 w 128"/>
                  <a:gd name="T21" fmla="*/ 2147483647 h 128"/>
                  <a:gd name="T22" fmla="*/ 2147483647 w 128"/>
                  <a:gd name="T23" fmla="*/ 2147483647 h 128"/>
                  <a:gd name="T24" fmla="*/ 2147483647 w 128"/>
                  <a:gd name="T25" fmla="*/ 2147483647 h 128"/>
                  <a:gd name="T26" fmla="*/ 2147483647 w 128"/>
                  <a:gd name="T27" fmla="*/ 2147483647 h 128"/>
                  <a:gd name="T28" fmla="*/ 2147483647 w 128"/>
                  <a:gd name="T29" fmla="*/ 2147483647 h 12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28"/>
                  <a:gd name="T46" fmla="*/ 0 h 128"/>
                  <a:gd name="T47" fmla="*/ 128 w 128"/>
                  <a:gd name="T48" fmla="*/ 128 h 12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28" h="128">
                    <a:moveTo>
                      <a:pt x="128" y="112"/>
                    </a:moveTo>
                    <a:lnTo>
                      <a:pt x="120" y="120"/>
                    </a:lnTo>
                    <a:lnTo>
                      <a:pt x="112" y="128"/>
                    </a:lnTo>
                    <a:lnTo>
                      <a:pt x="96" y="96"/>
                    </a:lnTo>
                    <a:lnTo>
                      <a:pt x="72" y="80"/>
                    </a:lnTo>
                    <a:lnTo>
                      <a:pt x="56" y="72"/>
                    </a:lnTo>
                    <a:lnTo>
                      <a:pt x="0" y="80"/>
                    </a:lnTo>
                    <a:lnTo>
                      <a:pt x="0" y="48"/>
                    </a:lnTo>
                    <a:lnTo>
                      <a:pt x="16" y="24"/>
                    </a:lnTo>
                    <a:lnTo>
                      <a:pt x="48" y="0"/>
                    </a:lnTo>
                    <a:lnTo>
                      <a:pt x="56" y="32"/>
                    </a:lnTo>
                    <a:lnTo>
                      <a:pt x="64" y="56"/>
                    </a:lnTo>
                    <a:lnTo>
                      <a:pt x="80" y="64"/>
                    </a:lnTo>
                    <a:lnTo>
                      <a:pt x="104" y="80"/>
                    </a:lnTo>
                    <a:lnTo>
                      <a:pt x="128" y="112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5424" name="Freeform 310">
                <a:extLst>
                  <a:ext uri="{FF2B5EF4-FFF2-40B4-BE49-F238E27FC236}">
                    <a16:creationId xmlns:a16="http://schemas.microsoft.com/office/drawing/2014/main" id="{8D4B4205-0503-F85C-C179-1A984C3B80C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649471" y="2330406"/>
                <a:ext cx="989012" cy="782679"/>
              </a:xfrm>
              <a:custGeom>
                <a:avLst/>
                <a:gdLst>
                  <a:gd name="T0" fmla="*/ 2147483647 w 312"/>
                  <a:gd name="T1" fmla="*/ 2147483647 h 224"/>
                  <a:gd name="T2" fmla="*/ 2147483647 w 312"/>
                  <a:gd name="T3" fmla="*/ 2147483647 h 224"/>
                  <a:gd name="T4" fmla="*/ 2147483647 w 312"/>
                  <a:gd name="T5" fmla="*/ 2147483647 h 224"/>
                  <a:gd name="T6" fmla="*/ 0 w 312"/>
                  <a:gd name="T7" fmla="*/ 2147483647 h 224"/>
                  <a:gd name="T8" fmla="*/ 2147483647 w 312"/>
                  <a:gd name="T9" fmla="*/ 2147483647 h 224"/>
                  <a:gd name="T10" fmla="*/ 2147483647 w 312"/>
                  <a:gd name="T11" fmla="*/ 2147483647 h 224"/>
                  <a:gd name="T12" fmla="*/ 2147483647 w 312"/>
                  <a:gd name="T13" fmla="*/ 2147483647 h 224"/>
                  <a:gd name="T14" fmla="*/ 2147483647 w 312"/>
                  <a:gd name="T15" fmla="*/ 2147483647 h 224"/>
                  <a:gd name="T16" fmla="*/ 2147483647 w 312"/>
                  <a:gd name="T17" fmla="*/ 2147483647 h 224"/>
                  <a:gd name="T18" fmla="*/ 2147483647 w 312"/>
                  <a:gd name="T19" fmla="*/ 2147483647 h 224"/>
                  <a:gd name="T20" fmla="*/ 2147483647 w 312"/>
                  <a:gd name="T21" fmla="*/ 0 h 224"/>
                  <a:gd name="T22" fmla="*/ 2147483647 w 312"/>
                  <a:gd name="T23" fmla="*/ 2147483647 h 224"/>
                  <a:gd name="T24" fmla="*/ 2147483647 w 312"/>
                  <a:gd name="T25" fmla="*/ 2147483647 h 224"/>
                  <a:gd name="T26" fmla="*/ 2147483647 w 312"/>
                  <a:gd name="T27" fmla="*/ 2147483647 h 224"/>
                  <a:gd name="T28" fmla="*/ 2147483647 w 312"/>
                  <a:gd name="T29" fmla="*/ 2147483647 h 224"/>
                  <a:gd name="T30" fmla="*/ 2147483647 w 312"/>
                  <a:gd name="T31" fmla="*/ 2147483647 h 224"/>
                  <a:gd name="T32" fmla="*/ 2147483647 w 312"/>
                  <a:gd name="T33" fmla="*/ 2147483647 h 224"/>
                  <a:gd name="T34" fmla="*/ 2147483647 w 312"/>
                  <a:gd name="T35" fmla="*/ 2147483647 h 224"/>
                  <a:gd name="T36" fmla="*/ 2147483647 w 312"/>
                  <a:gd name="T37" fmla="*/ 2147483647 h 224"/>
                  <a:gd name="T38" fmla="*/ 2147483647 w 312"/>
                  <a:gd name="T39" fmla="*/ 2147483647 h 224"/>
                  <a:gd name="T40" fmla="*/ 2147483647 w 312"/>
                  <a:gd name="T41" fmla="*/ 2147483647 h 224"/>
                  <a:gd name="T42" fmla="*/ 2147483647 w 312"/>
                  <a:gd name="T43" fmla="*/ 2147483647 h 224"/>
                  <a:gd name="T44" fmla="*/ 2147483647 w 312"/>
                  <a:gd name="T45" fmla="*/ 2147483647 h 224"/>
                  <a:gd name="T46" fmla="*/ 2147483647 w 312"/>
                  <a:gd name="T47" fmla="*/ 2147483647 h 224"/>
                  <a:gd name="T48" fmla="*/ 2147483647 w 312"/>
                  <a:gd name="T49" fmla="*/ 2147483647 h 224"/>
                  <a:gd name="T50" fmla="*/ 2147483647 w 312"/>
                  <a:gd name="T51" fmla="*/ 2147483647 h 224"/>
                  <a:gd name="T52" fmla="*/ 2147483647 w 312"/>
                  <a:gd name="T53" fmla="*/ 2147483647 h 224"/>
                  <a:gd name="T54" fmla="*/ 2147483647 w 312"/>
                  <a:gd name="T55" fmla="*/ 2147483647 h 224"/>
                  <a:gd name="T56" fmla="*/ 2147483647 w 312"/>
                  <a:gd name="T57" fmla="*/ 2147483647 h 224"/>
                  <a:gd name="T58" fmla="*/ 2147483647 w 312"/>
                  <a:gd name="T59" fmla="*/ 2147483647 h 224"/>
                  <a:gd name="T60" fmla="*/ 2147483647 w 312"/>
                  <a:gd name="T61" fmla="*/ 2147483647 h 224"/>
                  <a:gd name="T62" fmla="*/ 2147483647 w 312"/>
                  <a:gd name="T63" fmla="*/ 2147483647 h 224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312"/>
                  <a:gd name="T97" fmla="*/ 0 h 224"/>
                  <a:gd name="T98" fmla="*/ 312 w 312"/>
                  <a:gd name="T99" fmla="*/ 224 h 224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312" h="224">
                    <a:moveTo>
                      <a:pt x="56" y="208"/>
                    </a:moveTo>
                    <a:lnTo>
                      <a:pt x="40" y="192"/>
                    </a:lnTo>
                    <a:lnTo>
                      <a:pt x="32" y="168"/>
                    </a:lnTo>
                    <a:lnTo>
                      <a:pt x="0" y="128"/>
                    </a:lnTo>
                    <a:lnTo>
                      <a:pt x="16" y="112"/>
                    </a:lnTo>
                    <a:lnTo>
                      <a:pt x="16" y="80"/>
                    </a:lnTo>
                    <a:lnTo>
                      <a:pt x="40" y="72"/>
                    </a:lnTo>
                    <a:lnTo>
                      <a:pt x="40" y="56"/>
                    </a:lnTo>
                    <a:lnTo>
                      <a:pt x="64" y="48"/>
                    </a:lnTo>
                    <a:lnTo>
                      <a:pt x="64" y="8"/>
                    </a:lnTo>
                    <a:lnTo>
                      <a:pt x="120" y="0"/>
                    </a:lnTo>
                    <a:lnTo>
                      <a:pt x="136" y="8"/>
                    </a:lnTo>
                    <a:lnTo>
                      <a:pt x="160" y="24"/>
                    </a:lnTo>
                    <a:lnTo>
                      <a:pt x="176" y="56"/>
                    </a:lnTo>
                    <a:lnTo>
                      <a:pt x="176" y="72"/>
                    </a:lnTo>
                    <a:lnTo>
                      <a:pt x="184" y="80"/>
                    </a:lnTo>
                    <a:lnTo>
                      <a:pt x="192" y="80"/>
                    </a:lnTo>
                    <a:lnTo>
                      <a:pt x="200" y="96"/>
                    </a:lnTo>
                    <a:lnTo>
                      <a:pt x="208" y="112"/>
                    </a:lnTo>
                    <a:lnTo>
                      <a:pt x="216" y="112"/>
                    </a:lnTo>
                    <a:lnTo>
                      <a:pt x="240" y="128"/>
                    </a:lnTo>
                    <a:lnTo>
                      <a:pt x="296" y="136"/>
                    </a:lnTo>
                    <a:lnTo>
                      <a:pt x="312" y="128"/>
                    </a:lnTo>
                    <a:lnTo>
                      <a:pt x="304" y="144"/>
                    </a:lnTo>
                    <a:lnTo>
                      <a:pt x="240" y="200"/>
                    </a:lnTo>
                    <a:lnTo>
                      <a:pt x="192" y="208"/>
                    </a:lnTo>
                    <a:lnTo>
                      <a:pt x="176" y="216"/>
                    </a:lnTo>
                    <a:lnTo>
                      <a:pt x="144" y="216"/>
                    </a:lnTo>
                    <a:lnTo>
                      <a:pt x="120" y="224"/>
                    </a:lnTo>
                    <a:lnTo>
                      <a:pt x="104" y="224"/>
                    </a:lnTo>
                    <a:lnTo>
                      <a:pt x="64" y="208"/>
                    </a:lnTo>
                    <a:lnTo>
                      <a:pt x="56" y="208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5425" name="Freeform 311">
                <a:extLst>
                  <a:ext uri="{FF2B5EF4-FFF2-40B4-BE49-F238E27FC236}">
                    <a16:creationId xmlns:a16="http://schemas.microsoft.com/office/drawing/2014/main" id="{B039F394-72F5-39F1-68CF-AB15DC6AF6A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182361" y="2531544"/>
                <a:ext cx="632247" cy="944464"/>
              </a:xfrm>
              <a:custGeom>
                <a:avLst/>
                <a:gdLst>
                  <a:gd name="T0" fmla="*/ 2147483647 w 200"/>
                  <a:gd name="T1" fmla="*/ 2147483647 h 272"/>
                  <a:gd name="T2" fmla="*/ 2147483647 w 200"/>
                  <a:gd name="T3" fmla="*/ 2147483647 h 272"/>
                  <a:gd name="T4" fmla="*/ 2147483647 w 200"/>
                  <a:gd name="T5" fmla="*/ 2147483647 h 272"/>
                  <a:gd name="T6" fmla="*/ 2147483647 w 200"/>
                  <a:gd name="T7" fmla="*/ 2147483647 h 272"/>
                  <a:gd name="T8" fmla="*/ 2147483647 w 200"/>
                  <a:gd name="T9" fmla="*/ 2147483647 h 272"/>
                  <a:gd name="T10" fmla="*/ 2147483647 w 200"/>
                  <a:gd name="T11" fmla="*/ 2147483647 h 272"/>
                  <a:gd name="T12" fmla="*/ 2147483647 w 200"/>
                  <a:gd name="T13" fmla="*/ 2147483647 h 272"/>
                  <a:gd name="T14" fmla="*/ 2147483647 w 200"/>
                  <a:gd name="T15" fmla="*/ 2147483647 h 272"/>
                  <a:gd name="T16" fmla="*/ 2147483647 w 200"/>
                  <a:gd name="T17" fmla="*/ 2147483647 h 272"/>
                  <a:gd name="T18" fmla="*/ 2147483647 w 200"/>
                  <a:gd name="T19" fmla="*/ 2147483647 h 272"/>
                  <a:gd name="T20" fmla="*/ 2147483647 w 200"/>
                  <a:gd name="T21" fmla="*/ 2147483647 h 272"/>
                  <a:gd name="T22" fmla="*/ 2147483647 w 200"/>
                  <a:gd name="T23" fmla="*/ 2147483647 h 272"/>
                  <a:gd name="T24" fmla="*/ 2147483647 w 200"/>
                  <a:gd name="T25" fmla="*/ 2147483647 h 272"/>
                  <a:gd name="T26" fmla="*/ 2147483647 w 200"/>
                  <a:gd name="T27" fmla="*/ 2147483647 h 272"/>
                  <a:gd name="T28" fmla="*/ 2147483647 w 200"/>
                  <a:gd name="T29" fmla="*/ 0 h 272"/>
                  <a:gd name="T30" fmla="*/ 2147483647 w 200"/>
                  <a:gd name="T31" fmla="*/ 0 h 272"/>
                  <a:gd name="T32" fmla="*/ 2147483647 w 200"/>
                  <a:gd name="T33" fmla="*/ 2147483647 h 272"/>
                  <a:gd name="T34" fmla="*/ 2147483647 w 200"/>
                  <a:gd name="T35" fmla="*/ 2147483647 h 272"/>
                  <a:gd name="T36" fmla="*/ 2147483647 w 200"/>
                  <a:gd name="T37" fmla="*/ 2147483647 h 272"/>
                  <a:gd name="T38" fmla="*/ 2147483647 w 200"/>
                  <a:gd name="T39" fmla="*/ 2147483647 h 272"/>
                  <a:gd name="T40" fmla="*/ 2147483647 w 200"/>
                  <a:gd name="T41" fmla="*/ 2147483647 h 272"/>
                  <a:gd name="T42" fmla="*/ 2147483647 w 200"/>
                  <a:gd name="T43" fmla="*/ 2147483647 h 272"/>
                  <a:gd name="T44" fmla="*/ 2147483647 w 200"/>
                  <a:gd name="T45" fmla="*/ 2147483647 h 272"/>
                  <a:gd name="T46" fmla="*/ 2147483647 w 200"/>
                  <a:gd name="T47" fmla="*/ 2147483647 h 272"/>
                  <a:gd name="T48" fmla="*/ 2147483647 w 200"/>
                  <a:gd name="T49" fmla="*/ 2147483647 h 272"/>
                  <a:gd name="T50" fmla="*/ 2147483647 w 200"/>
                  <a:gd name="T51" fmla="*/ 2147483647 h 272"/>
                  <a:gd name="T52" fmla="*/ 2147483647 w 200"/>
                  <a:gd name="T53" fmla="*/ 2147483647 h 272"/>
                  <a:gd name="T54" fmla="*/ 2147483647 w 200"/>
                  <a:gd name="T55" fmla="*/ 2147483647 h 272"/>
                  <a:gd name="T56" fmla="*/ 2147483647 w 200"/>
                  <a:gd name="T57" fmla="*/ 2147483647 h 272"/>
                  <a:gd name="T58" fmla="*/ 2147483647 w 200"/>
                  <a:gd name="T59" fmla="*/ 2147483647 h 272"/>
                  <a:gd name="T60" fmla="*/ 2147483647 w 200"/>
                  <a:gd name="T61" fmla="*/ 2147483647 h 272"/>
                  <a:gd name="T62" fmla="*/ 2147483647 w 200"/>
                  <a:gd name="T63" fmla="*/ 2147483647 h 272"/>
                  <a:gd name="T64" fmla="*/ 2147483647 w 200"/>
                  <a:gd name="T65" fmla="*/ 2147483647 h 272"/>
                  <a:gd name="T66" fmla="*/ 2147483647 w 200"/>
                  <a:gd name="T67" fmla="*/ 2147483647 h 272"/>
                  <a:gd name="T68" fmla="*/ 2147483647 w 200"/>
                  <a:gd name="T69" fmla="*/ 2147483647 h 272"/>
                  <a:gd name="T70" fmla="*/ 0 w 200"/>
                  <a:gd name="T71" fmla="*/ 2147483647 h 272"/>
                  <a:gd name="T72" fmla="*/ 0 w 200"/>
                  <a:gd name="T73" fmla="*/ 2147483647 h 272"/>
                  <a:gd name="T74" fmla="*/ 0 w 200"/>
                  <a:gd name="T75" fmla="*/ 2147483647 h 272"/>
                  <a:gd name="T76" fmla="*/ 2147483647 w 200"/>
                  <a:gd name="T77" fmla="*/ 2147483647 h 27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200"/>
                  <a:gd name="T118" fmla="*/ 0 h 272"/>
                  <a:gd name="T119" fmla="*/ 200 w 200"/>
                  <a:gd name="T120" fmla="*/ 272 h 272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200" h="272">
                    <a:moveTo>
                      <a:pt x="8" y="272"/>
                    </a:moveTo>
                    <a:lnTo>
                      <a:pt x="32" y="248"/>
                    </a:lnTo>
                    <a:lnTo>
                      <a:pt x="40" y="232"/>
                    </a:lnTo>
                    <a:lnTo>
                      <a:pt x="64" y="216"/>
                    </a:lnTo>
                    <a:lnTo>
                      <a:pt x="88" y="200"/>
                    </a:lnTo>
                    <a:lnTo>
                      <a:pt x="104" y="184"/>
                    </a:lnTo>
                    <a:lnTo>
                      <a:pt x="120" y="168"/>
                    </a:lnTo>
                    <a:lnTo>
                      <a:pt x="144" y="136"/>
                    </a:lnTo>
                    <a:lnTo>
                      <a:pt x="152" y="128"/>
                    </a:lnTo>
                    <a:lnTo>
                      <a:pt x="160" y="112"/>
                    </a:lnTo>
                    <a:lnTo>
                      <a:pt x="160" y="96"/>
                    </a:lnTo>
                    <a:lnTo>
                      <a:pt x="192" y="64"/>
                    </a:lnTo>
                    <a:lnTo>
                      <a:pt x="192" y="40"/>
                    </a:lnTo>
                    <a:lnTo>
                      <a:pt x="200" y="8"/>
                    </a:lnTo>
                    <a:lnTo>
                      <a:pt x="192" y="0"/>
                    </a:lnTo>
                    <a:lnTo>
                      <a:pt x="184" y="0"/>
                    </a:lnTo>
                    <a:lnTo>
                      <a:pt x="176" y="8"/>
                    </a:lnTo>
                    <a:lnTo>
                      <a:pt x="144" y="16"/>
                    </a:lnTo>
                    <a:lnTo>
                      <a:pt x="128" y="16"/>
                    </a:lnTo>
                    <a:lnTo>
                      <a:pt x="112" y="24"/>
                    </a:lnTo>
                    <a:lnTo>
                      <a:pt x="80" y="32"/>
                    </a:lnTo>
                    <a:lnTo>
                      <a:pt x="72" y="32"/>
                    </a:lnTo>
                    <a:lnTo>
                      <a:pt x="56" y="32"/>
                    </a:lnTo>
                    <a:lnTo>
                      <a:pt x="40" y="16"/>
                    </a:lnTo>
                    <a:lnTo>
                      <a:pt x="24" y="24"/>
                    </a:lnTo>
                    <a:lnTo>
                      <a:pt x="32" y="40"/>
                    </a:lnTo>
                    <a:lnTo>
                      <a:pt x="40" y="56"/>
                    </a:lnTo>
                    <a:lnTo>
                      <a:pt x="48" y="56"/>
                    </a:lnTo>
                    <a:lnTo>
                      <a:pt x="72" y="72"/>
                    </a:lnTo>
                    <a:lnTo>
                      <a:pt x="128" y="80"/>
                    </a:lnTo>
                    <a:lnTo>
                      <a:pt x="144" y="72"/>
                    </a:lnTo>
                    <a:lnTo>
                      <a:pt x="136" y="88"/>
                    </a:lnTo>
                    <a:lnTo>
                      <a:pt x="72" y="144"/>
                    </a:lnTo>
                    <a:lnTo>
                      <a:pt x="24" y="152"/>
                    </a:lnTo>
                    <a:lnTo>
                      <a:pt x="8" y="160"/>
                    </a:lnTo>
                    <a:lnTo>
                      <a:pt x="0" y="176"/>
                    </a:lnTo>
                    <a:lnTo>
                      <a:pt x="0" y="264"/>
                    </a:lnTo>
                    <a:lnTo>
                      <a:pt x="0" y="272"/>
                    </a:lnTo>
                    <a:lnTo>
                      <a:pt x="8" y="272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5428" name="Freeform 312">
                <a:extLst>
                  <a:ext uri="{FF2B5EF4-FFF2-40B4-BE49-F238E27FC236}">
                    <a16:creationId xmlns:a16="http://schemas.microsoft.com/office/drawing/2014/main" id="{3E40955F-8BBE-DA7F-B58A-A2482B6954A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540482" y="1696390"/>
                <a:ext cx="1016109" cy="835146"/>
              </a:xfrm>
              <a:custGeom>
                <a:avLst/>
                <a:gdLst>
                  <a:gd name="T0" fmla="*/ 2147483647 w 320"/>
                  <a:gd name="T1" fmla="*/ 0 h 240"/>
                  <a:gd name="T2" fmla="*/ 2147483647 w 320"/>
                  <a:gd name="T3" fmla="*/ 2147483647 h 240"/>
                  <a:gd name="T4" fmla="*/ 2147483647 w 320"/>
                  <a:gd name="T5" fmla="*/ 2147483647 h 240"/>
                  <a:gd name="T6" fmla="*/ 2147483647 w 320"/>
                  <a:gd name="T7" fmla="*/ 2147483647 h 240"/>
                  <a:gd name="T8" fmla="*/ 2147483647 w 320"/>
                  <a:gd name="T9" fmla="*/ 2147483647 h 240"/>
                  <a:gd name="T10" fmla="*/ 2147483647 w 320"/>
                  <a:gd name="T11" fmla="*/ 2147483647 h 240"/>
                  <a:gd name="T12" fmla="*/ 0 w 320"/>
                  <a:gd name="T13" fmla="*/ 2147483647 h 240"/>
                  <a:gd name="T14" fmla="*/ 0 w 320"/>
                  <a:gd name="T15" fmla="*/ 2147483647 h 240"/>
                  <a:gd name="T16" fmla="*/ 2147483647 w 320"/>
                  <a:gd name="T17" fmla="*/ 2147483647 h 240"/>
                  <a:gd name="T18" fmla="*/ 2147483647 w 320"/>
                  <a:gd name="T19" fmla="*/ 2147483647 h 240"/>
                  <a:gd name="T20" fmla="*/ 2147483647 w 320"/>
                  <a:gd name="T21" fmla="*/ 2147483647 h 240"/>
                  <a:gd name="T22" fmla="*/ 2147483647 w 320"/>
                  <a:gd name="T23" fmla="*/ 2147483647 h 240"/>
                  <a:gd name="T24" fmla="*/ 2147483647 w 320"/>
                  <a:gd name="T25" fmla="*/ 2147483647 h 240"/>
                  <a:gd name="T26" fmla="*/ 2147483647 w 320"/>
                  <a:gd name="T27" fmla="*/ 2147483647 h 240"/>
                  <a:gd name="T28" fmla="*/ 2147483647 w 320"/>
                  <a:gd name="T29" fmla="*/ 2147483647 h 240"/>
                  <a:gd name="T30" fmla="*/ 2147483647 w 320"/>
                  <a:gd name="T31" fmla="*/ 2147483647 h 240"/>
                  <a:gd name="T32" fmla="*/ 2147483647 w 320"/>
                  <a:gd name="T33" fmla="*/ 2147483647 h 240"/>
                  <a:gd name="T34" fmla="*/ 2147483647 w 320"/>
                  <a:gd name="T35" fmla="*/ 2147483647 h 240"/>
                  <a:gd name="T36" fmla="*/ 2147483647 w 320"/>
                  <a:gd name="T37" fmla="*/ 2147483647 h 240"/>
                  <a:gd name="T38" fmla="*/ 2147483647 w 320"/>
                  <a:gd name="T39" fmla="*/ 2147483647 h 240"/>
                  <a:gd name="T40" fmla="*/ 2147483647 w 320"/>
                  <a:gd name="T41" fmla="*/ 2147483647 h 240"/>
                  <a:gd name="T42" fmla="*/ 2147483647 w 320"/>
                  <a:gd name="T43" fmla="*/ 2147483647 h 240"/>
                  <a:gd name="T44" fmla="*/ 2147483647 w 320"/>
                  <a:gd name="T45" fmla="*/ 2147483647 h 240"/>
                  <a:gd name="T46" fmla="*/ 2147483647 w 320"/>
                  <a:gd name="T47" fmla="*/ 2147483647 h 240"/>
                  <a:gd name="T48" fmla="*/ 2147483647 w 320"/>
                  <a:gd name="T49" fmla="*/ 2147483647 h 240"/>
                  <a:gd name="T50" fmla="*/ 2147483647 w 320"/>
                  <a:gd name="T51" fmla="*/ 2147483647 h 240"/>
                  <a:gd name="T52" fmla="*/ 2147483647 w 320"/>
                  <a:gd name="T53" fmla="*/ 2147483647 h 240"/>
                  <a:gd name="T54" fmla="*/ 2147483647 w 320"/>
                  <a:gd name="T55" fmla="*/ 2147483647 h 240"/>
                  <a:gd name="T56" fmla="*/ 2147483647 w 320"/>
                  <a:gd name="T57" fmla="*/ 2147483647 h 240"/>
                  <a:gd name="T58" fmla="*/ 2147483647 w 320"/>
                  <a:gd name="T59" fmla="*/ 2147483647 h 240"/>
                  <a:gd name="T60" fmla="*/ 2147483647 w 320"/>
                  <a:gd name="T61" fmla="*/ 2147483647 h 240"/>
                  <a:gd name="T62" fmla="*/ 2147483647 w 320"/>
                  <a:gd name="T63" fmla="*/ 0 h 240"/>
                  <a:gd name="T64" fmla="*/ 2147483647 w 320"/>
                  <a:gd name="T65" fmla="*/ 0 h 24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320"/>
                  <a:gd name="T100" fmla="*/ 0 h 240"/>
                  <a:gd name="T101" fmla="*/ 320 w 320"/>
                  <a:gd name="T102" fmla="*/ 240 h 240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320" h="240">
                    <a:moveTo>
                      <a:pt x="240" y="0"/>
                    </a:moveTo>
                    <a:lnTo>
                      <a:pt x="112" y="88"/>
                    </a:lnTo>
                    <a:lnTo>
                      <a:pt x="88" y="88"/>
                    </a:lnTo>
                    <a:lnTo>
                      <a:pt x="64" y="176"/>
                    </a:lnTo>
                    <a:lnTo>
                      <a:pt x="40" y="176"/>
                    </a:lnTo>
                    <a:lnTo>
                      <a:pt x="24" y="184"/>
                    </a:lnTo>
                    <a:lnTo>
                      <a:pt x="0" y="184"/>
                    </a:lnTo>
                    <a:lnTo>
                      <a:pt x="0" y="200"/>
                    </a:lnTo>
                    <a:lnTo>
                      <a:pt x="8" y="208"/>
                    </a:lnTo>
                    <a:lnTo>
                      <a:pt x="16" y="208"/>
                    </a:lnTo>
                    <a:lnTo>
                      <a:pt x="24" y="224"/>
                    </a:lnTo>
                    <a:lnTo>
                      <a:pt x="40" y="232"/>
                    </a:lnTo>
                    <a:lnTo>
                      <a:pt x="40" y="240"/>
                    </a:lnTo>
                    <a:lnTo>
                      <a:pt x="56" y="240"/>
                    </a:lnTo>
                    <a:lnTo>
                      <a:pt x="64" y="240"/>
                    </a:lnTo>
                    <a:lnTo>
                      <a:pt x="72" y="216"/>
                    </a:lnTo>
                    <a:lnTo>
                      <a:pt x="88" y="200"/>
                    </a:lnTo>
                    <a:lnTo>
                      <a:pt x="120" y="208"/>
                    </a:lnTo>
                    <a:lnTo>
                      <a:pt x="136" y="224"/>
                    </a:lnTo>
                    <a:lnTo>
                      <a:pt x="160" y="224"/>
                    </a:lnTo>
                    <a:lnTo>
                      <a:pt x="176" y="224"/>
                    </a:lnTo>
                    <a:lnTo>
                      <a:pt x="192" y="224"/>
                    </a:lnTo>
                    <a:lnTo>
                      <a:pt x="200" y="208"/>
                    </a:lnTo>
                    <a:lnTo>
                      <a:pt x="240" y="216"/>
                    </a:lnTo>
                    <a:lnTo>
                      <a:pt x="272" y="208"/>
                    </a:lnTo>
                    <a:lnTo>
                      <a:pt x="272" y="176"/>
                    </a:lnTo>
                    <a:lnTo>
                      <a:pt x="312" y="136"/>
                    </a:lnTo>
                    <a:lnTo>
                      <a:pt x="312" y="80"/>
                    </a:lnTo>
                    <a:lnTo>
                      <a:pt x="320" y="64"/>
                    </a:lnTo>
                    <a:lnTo>
                      <a:pt x="304" y="40"/>
                    </a:lnTo>
                    <a:lnTo>
                      <a:pt x="296" y="16"/>
                    </a:lnTo>
                    <a:lnTo>
                      <a:pt x="248" y="0"/>
                    </a:lnTo>
                    <a:lnTo>
                      <a:pt x="240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5429" name="Freeform 313">
                <a:extLst>
                  <a:ext uri="{FF2B5EF4-FFF2-40B4-BE49-F238E27FC236}">
                    <a16:creationId xmlns:a16="http://schemas.microsoft.com/office/drawing/2014/main" id="{FF989A81-9CF2-55B2-29ED-A8609701891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447598" y="2387246"/>
                <a:ext cx="176125" cy="87451"/>
              </a:xfrm>
              <a:custGeom>
                <a:avLst/>
                <a:gdLst>
                  <a:gd name="T0" fmla="*/ 0 w 56"/>
                  <a:gd name="T1" fmla="*/ 2147483647 h 24"/>
                  <a:gd name="T2" fmla="*/ 0 w 56"/>
                  <a:gd name="T3" fmla="*/ 2147483647 h 24"/>
                  <a:gd name="T4" fmla="*/ 2147483647 w 56"/>
                  <a:gd name="T5" fmla="*/ 0 h 24"/>
                  <a:gd name="T6" fmla="*/ 2147483647 w 56"/>
                  <a:gd name="T7" fmla="*/ 2147483647 h 24"/>
                  <a:gd name="T8" fmla="*/ 2147483647 w 56"/>
                  <a:gd name="T9" fmla="*/ 2147483647 h 24"/>
                  <a:gd name="T10" fmla="*/ 2147483647 w 56"/>
                  <a:gd name="T11" fmla="*/ 2147483647 h 24"/>
                  <a:gd name="T12" fmla="*/ 2147483647 w 56"/>
                  <a:gd name="T13" fmla="*/ 2147483647 h 24"/>
                  <a:gd name="T14" fmla="*/ 0 w 56"/>
                  <a:gd name="T15" fmla="*/ 2147483647 h 2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6"/>
                  <a:gd name="T25" fmla="*/ 0 h 24"/>
                  <a:gd name="T26" fmla="*/ 56 w 56"/>
                  <a:gd name="T27" fmla="*/ 24 h 2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6" h="24">
                    <a:moveTo>
                      <a:pt x="0" y="24"/>
                    </a:moveTo>
                    <a:lnTo>
                      <a:pt x="0" y="8"/>
                    </a:lnTo>
                    <a:lnTo>
                      <a:pt x="32" y="0"/>
                    </a:lnTo>
                    <a:lnTo>
                      <a:pt x="56" y="8"/>
                    </a:lnTo>
                    <a:lnTo>
                      <a:pt x="56" y="16"/>
                    </a:lnTo>
                    <a:lnTo>
                      <a:pt x="48" y="24"/>
                    </a:lnTo>
                    <a:lnTo>
                      <a:pt x="32" y="16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5432" name="Freeform 314">
                <a:extLst>
                  <a:ext uri="{FF2B5EF4-FFF2-40B4-BE49-F238E27FC236}">
                    <a16:creationId xmlns:a16="http://schemas.microsoft.com/office/drawing/2014/main" id="{C61C7A37-114B-459B-5093-14674AA59FD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425019" y="2159880"/>
                <a:ext cx="356765" cy="371663"/>
              </a:xfrm>
              <a:custGeom>
                <a:avLst/>
                <a:gdLst>
                  <a:gd name="T0" fmla="*/ 0 w 112"/>
                  <a:gd name="T1" fmla="*/ 2147483647 h 104"/>
                  <a:gd name="T2" fmla="*/ 2147483647 w 112"/>
                  <a:gd name="T3" fmla="*/ 2147483647 h 104"/>
                  <a:gd name="T4" fmla="*/ 2147483647 w 112"/>
                  <a:gd name="T5" fmla="*/ 2147483647 h 104"/>
                  <a:gd name="T6" fmla="*/ 2147483647 w 112"/>
                  <a:gd name="T7" fmla="*/ 2147483647 h 104"/>
                  <a:gd name="T8" fmla="*/ 2147483647 w 112"/>
                  <a:gd name="T9" fmla="*/ 2147483647 h 104"/>
                  <a:gd name="T10" fmla="*/ 2147483647 w 112"/>
                  <a:gd name="T11" fmla="*/ 2147483647 h 104"/>
                  <a:gd name="T12" fmla="*/ 2147483647 w 112"/>
                  <a:gd name="T13" fmla="*/ 2147483647 h 104"/>
                  <a:gd name="T14" fmla="*/ 2147483647 w 112"/>
                  <a:gd name="T15" fmla="*/ 2147483647 h 104"/>
                  <a:gd name="T16" fmla="*/ 0 w 112"/>
                  <a:gd name="T17" fmla="*/ 2147483647 h 104"/>
                  <a:gd name="T18" fmla="*/ 0 w 112"/>
                  <a:gd name="T19" fmla="*/ 2147483647 h 104"/>
                  <a:gd name="T20" fmla="*/ 2147483647 w 112"/>
                  <a:gd name="T21" fmla="*/ 2147483647 h 104"/>
                  <a:gd name="T22" fmla="*/ 2147483647 w 112"/>
                  <a:gd name="T23" fmla="*/ 2147483647 h 104"/>
                  <a:gd name="T24" fmla="*/ 2147483647 w 112"/>
                  <a:gd name="T25" fmla="*/ 0 h 104"/>
                  <a:gd name="T26" fmla="*/ 2147483647 w 112"/>
                  <a:gd name="T27" fmla="*/ 2147483647 h 104"/>
                  <a:gd name="T28" fmla="*/ 2147483647 w 112"/>
                  <a:gd name="T29" fmla="*/ 2147483647 h 104"/>
                  <a:gd name="T30" fmla="*/ 2147483647 w 112"/>
                  <a:gd name="T31" fmla="*/ 2147483647 h 104"/>
                  <a:gd name="T32" fmla="*/ 2147483647 w 112"/>
                  <a:gd name="T33" fmla="*/ 2147483647 h 104"/>
                  <a:gd name="T34" fmla="*/ 2147483647 w 112"/>
                  <a:gd name="T35" fmla="*/ 2147483647 h 104"/>
                  <a:gd name="T36" fmla="*/ 2147483647 w 112"/>
                  <a:gd name="T37" fmla="*/ 2147483647 h 104"/>
                  <a:gd name="T38" fmla="*/ 2147483647 w 112"/>
                  <a:gd name="T39" fmla="*/ 2147483647 h 104"/>
                  <a:gd name="T40" fmla="*/ 2147483647 w 112"/>
                  <a:gd name="T41" fmla="*/ 2147483647 h 104"/>
                  <a:gd name="T42" fmla="*/ 2147483647 w 112"/>
                  <a:gd name="T43" fmla="*/ 2147483647 h 104"/>
                  <a:gd name="T44" fmla="*/ 2147483647 w 112"/>
                  <a:gd name="T45" fmla="*/ 2147483647 h 104"/>
                  <a:gd name="T46" fmla="*/ 2147483647 w 112"/>
                  <a:gd name="T47" fmla="*/ 2147483647 h 104"/>
                  <a:gd name="T48" fmla="*/ 2147483647 w 112"/>
                  <a:gd name="T49" fmla="*/ 2147483647 h 104"/>
                  <a:gd name="T50" fmla="*/ 2147483647 w 112"/>
                  <a:gd name="T51" fmla="*/ 2147483647 h 104"/>
                  <a:gd name="T52" fmla="*/ 0 w 112"/>
                  <a:gd name="T53" fmla="*/ 2147483647 h 104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112"/>
                  <a:gd name="T82" fmla="*/ 0 h 104"/>
                  <a:gd name="T83" fmla="*/ 112 w 112"/>
                  <a:gd name="T84" fmla="*/ 104 h 104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112" h="104">
                    <a:moveTo>
                      <a:pt x="0" y="96"/>
                    </a:moveTo>
                    <a:lnTo>
                      <a:pt x="8" y="88"/>
                    </a:lnTo>
                    <a:lnTo>
                      <a:pt x="40" y="80"/>
                    </a:lnTo>
                    <a:lnTo>
                      <a:pt x="56" y="88"/>
                    </a:lnTo>
                    <a:lnTo>
                      <a:pt x="64" y="80"/>
                    </a:lnTo>
                    <a:lnTo>
                      <a:pt x="64" y="72"/>
                    </a:lnTo>
                    <a:lnTo>
                      <a:pt x="40" y="64"/>
                    </a:lnTo>
                    <a:lnTo>
                      <a:pt x="8" y="72"/>
                    </a:lnTo>
                    <a:lnTo>
                      <a:pt x="0" y="64"/>
                    </a:lnTo>
                    <a:lnTo>
                      <a:pt x="0" y="48"/>
                    </a:lnTo>
                    <a:lnTo>
                      <a:pt x="8" y="32"/>
                    </a:lnTo>
                    <a:lnTo>
                      <a:pt x="16" y="8"/>
                    </a:lnTo>
                    <a:lnTo>
                      <a:pt x="24" y="0"/>
                    </a:lnTo>
                    <a:lnTo>
                      <a:pt x="48" y="8"/>
                    </a:lnTo>
                    <a:lnTo>
                      <a:pt x="64" y="16"/>
                    </a:lnTo>
                    <a:lnTo>
                      <a:pt x="72" y="24"/>
                    </a:lnTo>
                    <a:lnTo>
                      <a:pt x="96" y="48"/>
                    </a:lnTo>
                    <a:lnTo>
                      <a:pt x="104" y="80"/>
                    </a:lnTo>
                    <a:lnTo>
                      <a:pt x="112" y="88"/>
                    </a:lnTo>
                    <a:lnTo>
                      <a:pt x="112" y="104"/>
                    </a:lnTo>
                    <a:lnTo>
                      <a:pt x="80" y="96"/>
                    </a:lnTo>
                    <a:lnTo>
                      <a:pt x="64" y="96"/>
                    </a:lnTo>
                    <a:lnTo>
                      <a:pt x="32" y="96"/>
                    </a:lnTo>
                    <a:lnTo>
                      <a:pt x="8" y="104"/>
                    </a:lnTo>
                    <a:lnTo>
                      <a:pt x="8" y="96"/>
                    </a:lnTo>
                    <a:lnTo>
                      <a:pt x="8" y="88"/>
                    </a:lnTo>
                    <a:lnTo>
                      <a:pt x="0" y="96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5435" name="Freeform 315">
                <a:extLst>
                  <a:ext uri="{FF2B5EF4-FFF2-40B4-BE49-F238E27FC236}">
                    <a16:creationId xmlns:a16="http://schemas.microsoft.com/office/drawing/2014/main" id="{2C6E0628-FBFE-10B4-1558-9433512738E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447598" y="2500932"/>
                <a:ext cx="176125" cy="109314"/>
              </a:xfrm>
              <a:custGeom>
                <a:avLst/>
                <a:gdLst>
                  <a:gd name="T0" fmla="*/ 2147483647 w 56"/>
                  <a:gd name="T1" fmla="*/ 2147483647 h 32"/>
                  <a:gd name="T2" fmla="*/ 2147483647 w 56"/>
                  <a:gd name="T3" fmla="*/ 2147483647 h 32"/>
                  <a:gd name="T4" fmla="*/ 2147483647 w 56"/>
                  <a:gd name="T5" fmla="*/ 2147483647 h 32"/>
                  <a:gd name="T6" fmla="*/ 0 w 56"/>
                  <a:gd name="T7" fmla="*/ 2147483647 h 32"/>
                  <a:gd name="T8" fmla="*/ 2147483647 w 56"/>
                  <a:gd name="T9" fmla="*/ 0 h 32"/>
                  <a:gd name="T10" fmla="*/ 2147483647 w 56"/>
                  <a:gd name="T11" fmla="*/ 0 h 32"/>
                  <a:gd name="T12" fmla="*/ 2147483647 w 56"/>
                  <a:gd name="T13" fmla="*/ 2147483647 h 32"/>
                  <a:gd name="T14" fmla="*/ 2147483647 w 56"/>
                  <a:gd name="T15" fmla="*/ 2147483647 h 32"/>
                  <a:gd name="T16" fmla="*/ 2147483647 w 56"/>
                  <a:gd name="T17" fmla="*/ 2147483647 h 3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6"/>
                  <a:gd name="T28" fmla="*/ 0 h 32"/>
                  <a:gd name="T29" fmla="*/ 56 w 56"/>
                  <a:gd name="T30" fmla="*/ 32 h 3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6" h="32">
                    <a:moveTo>
                      <a:pt x="24" y="32"/>
                    </a:moveTo>
                    <a:lnTo>
                      <a:pt x="24" y="16"/>
                    </a:lnTo>
                    <a:lnTo>
                      <a:pt x="8" y="8"/>
                    </a:lnTo>
                    <a:lnTo>
                      <a:pt x="0" y="8"/>
                    </a:lnTo>
                    <a:lnTo>
                      <a:pt x="24" y="0"/>
                    </a:lnTo>
                    <a:lnTo>
                      <a:pt x="56" y="0"/>
                    </a:lnTo>
                    <a:lnTo>
                      <a:pt x="56" y="24"/>
                    </a:lnTo>
                    <a:lnTo>
                      <a:pt x="40" y="24"/>
                    </a:lnTo>
                    <a:lnTo>
                      <a:pt x="24" y="32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5436" name="Freeform 316">
                <a:extLst>
                  <a:ext uri="{FF2B5EF4-FFF2-40B4-BE49-F238E27FC236}">
                    <a16:creationId xmlns:a16="http://schemas.microsoft.com/office/drawing/2014/main" id="{1D806E4A-85F4-4100-6B88-A1D66AF5197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524371" y="2500932"/>
                <a:ext cx="483219" cy="362920"/>
              </a:xfrm>
              <a:custGeom>
                <a:avLst/>
                <a:gdLst>
                  <a:gd name="T0" fmla="*/ 2147483647 w 152"/>
                  <a:gd name="T1" fmla="*/ 2147483647 h 104"/>
                  <a:gd name="T2" fmla="*/ 2147483647 w 152"/>
                  <a:gd name="T3" fmla="*/ 2147483647 h 104"/>
                  <a:gd name="T4" fmla="*/ 0 w 152"/>
                  <a:gd name="T5" fmla="*/ 2147483647 h 104"/>
                  <a:gd name="T6" fmla="*/ 2147483647 w 152"/>
                  <a:gd name="T7" fmla="*/ 2147483647 h 104"/>
                  <a:gd name="T8" fmla="*/ 2147483647 w 152"/>
                  <a:gd name="T9" fmla="*/ 2147483647 h 104"/>
                  <a:gd name="T10" fmla="*/ 2147483647 w 152"/>
                  <a:gd name="T11" fmla="*/ 0 h 104"/>
                  <a:gd name="T12" fmla="*/ 2147483647 w 152"/>
                  <a:gd name="T13" fmla="*/ 0 h 104"/>
                  <a:gd name="T14" fmla="*/ 2147483647 w 152"/>
                  <a:gd name="T15" fmla="*/ 2147483647 h 104"/>
                  <a:gd name="T16" fmla="*/ 2147483647 w 152"/>
                  <a:gd name="T17" fmla="*/ 2147483647 h 104"/>
                  <a:gd name="T18" fmla="*/ 2147483647 w 152"/>
                  <a:gd name="T19" fmla="*/ 2147483647 h 104"/>
                  <a:gd name="T20" fmla="*/ 2147483647 w 152"/>
                  <a:gd name="T21" fmla="*/ 2147483647 h 104"/>
                  <a:gd name="T22" fmla="*/ 2147483647 w 152"/>
                  <a:gd name="T23" fmla="*/ 2147483647 h 104"/>
                  <a:gd name="T24" fmla="*/ 2147483647 w 152"/>
                  <a:gd name="T25" fmla="*/ 2147483647 h 104"/>
                  <a:gd name="T26" fmla="*/ 2147483647 w 152"/>
                  <a:gd name="T27" fmla="*/ 2147483647 h 104"/>
                  <a:gd name="T28" fmla="*/ 2147483647 w 152"/>
                  <a:gd name="T29" fmla="*/ 2147483647 h 104"/>
                  <a:gd name="T30" fmla="*/ 2147483647 w 152"/>
                  <a:gd name="T31" fmla="*/ 2147483647 h 104"/>
                  <a:gd name="T32" fmla="*/ 2147483647 w 152"/>
                  <a:gd name="T33" fmla="*/ 2147483647 h 104"/>
                  <a:gd name="T34" fmla="*/ 2147483647 w 152"/>
                  <a:gd name="T35" fmla="*/ 2147483647 h 104"/>
                  <a:gd name="T36" fmla="*/ 2147483647 w 152"/>
                  <a:gd name="T37" fmla="*/ 2147483647 h 104"/>
                  <a:gd name="T38" fmla="*/ 2147483647 w 152"/>
                  <a:gd name="T39" fmla="*/ 2147483647 h 104"/>
                  <a:gd name="T40" fmla="*/ 2147483647 w 152"/>
                  <a:gd name="T41" fmla="*/ 2147483647 h 104"/>
                  <a:gd name="T42" fmla="*/ 2147483647 w 152"/>
                  <a:gd name="T43" fmla="*/ 2147483647 h 104"/>
                  <a:gd name="T44" fmla="*/ 2147483647 w 152"/>
                  <a:gd name="T45" fmla="*/ 2147483647 h 104"/>
                  <a:gd name="T46" fmla="*/ 2147483647 w 152"/>
                  <a:gd name="T47" fmla="*/ 2147483647 h 104"/>
                  <a:gd name="T48" fmla="*/ 2147483647 w 152"/>
                  <a:gd name="T49" fmla="*/ 2147483647 h 104"/>
                  <a:gd name="T50" fmla="*/ 2147483647 w 152"/>
                  <a:gd name="T51" fmla="*/ 2147483647 h 104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52"/>
                  <a:gd name="T79" fmla="*/ 0 h 104"/>
                  <a:gd name="T80" fmla="*/ 152 w 152"/>
                  <a:gd name="T81" fmla="*/ 104 h 104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52" h="104">
                    <a:moveTo>
                      <a:pt x="40" y="64"/>
                    </a:moveTo>
                    <a:lnTo>
                      <a:pt x="8" y="32"/>
                    </a:lnTo>
                    <a:lnTo>
                      <a:pt x="0" y="32"/>
                    </a:lnTo>
                    <a:lnTo>
                      <a:pt x="16" y="24"/>
                    </a:lnTo>
                    <a:lnTo>
                      <a:pt x="32" y="24"/>
                    </a:lnTo>
                    <a:lnTo>
                      <a:pt x="32" y="0"/>
                    </a:lnTo>
                    <a:lnTo>
                      <a:pt x="48" y="0"/>
                    </a:lnTo>
                    <a:lnTo>
                      <a:pt x="80" y="8"/>
                    </a:lnTo>
                    <a:lnTo>
                      <a:pt x="104" y="16"/>
                    </a:lnTo>
                    <a:lnTo>
                      <a:pt x="120" y="16"/>
                    </a:lnTo>
                    <a:lnTo>
                      <a:pt x="128" y="8"/>
                    </a:lnTo>
                    <a:lnTo>
                      <a:pt x="136" y="16"/>
                    </a:lnTo>
                    <a:lnTo>
                      <a:pt x="152" y="48"/>
                    </a:lnTo>
                    <a:lnTo>
                      <a:pt x="152" y="80"/>
                    </a:lnTo>
                    <a:lnTo>
                      <a:pt x="144" y="96"/>
                    </a:lnTo>
                    <a:lnTo>
                      <a:pt x="144" y="104"/>
                    </a:lnTo>
                    <a:lnTo>
                      <a:pt x="120" y="104"/>
                    </a:lnTo>
                    <a:lnTo>
                      <a:pt x="120" y="96"/>
                    </a:lnTo>
                    <a:lnTo>
                      <a:pt x="104" y="88"/>
                    </a:lnTo>
                    <a:lnTo>
                      <a:pt x="96" y="80"/>
                    </a:lnTo>
                    <a:lnTo>
                      <a:pt x="88" y="88"/>
                    </a:lnTo>
                    <a:lnTo>
                      <a:pt x="88" y="80"/>
                    </a:lnTo>
                    <a:lnTo>
                      <a:pt x="88" y="64"/>
                    </a:lnTo>
                    <a:lnTo>
                      <a:pt x="80" y="56"/>
                    </a:lnTo>
                    <a:lnTo>
                      <a:pt x="56" y="56"/>
                    </a:lnTo>
                    <a:lnTo>
                      <a:pt x="40" y="64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5437" name="Freeform 317">
                <a:extLst>
                  <a:ext uri="{FF2B5EF4-FFF2-40B4-BE49-F238E27FC236}">
                    <a16:creationId xmlns:a16="http://schemas.microsoft.com/office/drawing/2014/main" id="{16EBDCE9-5E8F-9552-4DD1-F628371A076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655337" y="2693324"/>
                <a:ext cx="203222" cy="222998"/>
              </a:xfrm>
              <a:custGeom>
                <a:avLst/>
                <a:gdLst>
                  <a:gd name="T0" fmla="*/ 2147483647 w 64"/>
                  <a:gd name="T1" fmla="*/ 2147483647 h 64"/>
                  <a:gd name="T2" fmla="*/ 2147483647 w 64"/>
                  <a:gd name="T3" fmla="*/ 2147483647 h 64"/>
                  <a:gd name="T4" fmla="*/ 2147483647 w 64"/>
                  <a:gd name="T5" fmla="*/ 2147483647 h 64"/>
                  <a:gd name="T6" fmla="*/ 0 w 64"/>
                  <a:gd name="T7" fmla="*/ 2147483647 h 64"/>
                  <a:gd name="T8" fmla="*/ 2147483647 w 64"/>
                  <a:gd name="T9" fmla="*/ 0 h 64"/>
                  <a:gd name="T10" fmla="*/ 2147483647 w 64"/>
                  <a:gd name="T11" fmla="*/ 0 h 64"/>
                  <a:gd name="T12" fmla="*/ 2147483647 w 64"/>
                  <a:gd name="T13" fmla="*/ 2147483647 h 64"/>
                  <a:gd name="T14" fmla="*/ 2147483647 w 64"/>
                  <a:gd name="T15" fmla="*/ 2147483647 h 64"/>
                  <a:gd name="T16" fmla="*/ 2147483647 w 64"/>
                  <a:gd name="T17" fmla="*/ 2147483647 h 64"/>
                  <a:gd name="T18" fmla="*/ 2147483647 w 64"/>
                  <a:gd name="T19" fmla="*/ 2147483647 h 64"/>
                  <a:gd name="T20" fmla="*/ 2147483647 w 64"/>
                  <a:gd name="T21" fmla="*/ 2147483647 h 64"/>
                  <a:gd name="T22" fmla="*/ 2147483647 w 64"/>
                  <a:gd name="T23" fmla="*/ 2147483647 h 6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64"/>
                  <a:gd name="T37" fmla="*/ 0 h 64"/>
                  <a:gd name="T38" fmla="*/ 64 w 64"/>
                  <a:gd name="T39" fmla="*/ 64 h 64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64" h="64">
                    <a:moveTo>
                      <a:pt x="40" y="64"/>
                    </a:moveTo>
                    <a:lnTo>
                      <a:pt x="16" y="48"/>
                    </a:lnTo>
                    <a:lnTo>
                      <a:pt x="8" y="32"/>
                    </a:lnTo>
                    <a:lnTo>
                      <a:pt x="0" y="8"/>
                    </a:lnTo>
                    <a:lnTo>
                      <a:pt x="16" y="0"/>
                    </a:lnTo>
                    <a:lnTo>
                      <a:pt x="40" y="0"/>
                    </a:lnTo>
                    <a:lnTo>
                      <a:pt x="48" y="8"/>
                    </a:lnTo>
                    <a:lnTo>
                      <a:pt x="48" y="24"/>
                    </a:lnTo>
                    <a:lnTo>
                      <a:pt x="48" y="32"/>
                    </a:lnTo>
                    <a:lnTo>
                      <a:pt x="56" y="24"/>
                    </a:lnTo>
                    <a:lnTo>
                      <a:pt x="64" y="32"/>
                    </a:lnTo>
                    <a:lnTo>
                      <a:pt x="40" y="64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5438" name="Freeform 318">
                <a:extLst>
                  <a:ext uri="{FF2B5EF4-FFF2-40B4-BE49-F238E27FC236}">
                    <a16:creationId xmlns:a16="http://schemas.microsoft.com/office/drawing/2014/main" id="{30288BBA-C765-E5FE-642B-AAEE2A24555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694028" y="2387246"/>
                <a:ext cx="758696" cy="699602"/>
              </a:xfrm>
              <a:custGeom>
                <a:avLst/>
                <a:gdLst>
                  <a:gd name="T0" fmla="*/ 2147483647 w 240"/>
                  <a:gd name="T1" fmla="*/ 2147483647 h 200"/>
                  <a:gd name="T2" fmla="*/ 2147483647 w 240"/>
                  <a:gd name="T3" fmla="*/ 2147483647 h 200"/>
                  <a:gd name="T4" fmla="*/ 2147483647 w 240"/>
                  <a:gd name="T5" fmla="*/ 2147483647 h 200"/>
                  <a:gd name="T6" fmla="*/ 2147483647 w 240"/>
                  <a:gd name="T7" fmla="*/ 2147483647 h 200"/>
                  <a:gd name="T8" fmla="*/ 2147483647 w 240"/>
                  <a:gd name="T9" fmla="*/ 2147483647 h 200"/>
                  <a:gd name="T10" fmla="*/ 2147483647 w 240"/>
                  <a:gd name="T11" fmla="*/ 2147483647 h 200"/>
                  <a:gd name="T12" fmla="*/ 2147483647 w 240"/>
                  <a:gd name="T13" fmla="*/ 2147483647 h 200"/>
                  <a:gd name="T14" fmla="*/ 2147483647 w 240"/>
                  <a:gd name="T15" fmla="*/ 2147483647 h 200"/>
                  <a:gd name="T16" fmla="*/ 2147483647 w 240"/>
                  <a:gd name="T17" fmla="*/ 2147483647 h 200"/>
                  <a:gd name="T18" fmla="*/ 2147483647 w 240"/>
                  <a:gd name="T19" fmla="*/ 2147483647 h 200"/>
                  <a:gd name="T20" fmla="*/ 2147483647 w 240"/>
                  <a:gd name="T21" fmla="*/ 2147483647 h 200"/>
                  <a:gd name="T22" fmla="*/ 2147483647 w 240"/>
                  <a:gd name="T23" fmla="*/ 2147483647 h 200"/>
                  <a:gd name="T24" fmla="*/ 2147483647 w 240"/>
                  <a:gd name="T25" fmla="*/ 2147483647 h 200"/>
                  <a:gd name="T26" fmla="*/ 2147483647 w 240"/>
                  <a:gd name="T27" fmla="*/ 2147483647 h 200"/>
                  <a:gd name="T28" fmla="*/ 2147483647 w 240"/>
                  <a:gd name="T29" fmla="*/ 2147483647 h 200"/>
                  <a:gd name="T30" fmla="*/ 2147483647 w 240"/>
                  <a:gd name="T31" fmla="*/ 2147483647 h 200"/>
                  <a:gd name="T32" fmla="*/ 2147483647 w 240"/>
                  <a:gd name="T33" fmla="*/ 2147483647 h 200"/>
                  <a:gd name="T34" fmla="*/ 2147483647 w 240"/>
                  <a:gd name="T35" fmla="*/ 2147483647 h 200"/>
                  <a:gd name="T36" fmla="*/ 0 w 240"/>
                  <a:gd name="T37" fmla="*/ 2147483647 h 200"/>
                  <a:gd name="T38" fmla="*/ 2147483647 w 240"/>
                  <a:gd name="T39" fmla="*/ 2147483647 h 200"/>
                  <a:gd name="T40" fmla="*/ 2147483647 w 240"/>
                  <a:gd name="T41" fmla="*/ 2147483647 h 200"/>
                  <a:gd name="T42" fmla="*/ 2147483647 w 240"/>
                  <a:gd name="T43" fmla="*/ 2147483647 h 200"/>
                  <a:gd name="T44" fmla="*/ 2147483647 w 240"/>
                  <a:gd name="T45" fmla="*/ 2147483647 h 200"/>
                  <a:gd name="T46" fmla="*/ 2147483647 w 240"/>
                  <a:gd name="T47" fmla="*/ 2147483647 h 200"/>
                  <a:gd name="T48" fmla="*/ 2147483647 w 240"/>
                  <a:gd name="T49" fmla="*/ 0 h 200"/>
                  <a:gd name="T50" fmla="*/ 2147483647 w 240"/>
                  <a:gd name="T51" fmla="*/ 2147483647 h 200"/>
                  <a:gd name="T52" fmla="*/ 2147483647 w 240"/>
                  <a:gd name="T53" fmla="*/ 2147483647 h 200"/>
                  <a:gd name="T54" fmla="*/ 2147483647 w 240"/>
                  <a:gd name="T55" fmla="*/ 2147483647 h 200"/>
                  <a:gd name="T56" fmla="*/ 2147483647 w 240"/>
                  <a:gd name="T57" fmla="*/ 2147483647 h 200"/>
                  <a:gd name="T58" fmla="*/ 2147483647 w 240"/>
                  <a:gd name="T59" fmla="*/ 2147483647 h 200"/>
                  <a:gd name="T60" fmla="*/ 2147483647 w 240"/>
                  <a:gd name="T61" fmla="*/ 2147483647 h 200"/>
                  <a:gd name="T62" fmla="*/ 2147483647 w 240"/>
                  <a:gd name="T63" fmla="*/ 2147483647 h 200"/>
                  <a:gd name="T64" fmla="*/ 2147483647 w 240"/>
                  <a:gd name="T65" fmla="*/ 2147483647 h 20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40"/>
                  <a:gd name="T100" fmla="*/ 0 h 200"/>
                  <a:gd name="T101" fmla="*/ 240 w 240"/>
                  <a:gd name="T102" fmla="*/ 200 h 200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40" h="200">
                    <a:moveTo>
                      <a:pt x="224" y="8"/>
                    </a:moveTo>
                    <a:lnTo>
                      <a:pt x="232" y="16"/>
                    </a:lnTo>
                    <a:lnTo>
                      <a:pt x="232" y="24"/>
                    </a:lnTo>
                    <a:lnTo>
                      <a:pt x="240" y="56"/>
                    </a:lnTo>
                    <a:lnTo>
                      <a:pt x="224" y="64"/>
                    </a:lnTo>
                    <a:lnTo>
                      <a:pt x="208" y="96"/>
                    </a:lnTo>
                    <a:lnTo>
                      <a:pt x="200" y="104"/>
                    </a:lnTo>
                    <a:lnTo>
                      <a:pt x="192" y="144"/>
                    </a:lnTo>
                    <a:lnTo>
                      <a:pt x="176" y="152"/>
                    </a:lnTo>
                    <a:lnTo>
                      <a:pt x="168" y="144"/>
                    </a:lnTo>
                    <a:lnTo>
                      <a:pt x="152" y="144"/>
                    </a:lnTo>
                    <a:lnTo>
                      <a:pt x="128" y="176"/>
                    </a:lnTo>
                    <a:lnTo>
                      <a:pt x="120" y="200"/>
                    </a:lnTo>
                    <a:lnTo>
                      <a:pt x="72" y="200"/>
                    </a:lnTo>
                    <a:lnTo>
                      <a:pt x="64" y="192"/>
                    </a:lnTo>
                    <a:lnTo>
                      <a:pt x="56" y="184"/>
                    </a:lnTo>
                    <a:lnTo>
                      <a:pt x="32" y="160"/>
                    </a:lnTo>
                    <a:lnTo>
                      <a:pt x="8" y="160"/>
                    </a:lnTo>
                    <a:lnTo>
                      <a:pt x="0" y="104"/>
                    </a:lnTo>
                    <a:lnTo>
                      <a:pt x="16" y="88"/>
                    </a:lnTo>
                    <a:lnTo>
                      <a:pt x="16" y="64"/>
                    </a:lnTo>
                    <a:lnTo>
                      <a:pt x="8" y="40"/>
                    </a:lnTo>
                    <a:lnTo>
                      <a:pt x="16" y="40"/>
                    </a:lnTo>
                    <a:lnTo>
                      <a:pt x="24" y="16"/>
                    </a:lnTo>
                    <a:lnTo>
                      <a:pt x="40" y="0"/>
                    </a:lnTo>
                    <a:lnTo>
                      <a:pt x="72" y="8"/>
                    </a:lnTo>
                    <a:lnTo>
                      <a:pt x="88" y="24"/>
                    </a:lnTo>
                    <a:lnTo>
                      <a:pt x="112" y="24"/>
                    </a:lnTo>
                    <a:lnTo>
                      <a:pt x="128" y="24"/>
                    </a:lnTo>
                    <a:lnTo>
                      <a:pt x="144" y="24"/>
                    </a:lnTo>
                    <a:lnTo>
                      <a:pt x="152" y="8"/>
                    </a:lnTo>
                    <a:lnTo>
                      <a:pt x="192" y="16"/>
                    </a:lnTo>
                    <a:lnTo>
                      <a:pt x="224" y="8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5439" name="Freeform 319">
                <a:extLst>
                  <a:ext uri="{FF2B5EF4-FFF2-40B4-BE49-F238E27FC236}">
                    <a16:creationId xmlns:a16="http://schemas.microsoft.com/office/drawing/2014/main" id="{3B105904-BF40-94A0-B819-E0DB447838E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567574" y="2531544"/>
                <a:ext cx="180643" cy="411018"/>
              </a:xfrm>
              <a:custGeom>
                <a:avLst/>
                <a:gdLst>
                  <a:gd name="T0" fmla="*/ 0 w 56"/>
                  <a:gd name="T1" fmla="*/ 2147483647 h 120"/>
                  <a:gd name="T2" fmla="*/ 2147483647 w 56"/>
                  <a:gd name="T3" fmla="*/ 2147483647 h 120"/>
                  <a:gd name="T4" fmla="*/ 2147483647 w 56"/>
                  <a:gd name="T5" fmla="*/ 0 h 120"/>
                  <a:gd name="T6" fmla="*/ 2147483647 w 56"/>
                  <a:gd name="T7" fmla="*/ 0 h 120"/>
                  <a:gd name="T8" fmla="*/ 2147483647 w 56"/>
                  <a:gd name="T9" fmla="*/ 2147483647 h 120"/>
                  <a:gd name="T10" fmla="*/ 2147483647 w 56"/>
                  <a:gd name="T11" fmla="*/ 2147483647 h 120"/>
                  <a:gd name="T12" fmla="*/ 2147483647 w 56"/>
                  <a:gd name="T13" fmla="*/ 2147483647 h 120"/>
                  <a:gd name="T14" fmla="*/ 2147483647 w 56"/>
                  <a:gd name="T15" fmla="*/ 2147483647 h 120"/>
                  <a:gd name="T16" fmla="*/ 2147483647 w 56"/>
                  <a:gd name="T17" fmla="*/ 2147483647 h 120"/>
                  <a:gd name="T18" fmla="*/ 2147483647 w 56"/>
                  <a:gd name="T19" fmla="*/ 2147483647 h 120"/>
                  <a:gd name="T20" fmla="*/ 2147483647 w 56"/>
                  <a:gd name="T21" fmla="*/ 2147483647 h 120"/>
                  <a:gd name="T22" fmla="*/ 0 w 56"/>
                  <a:gd name="T23" fmla="*/ 2147483647 h 120"/>
                  <a:gd name="T24" fmla="*/ 0 w 56"/>
                  <a:gd name="T25" fmla="*/ 2147483647 h 120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6"/>
                  <a:gd name="T40" fmla="*/ 0 h 120"/>
                  <a:gd name="T41" fmla="*/ 56 w 56"/>
                  <a:gd name="T42" fmla="*/ 120 h 120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6" h="120">
                    <a:moveTo>
                      <a:pt x="0" y="24"/>
                    </a:moveTo>
                    <a:lnTo>
                      <a:pt x="32" y="8"/>
                    </a:lnTo>
                    <a:lnTo>
                      <a:pt x="32" y="0"/>
                    </a:lnTo>
                    <a:lnTo>
                      <a:pt x="48" y="0"/>
                    </a:lnTo>
                    <a:lnTo>
                      <a:pt x="56" y="24"/>
                    </a:lnTo>
                    <a:lnTo>
                      <a:pt x="56" y="48"/>
                    </a:lnTo>
                    <a:lnTo>
                      <a:pt x="40" y="64"/>
                    </a:lnTo>
                    <a:lnTo>
                      <a:pt x="48" y="120"/>
                    </a:lnTo>
                    <a:lnTo>
                      <a:pt x="24" y="120"/>
                    </a:lnTo>
                    <a:lnTo>
                      <a:pt x="24" y="64"/>
                    </a:lnTo>
                    <a:lnTo>
                      <a:pt x="8" y="48"/>
                    </a:lnTo>
                    <a:lnTo>
                      <a:pt x="0" y="40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4113" name="Freeform 320">
                <a:extLst>
                  <a:ext uri="{FF2B5EF4-FFF2-40B4-BE49-F238E27FC236}">
                    <a16:creationId xmlns:a16="http://schemas.microsoft.com/office/drawing/2014/main" id="{4FD62129-4D31-C6F7-15CE-4C9773E43BD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517901" y="2610248"/>
                <a:ext cx="121936" cy="362917"/>
              </a:xfrm>
              <a:custGeom>
                <a:avLst/>
                <a:gdLst>
                  <a:gd name="T0" fmla="*/ 2147483647 w 40"/>
                  <a:gd name="T1" fmla="*/ 0 h 104"/>
                  <a:gd name="T2" fmla="*/ 2147483647 w 40"/>
                  <a:gd name="T3" fmla="*/ 2147483647 h 104"/>
                  <a:gd name="T4" fmla="*/ 2147483647 w 40"/>
                  <a:gd name="T5" fmla="*/ 2147483647 h 104"/>
                  <a:gd name="T6" fmla="*/ 2147483647 w 40"/>
                  <a:gd name="T7" fmla="*/ 2147483647 h 104"/>
                  <a:gd name="T8" fmla="*/ 2147483647 w 40"/>
                  <a:gd name="T9" fmla="*/ 2147483647 h 104"/>
                  <a:gd name="T10" fmla="*/ 2147483647 w 40"/>
                  <a:gd name="T11" fmla="*/ 2147483647 h 104"/>
                  <a:gd name="T12" fmla="*/ 2147483647 w 40"/>
                  <a:gd name="T13" fmla="*/ 2147483647 h 104"/>
                  <a:gd name="T14" fmla="*/ 2147483647 w 40"/>
                  <a:gd name="T15" fmla="*/ 2147483647 h 104"/>
                  <a:gd name="T16" fmla="*/ 2147483647 w 40"/>
                  <a:gd name="T17" fmla="*/ 2147483647 h 104"/>
                  <a:gd name="T18" fmla="*/ 2147483647 w 40"/>
                  <a:gd name="T19" fmla="*/ 2147483647 h 104"/>
                  <a:gd name="T20" fmla="*/ 2147483647 w 40"/>
                  <a:gd name="T21" fmla="*/ 2147483647 h 104"/>
                  <a:gd name="T22" fmla="*/ 0 w 40"/>
                  <a:gd name="T23" fmla="*/ 0 h 104"/>
                  <a:gd name="T24" fmla="*/ 2147483647 w 40"/>
                  <a:gd name="T25" fmla="*/ 0 h 10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40"/>
                  <a:gd name="T40" fmla="*/ 0 h 104"/>
                  <a:gd name="T41" fmla="*/ 40 w 40"/>
                  <a:gd name="T42" fmla="*/ 104 h 10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40" h="104">
                    <a:moveTo>
                      <a:pt x="16" y="0"/>
                    </a:moveTo>
                    <a:lnTo>
                      <a:pt x="16" y="16"/>
                    </a:lnTo>
                    <a:lnTo>
                      <a:pt x="24" y="24"/>
                    </a:lnTo>
                    <a:lnTo>
                      <a:pt x="40" y="40"/>
                    </a:lnTo>
                    <a:lnTo>
                      <a:pt x="40" y="96"/>
                    </a:lnTo>
                    <a:lnTo>
                      <a:pt x="16" y="104"/>
                    </a:lnTo>
                    <a:lnTo>
                      <a:pt x="16" y="88"/>
                    </a:lnTo>
                    <a:lnTo>
                      <a:pt x="16" y="80"/>
                    </a:lnTo>
                    <a:lnTo>
                      <a:pt x="16" y="72"/>
                    </a:lnTo>
                    <a:lnTo>
                      <a:pt x="8" y="64"/>
                    </a:lnTo>
                    <a:lnTo>
                      <a:pt x="8" y="24"/>
                    </a:lnTo>
                    <a:lnTo>
                      <a:pt x="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4140" name="Freeform 321">
                <a:extLst>
                  <a:ext uri="{FF2B5EF4-FFF2-40B4-BE49-F238E27FC236}">
                    <a16:creationId xmlns:a16="http://schemas.microsoft.com/office/drawing/2014/main" id="{F6715684-9FBF-E9DA-8C18-F4EDF4A3B65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314676" y="2584015"/>
                <a:ext cx="252898" cy="472231"/>
              </a:xfrm>
              <a:custGeom>
                <a:avLst/>
                <a:gdLst>
                  <a:gd name="T0" fmla="*/ 2147483647 w 80"/>
                  <a:gd name="T1" fmla="*/ 2147483647 h 136"/>
                  <a:gd name="T2" fmla="*/ 2147483647 w 80"/>
                  <a:gd name="T3" fmla="*/ 2147483647 h 136"/>
                  <a:gd name="T4" fmla="*/ 2147483647 w 80"/>
                  <a:gd name="T5" fmla="*/ 2147483647 h 136"/>
                  <a:gd name="T6" fmla="*/ 2147483647 w 80"/>
                  <a:gd name="T7" fmla="*/ 2147483647 h 136"/>
                  <a:gd name="T8" fmla="*/ 2147483647 w 80"/>
                  <a:gd name="T9" fmla="*/ 2147483647 h 136"/>
                  <a:gd name="T10" fmla="*/ 2147483647 w 80"/>
                  <a:gd name="T11" fmla="*/ 2147483647 h 136"/>
                  <a:gd name="T12" fmla="*/ 2147483647 w 80"/>
                  <a:gd name="T13" fmla="*/ 2147483647 h 136"/>
                  <a:gd name="T14" fmla="*/ 2147483647 w 80"/>
                  <a:gd name="T15" fmla="*/ 2147483647 h 136"/>
                  <a:gd name="T16" fmla="*/ 2147483647 w 80"/>
                  <a:gd name="T17" fmla="*/ 2147483647 h 136"/>
                  <a:gd name="T18" fmla="*/ 2147483647 w 80"/>
                  <a:gd name="T19" fmla="*/ 2147483647 h 136"/>
                  <a:gd name="T20" fmla="*/ 2147483647 w 80"/>
                  <a:gd name="T21" fmla="*/ 2147483647 h 136"/>
                  <a:gd name="T22" fmla="*/ 0 w 80"/>
                  <a:gd name="T23" fmla="*/ 2147483647 h 136"/>
                  <a:gd name="T24" fmla="*/ 2147483647 w 80"/>
                  <a:gd name="T25" fmla="*/ 2147483647 h 136"/>
                  <a:gd name="T26" fmla="*/ 2147483647 w 80"/>
                  <a:gd name="T27" fmla="*/ 2147483647 h 136"/>
                  <a:gd name="T28" fmla="*/ 2147483647 w 80"/>
                  <a:gd name="T29" fmla="*/ 2147483647 h 136"/>
                  <a:gd name="T30" fmla="*/ 2147483647 w 80"/>
                  <a:gd name="T31" fmla="*/ 0 h 136"/>
                  <a:gd name="T32" fmla="*/ 2147483647 w 80"/>
                  <a:gd name="T33" fmla="*/ 0 h 136"/>
                  <a:gd name="T34" fmla="*/ 2147483647 w 80"/>
                  <a:gd name="T35" fmla="*/ 2147483647 h 136"/>
                  <a:gd name="T36" fmla="*/ 2147483647 w 80"/>
                  <a:gd name="T37" fmla="*/ 0 h 136"/>
                  <a:gd name="T38" fmla="*/ 2147483647 w 80"/>
                  <a:gd name="T39" fmla="*/ 2147483647 h 1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80"/>
                  <a:gd name="T61" fmla="*/ 0 h 136"/>
                  <a:gd name="T62" fmla="*/ 80 w 80"/>
                  <a:gd name="T63" fmla="*/ 136 h 1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80" h="136">
                    <a:moveTo>
                      <a:pt x="64" y="8"/>
                    </a:moveTo>
                    <a:lnTo>
                      <a:pt x="72" y="32"/>
                    </a:lnTo>
                    <a:lnTo>
                      <a:pt x="72" y="72"/>
                    </a:lnTo>
                    <a:lnTo>
                      <a:pt x="80" y="80"/>
                    </a:lnTo>
                    <a:lnTo>
                      <a:pt x="80" y="88"/>
                    </a:lnTo>
                    <a:lnTo>
                      <a:pt x="80" y="96"/>
                    </a:lnTo>
                    <a:lnTo>
                      <a:pt x="80" y="112"/>
                    </a:lnTo>
                    <a:lnTo>
                      <a:pt x="64" y="120"/>
                    </a:lnTo>
                    <a:lnTo>
                      <a:pt x="24" y="136"/>
                    </a:lnTo>
                    <a:lnTo>
                      <a:pt x="16" y="128"/>
                    </a:lnTo>
                    <a:lnTo>
                      <a:pt x="8" y="112"/>
                    </a:lnTo>
                    <a:lnTo>
                      <a:pt x="0" y="104"/>
                    </a:lnTo>
                    <a:lnTo>
                      <a:pt x="16" y="72"/>
                    </a:lnTo>
                    <a:lnTo>
                      <a:pt x="16" y="56"/>
                    </a:lnTo>
                    <a:lnTo>
                      <a:pt x="8" y="32"/>
                    </a:lnTo>
                    <a:lnTo>
                      <a:pt x="16" y="0"/>
                    </a:lnTo>
                    <a:lnTo>
                      <a:pt x="32" y="0"/>
                    </a:lnTo>
                    <a:lnTo>
                      <a:pt x="48" y="8"/>
                    </a:lnTo>
                    <a:lnTo>
                      <a:pt x="56" y="0"/>
                    </a:lnTo>
                    <a:lnTo>
                      <a:pt x="64" y="8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4141" name="Freeform 322">
                <a:extLst>
                  <a:ext uri="{FF2B5EF4-FFF2-40B4-BE49-F238E27FC236}">
                    <a16:creationId xmlns:a16="http://schemas.microsoft.com/office/drawing/2014/main" id="{0C3198F0-CC65-9206-1194-F7FC19FE880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980493" y="2610248"/>
                <a:ext cx="379347" cy="476599"/>
              </a:xfrm>
              <a:custGeom>
                <a:avLst/>
                <a:gdLst>
                  <a:gd name="T0" fmla="*/ 2147483647 w 120"/>
                  <a:gd name="T1" fmla="*/ 2147483647 h 136"/>
                  <a:gd name="T2" fmla="*/ 2147483647 w 120"/>
                  <a:gd name="T3" fmla="*/ 2147483647 h 136"/>
                  <a:gd name="T4" fmla="*/ 2147483647 w 120"/>
                  <a:gd name="T5" fmla="*/ 2147483647 h 136"/>
                  <a:gd name="T6" fmla="*/ 2147483647 w 120"/>
                  <a:gd name="T7" fmla="*/ 2147483647 h 136"/>
                  <a:gd name="T8" fmla="*/ 2147483647 w 120"/>
                  <a:gd name="T9" fmla="*/ 2147483647 h 136"/>
                  <a:gd name="T10" fmla="*/ 2147483647 w 120"/>
                  <a:gd name="T11" fmla="*/ 2147483647 h 136"/>
                  <a:gd name="T12" fmla="*/ 2147483647 w 120"/>
                  <a:gd name="T13" fmla="*/ 2147483647 h 136"/>
                  <a:gd name="T14" fmla="*/ 2147483647 w 120"/>
                  <a:gd name="T15" fmla="*/ 2147483647 h 136"/>
                  <a:gd name="T16" fmla="*/ 2147483647 w 120"/>
                  <a:gd name="T17" fmla="*/ 2147483647 h 136"/>
                  <a:gd name="T18" fmla="*/ 2147483647 w 120"/>
                  <a:gd name="T19" fmla="*/ 2147483647 h 136"/>
                  <a:gd name="T20" fmla="*/ 2147483647 w 120"/>
                  <a:gd name="T21" fmla="*/ 0 h 136"/>
                  <a:gd name="T22" fmla="*/ 2147483647 w 120"/>
                  <a:gd name="T23" fmla="*/ 2147483647 h 136"/>
                  <a:gd name="T24" fmla="*/ 2147483647 w 120"/>
                  <a:gd name="T25" fmla="*/ 2147483647 h 136"/>
                  <a:gd name="T26" fmla="*/ 2147483647 w 120"/>
                  <a:gd name="T27" fmla="*/ 2147483647 h 136"/>
                  <a:gd name="T28" fmla="*/ 0 w 120"/>
                  <a:gd name="T29" fmla="*/ 2147483647 h 136"/>
                  <a:gd name="T30" fmla="*/ 0 w 120"/>
                  <a:gd name="T31" fmla="*/ 2147483647 h 136"/>
                  <a:gd name="T32" fmla="*/ 0 w 120"/>
                  <a:gd name="T33" fmla="*/ 2147483647 h 136"/>
                  <a:gd name="T34" fmla="*/ 2147483647 w 120"/>
                  <a:gd name="T35" fmla="*/ 2147483647 h 136"/>
                  <a:gd name="T36" fmla="*/ 2147483647 w 120"/>
                  <a:gd name="T37" fmla="*/ 2147483647 h 136"/>
                  <a:gd name="T38" fmla="*/ 2147483647 w 120"/>
                  <a:gd name="T39" fmla="*/ 2147483647 h 136"/>
                  <a:gd name="T40" fmla="*/ 2147483647 w 120"/>
                  <a:gd name="T41" fmla="*/ 2147483647 h 136"/>
                  <a:gd name="T42" fmla="*/ 2147483647 w 120"/>
                  <a:gd name="T43" fmla="*/ 2147483647 h 136"/>
                  <a:gd name="T44" fmla="*/ 2147483647 w 120"/>
                  <a:gd name="T45" fmla="*/ 2147483647 h 136"/>
                  <a:gd name="T46" fmla="*/ 2147483647 w 120"/>
                  <a:gd name="T47" fmla="*/ 2147483647 h 1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20"/>
                  <a:gd name="T73" fmla="*/ 0 h 136"/>
                  <a:gd name="T74" fmla="*/ 120 w 120"/>
                  <a:gd name="T75" fmla="*/ 136 h 1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20" h="136">
                    <a:moveTo>
                      <a:pt x="120" y="120"/>
                    </a:moveTo>
                    <a:lnTo>
                      <a:pt x="112" y="104"/>
                    </a:lnTo>
                    <a:lnTo>
                      <a:pt x="104" y="96"/>
                    </a:lnTo>
                    <a:lnTo>
                      <a:pt x="120" y="64"/>
                    </a:lnTo>
                    <a:lnTo>
                      <a:pt x="120" y="48"/>
                    </a:lnTo>
                    <a:lnTo>
                      <a:pt x="112" y="24"/>
                    </a:lnTo>
                    <a:lnTo>
                      <a:pt x="88" y="24"/>
                    </a:lnTo>
                    <a:lnTo>
                      <a:pt x="80" y="32"/>
                    </a:lnTo>
                    <a:lnTo>
                      <a:pt x="64" y="16"/>
                    </a:lnTo>
                    <a:lnTo>
                      <a:pt x="48" y="16"/>
                    </a:lnTo>
                    <a:lnTo>
                      <a:pt x="32" y="0"/>
                    </a:lnTo>
                    <a:lnTo>
                      <a:pt x="24" y="16"/>
                    </a:lnTo>
                    <a:lnTo>
                      <a:pt x="8" y="16"/>
                    </a:lnTo>
                    <a:lnTo>
                      <a:pt x="8" y="48"/>
                    </a:lnTo>
                    <a:lnTo>
                      <a:pt x="0" y="64"/>
                    </a:lnTo>
                    <a:lnTo>
                      <a:pt x="0" y="72"/>
                    </a:lnTo>
                    <a:lnTo>
                      <a:pt x="0" y="96"/>
                    </a:lnTo>
                    <a:lnTo>
                      <a:pt x="16" y="104"/>
                    </a:lnTo>
                    <a:lnTo>
                      <a:pt x="16" y="120"/>
                    </a:lnTo>
                    <a:lnTo>
                      <a:pt x="8" y="136"/>
                    </a:lnTo>
                    <a:lnTo>
                      <a:pt x="32" y="136"/>
                    </a:lnTo>
                    <a:lnTo>
                      <a:pt x="64" y="128"/>
                    </a:lnTo>
                    <a:lnTo>
                      <a:pt x="88" y="120"/>
                    </a:lnTo>
                    <a:lnTo>
                      <a:pt x="120" y="120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4142" name="Freeform 323">
                <a:extLst>
                  <a:ext uri="{FF2B5EF4-FFF2-40B4-BE49-F238E27FC236}">
                    <a16:creationId xmlns:a16="http://schemas.microsoft.com/office/drawing/2014/main" id="{9B13FBA0-0AD4-EE6D-C65B-AD284A88F92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073375" y="2444093"/>
                <a:ext cx="460637" cy="804542"/>
              </a:xfrm>
              <a:custGeom>
                <a:avLst/>
                <a:gdLst>
                  <a:gd name="T0" fmla="*/ 0 w 144"/>
                  <a:gd name="T1" fmla="*/ 2147483647 h 232"/>
                  <a:gd name="T2" fmla="*/ 2147483647 w 144"/>
                  <a:gd name="T3" fmla="*/ 2147483647 h 232"/>
                  <a:gd name="T4" fmla="*/ 2147483647 w 144"/>
                  <a:gd name="T5" fmla="*/ 2147483647 h 232"/>
                  <a:gd name="T6" fmla="*/ 2147483647 w 144"/>
                  <a:gd name="T7" fmla="*/ 2147483647 h 232"/>
                  <a:gd name="T8" fmla="*/ 2147483647 w 144"/>
                  <a:gd name="T9" fmla="*/ 2147483647 h 232"/>
                  <a:gd name="T10" fmla="*/ 2147483647 w 144"/>
                  <a:gd name="T11" fmla="*/ 2147483647 h 232"/>
                  <a:gd name="T12" fmla="*/ 2147483647 w 144"/>
                  <a:gd name="T13" fmla="*/ 2147483647 h 232"/>
                  <a:gd name="T14" fmla="*/ 2147483647 w 144"/>
                  <a:gd name="T15" fmla="*/ 2147483647 h 232"/>
                  <a:gd name="T16" fmla="*/ 2147483647 w 144"/>
                  <a:gd name="T17" fmla="*/ 2147483647 h 232"/>
                  <a:gd name="T18" fmla="*/ 2147483647 w 144"/>
                  <a:gd name="T19" fmla="*/ 2147483647 h 232"/>
                  <a:gd name="T20" fmla="*/ 2147483647 w 144"/>
                  <a:gd name="T21" fmla="*/ 2147483647 h 232"/>
                  <a:gd name="T22" fmla="*/ 2147483647 w 144"/>
                  <a:gd name="T23" fmla="*/ 2147483647 h 232"/>
                  <a:gd name="T24" fmla="*/ 2147483647 w 144"/>
                  <a:gd name="T25" fmla="*/ 2147483647 h 232"/>
                  <a:gd name="T26" fmla="*/ 2147483647 w 144"/>
                  <a:gd name="T27" fmla="*/ 2147483647 h 232"/>
                  <a:gd name="T28" fmla="*/ 2147483647 w 144"/>
                  <a:gd name="T29" fmla="*/ 2147483647 h 232"/>
                  <a:gd name="T30" fmla="*/ 2147483647 w 144"/>
                  <a:gd name="T31" fmla="*/ 2147483647 h 232"/>
                  <a:gd name="T32" fmla="*/ 2147483647 w 144"/>
                  <a:gd name="T33" fmla="*/ 2147483647 h 232"/>
                  <a:gd name="T34" fmla="*/ 2147483647 w 144"/>
                  <a:gd name="T35" fmla="*/ 0 h 232"/>
                  <a:gd name="T36" fmla="*/ 2147483647 w 144"/>
                  <a:gd name="T37" fmla="*/ 0 h 232"/>
                  <a:gd name="T38" fmla="*/ 2147483647 w 144"/>
                  <a:gd name="T39" fmla="*/ 2147483647 h 232"/>
                  <a:gd name="T40" fmla="*/ 2147483647 w 144"/>
                  <a:gd name="T41" fmla="*/ 2147483647 h 232"/>
                  <a:gd name="T42" fmla="*/ 2147483647 w 144"/>
                  <a:gd name="T43" fmla="*/ 2147483647 h 232"/>
                  <a:gd name="T44" fmla="*/ 2147483647 w 144"/>
                  <a:gd name="T45" fmla="*/ 2147483647 h 232"/>
                  <a:gd name="T46" fmla="*/ 2147483647 w 144"/>
                  <a:gd name="T47" fmla="*/ 2147483647 h 232"/>
                  <a:gd name="T48" fmla="*/ 2147483647 w 144"/>
                  <a:gd name="T49" fmla="*/ 2147483647 h 232"/>
                  <a:gd name="T50" fmla="*/ 2147483647 w 144"/>
                  <a:gd name="T51" fmla="*/ 2147483647 h 232"/>
                  <a:gd name="T52" fmla="*/ 2147483647 w 144"/>
                  <a:gd name="T53" fmla="*/ 2147483647 h 232"/>
                  <a:gd name="T54" fmla="*/ 2147483647 w 144"/>
                  <a:gd name="T55" fmla="*/ 2147483647 h 232"/>
                  <a:gd name="T56" fmla="*/ 2147483647 w 144"/>
                  <a:gd name="T57" fmla="*/ 2147483647 h 232"/>
                  <a:gd name="T58" fmla="*/ 0 w 144"/>
                  <a:gd name="T59" fmla="*/ 2147483647 h 232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144"/>
                  <a:gd name="T91" fmla="*/ 0 h 232"/>
                  <a:gd name="T92" fmla="*/ 144 w 144"/>
                  <a:gd name="T93" fmla="*/ 232 h 232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144" h="232">
                    <a:moveTo>
                      <a:pt x="0" y="184"/>
                    </a:moveTo>
                    <a:lnTo>
                      <a:pt x="16" y="192"/>
                    </a:lnTo>
                    <a:lnTo>
                      <a:pt x="24" y="208"/>
                    </a:lnTo>
                    <a:lnTo>
                      <a:pt x="24" y="224"/>
                    </a:lnTo>
                    <a:lnTo>
                      <a:pt x="56" y="224"/>
                    </a:lnTo>
                    <a:lnTo>
                      <a:pt x="88" y="224"/>
                    </a:lnTo>
                    <a:lnTo>
                      <a:pt x="120" y="224"/>
                    </a:lnTo>
                    <a:lnTo>
                      <a:pt x="128" y="232"/>
                    </a:lnTo>
                    <a:lnTo>
                      <a:pt x="144" y="216"/>
                    </a:lnTo>
                    <a:lnTo>
                      <a:pt x="120" y="168"/>
                    </a:lnTo>
                    <a:lnTo>
                      <a:pt x="120" y="152"/>
                    </a:lnTo>
                    <a:lnTo>
                      <a:pt x="144" y="120"/>
                    </a:lnTo>
                    <a:lnTo>
                      <a:pt x="128" y="96"/>
                    </a:lnTo>
                    <a:lnTo>
                      <a:pt x="112" y="80"/>
                    </a:lnTo>
                    <a:lnTo>
                      <a:pt x="112" y="72"/>
                    </a:lnTo>
                    <a:lnTo>
                      <a:pt x="136" y="64"/>
                    </a:lnTo>
                    <a:lnTo>
                      <a:pt x="136" y="24"/>
                    </a:lnTo>
                    <a:lnTo>
                      <a:pt x="120" y="0"/>
                    </a:lnTo>
                    <a:lnTo>
                      <a:pt x="112" y="0"/>
                    </a:lnTo>
                    <a:lnTo>
                      <a:pt x="112" y="8"/>
                    </a:lnTo>
                    <a:lnTo>
                      <a:pt x="120" y="40"/>
                    </a:lnTo>
                    <a:lnTo>
                      <a:pt x="104" y="48"/>
                    </a:lnTo>
                    <a:lnTo>
                      <a:pt x="88" y="80"/>
                    </a:lnTo>
                    <a:lnTo>
                      <a:pt x="80" y="88"/>
                    </a:lnTo>
                    <a:lnTo>
                      <a:pt x="72" y="128"/>
                    </a:lnTo>
                    <a:lnTo>
                      <a:pt x="56" y="136"/>
                    </a:lnTo>
                    <a:lnTo>
                      <a:pt x="48" y="128"/>
                    </a:lnTo>
                    <a:lnTo>
                      <a:pt x="32" y="128"/>
                    </a:lnTo>
                    <a:lnTo>
                      <a:pt x="8" y="160"/>
                    </a:lnTo>
                    <a:lnTo>
                      <a:pt x="0" y="184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4143" name="Freeform 324">
                <a:extLst>
                  <a:ext uri="{FF2B5EF4-FFF2-40B4-BE49-F238E27FC236}">
                    <a16:creationId xmlns:a16="http://schemas.microsoft.com/office/drawing/2014/main" id="{AB12C7C1-C488-47F5-2324-461A297950B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452721" y="2531544"/>
                <a:ext cx="839984" cy="664620"/>
              </a:xfrm>
              <a:custGeom>
                <a:avLst/>
                <a:gdLst>
                  <a:gd name="T0" fmla="*/ 2147483647 w 264"/>
                  <a:gd name="T1" fmla="*/ 2147483647 h 192"/>
                  <a:gd name="T2" fmla="*/ 0 w 264"/>
                  <a:gd name="T3" fmla="*/ 2147483647 h 192"/>
                  <a:gd name="T4" fmla="*/ 0 w 264"/>
                  <a:gd name="T5" fmla="*/ 2147483647 h 192"/>
                  <a:gd name="T6" fmla="*/ 2147483647 w 264"/>
                  <a:gd name="T7" fmla="*/ 2147483647 h 192"/>
                  <a:gd name="T8" fmla="*/ 2147483647 w 264"/>
                  <a:gd name="T9" fmla="*/ 2147483647 h 192"/>
                  <a:gd name="T10" fmla="*/ 2147483647 w 264"/>
                  <a:gd name="T11" fmla="*/ 2147483647 h 192"/>
                  <a:gd name="T12" fmla="*/ 2147483647 w 264"/>
                  <a:gd name="T13" fmla="*/ 2147483647 h 192"/>
                  <a:gd name="T14" fmla="*/ 2147483647 w 264"/>
                  <a:gd name="T15" fmla="*/ 2147483647 h 192"/>
                  <a:gd name="T16" fmla="*/ 2147483647 w 264"/>
                  <a:gd name="T17" fmla="*/ 2147483647 h 192"/>
                  <a:gd name="T18" fmla="*/ 2147483647 w 264"/>
                  <a:gd name="T19" fmla="*/ 0 h 192"/>
                  <a:gd name="T20" fmla="*/ 2147483647 w 264"/>
                  <a:gd name="T21" fmla="*/ 2147483647 h 192"/>
                  <a:gd name="T22" fmla="*/ 2147483647 w 264"/>
                  <a:gd name="T23" fmla="*/ 2147483647 h 192"/>
                  <a:gd name="T24" fmla="*/ 2147483647 w 264"/>
                  <a:gd name="T25" fmla="*/ 2147483647 h 192"/>
                  <a:gd name="T26" fmla="*/ 2147483647 w 264"/>
                  <a:gd name="T27" fmla="*/ 2147483647 h 192"/>
                  <a:gd name="T28" fmla="*/ 2147483647 w 264"/>
                  <a:gd name="T29" fmla="*/ 2147483647 h 192"/>
                  <a:gd name="T30" fmla="*/ 2147483647 w 264"/>
                  <a:gd name="T31" fmla="*/ 2147483647 h 192"/>
                  <a:gd name="T32" fmla="*/ 2147483647 w 264"/>
                  <a:gd name="T33" fmla="*/ 2147483647 h 192"/>
                  <a:gd name="T34" fmla="*/ 2147483647 w 264"/>
                  <a:gd name="T35" fmla="*/ 2147483647 h 192"/>
                  <a:gd name="T36" fmla="*/ 2147483647 w 264"/>
                  <a:gd name="T37" fmla="*/ 2147483647 h 192"/>
                  <a:gd name="T38" fmla="*/ 2147483647 w 264"/>
                  <a:gd name="T39" fmla="*/ 2147483647 h 192"/>
                  <a:gd name="T40" fmla="*/ 2147483647 w 264"/>
                  <a:gd name="T41" fmla="*/ 2147483647 h 192"/>
                  <a:gd name="T42" fmla="*/ 2147483647 w 264"/>
                  <a:gd name="T43" fmla="*/ 2147483647 h 192"/>
                  <a:gd name="T44" fmla="*/ 2147483647 w 264"/>
                  <a:gd name="T45" fmla="*/ 2147483647 h 192"/>
                  <a:gd name="T46" fmla="*/ 2147483647 w 264"/>
                  <a:gd name="T47" fmla="*/ 2147483647 h 192"/>
                  <a:gd name="T48" fmla="*/ 2147483647 w 264"/>
                  <a:gd name="T49" fmla="*/ 2147483647 h 192"/>
                  <a:gd name="T50" fmla="*/ 2147483647 w 264"/>
                  <a:gd name="T51" fmla="*/ 2147483647 h 192"/>
                  <a:gd name="T52" fmla="*/ 2147483647 w 264"/>
                  <a:gd name="T53" fmla="*/ 2147483647 h 192"/>
                  <a:gd name="T54" fmla="*/ 2147483647 w 264"/>
                  <a:gd name="T55" fmla="*/ 2147483647 h 192"/>
                  <a:gd name="T56" fmla="*/ 2147483647 w 264"/>
                  <a:gd name="T57" fmla="*/ 2147483647 h 192"/>
                  <a:gd name="T58" fmla="*/ 2147483647 w 264"/>
                  <a:gd name="T59" fmla="*/ 2147483647 h 192"/>
                  <a:gd name="T60" fmla="*/ 2147483647 w 264"/>
                  <a:gd name="T61" fmla="*/ 2147483647 h 192"/>
                  <a:gd name="T62" fmla="*/ 2147483647 w 264"/>
                  <a:gd name="T63" fmla="*/ 2147483647 h 192"/>
                  <a:gd name="T64" fmla="*/ 2147483647 w 264"/>
                  <a:gd name="T65" fmla="*/ 2147483647 h 19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64"/>
                  <a:gd name="T100" fmla="*/ 0 h 192"/>
                  <a:gd name="T101" fmla="*/ 264 w 264"/>
                  <a:gd name="T102" fmla="*/ 192 h 192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64" h="192">
                    <a:moveTo>
                      <a:pt x="24" y="192"/>
                    </a:moveTo>
                    <a:lnTo>
                      <a:pt x="0" y="144"/>
                    </a:lnTo>
                    <a:lnTo>
                      <a:pt x="0" y="128"/>
                    </a:lnTo>
                    <a:lnTo>
                      <a:pt x="24" y="96"/>
                    </a:lnTo>
                    <a:lnTo>
                      <a:pt x="88" y="88"/>
                    </a:lnTo>
                    <a:lnTo>
                      <a:pt x="96" y="64"/>
                    </a:lnTo>
                    <a:lnTo>
                      <a:pt x="120" y="64"/>
                    </a:lnTo>
                    <a:lnTo>
                      <a:pt x="152" y="32"/>
                    </a:lnTo>
                    <a:lnTo>
                      <a:pt x="152" y="8"/>
                    </a:lnTo>
                    <a:lnTo>
                      <a:pt x="168" y="0"/>
                    </a:lnTo>
                    <a:lnTo>
                      <a:pt x="184" y="16"/>
                    </a:lnTo>
                    <a:lnTo>
                      <a:pt x="184" y="24"/>
                    </a:lnTo>
                    <a:lnTo>
                      <a:pt x="176" y="24"/>
                    </a:lnTo>
                    <a:lnTo>
                      <a:pt x="192" y="40"/>
                    </a:lnTo>
                    <a:lnTo>
                      <a:pt x="192" y="72"/>
                    </a:lnTo>
                    <a:lnTo>
                      <a:pt x="200" y="72"/>
                    </a:lnTo>
                    <a:lnTo>
                      <a:pt x="208" y="88"/>
                    </a:lnTo>
                    <a:lnTo>
                      <a:pt x="216" y="88"/>
                    </a:lnTo>
                    <a:lnTo>
                      <a:pt x="232" y="104"/>
                    </a:lnTo>
                    <a:lnTo>
                      <a:pt x="240" y="120"/>
                    </a:lnTo>
                    <a:lnTo>
                      <a:pt x="256" y="136"/>
                    </a:lnTo>
                    <a:lnTo>
                      <a:pt x="264" y="144"/>
                    </a:lnTo>
                    <a:lnTo>
                      <a:pt x="232" y="136"/>
                    </a:lnTo>
                    <a:lnTo>
                      <a:pt x="176" y="160"/>
                    </a:lnTo>
                    <a:lnTo>
                      <a:pt x="160" y="168"/>
                    </a:lnTo>
                    <a:lnTo>
                      <a:pt x="128" y="160"/>
                    </a:lnTo>
                    <a:lnTo>
                      <a:pt x="112" y="144"/>
                    </a:lnTo>
                    <a:lnTo>
                      <a:pt x="80" y="152"/>
                    </a:lnTo>
                    <a:lnTo>
                      <a:pt x="80" y="168"/>
                    </a:lnTo>
                    <a:lnTo>
                      <a:pt x="64" y="176"/>
                    </a:lnTo>
                    <a:lnTo>
                      <a:pt x="48" y="168"/>
                    </a:lnTo>
                    <a:lnTo>
                      <a:pt x="32" y="176"/>
                    </a:lnTo>
                    <a:lnTo>
                      <a:pt x="24" y="192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1025" name="Freeform 325">
                <a:extLst>
                  <a:ext uri="{FF2B5EF4-FFF2-40B4-BE49-F238E27FC236}">
                    <a16:creationId xmlns:a16="http://schemas.microsoft.com/office/drawing/2014/main" id="{7A06159D-D285-E8FC-E1AE-CB7DF1FDA31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403045" y="1665784"/>
                <a:ext cx="686438" cy="1198066"/>
              </a:xfrm>
              <a:custGeom>
                <a:avLst/>
                <a:gdLst>
                  <a:gd name="T0" fmla="*/ 2147483647 w 216"/>
                  <a:gd name="T1" fmla="*/ 2147483647 h 344"/>
                  <a:gd name="T2" fmla="*/ 2147483647 w 216"/>
                  <a:gd name="T3" fmla="*/ 2147483647 h 344"/>
                  <a:gd name="T4" fmla="*/ 2147483647 w 216"/>
                  <a:gd name="T5" fmla="*/ 2147483647 h 344"/>
                  <a:gd name="T6" fmla="*/ 2147483647 w 216"/>
                  <a:gd name="T7" fmla="*/ 2147483647 h 344"/>
                  <a:gd name="T8" fmla="*/ 2147483647 w 216"/>
                  <a:gd name="T9" fmla="*/ 2147483647 h 344"/>
                  <a:gd name="T10" fmla="*/ 2147483647 w 216"/>
                  <a:gd name="T11" fmla="*/ 2147483647 h 344"/>
                  <a:gd name="T12" fmla="*/ 2147483647 w 216"/>
                  <a:gd name="T13" fmla="*/ 2147483647 h 344"/>
                  <a:gd name="T14" fmla="*/ 2147483647 w 216"/>
                  <a:gd name="T15" fmla="*/ 2147483647 h 344"/>
                  <a:gd name="T16" fmla="*/ 0 w 216"/>
                  <a:gd name="T17" fmla="*/ 2147483647 h 344"/>
                  <a:gd name="T18" fmla="*/ 0 w 216"/>
                  <a:gd name="T19" fmla="*/ 2147483647 h 344"/>
                  <a:gd name="T20" fmla="*/ 2147483647 w 216"/>
                  <a:gd name="T21" fmla="*/ 2147483647 h 344"/>
                  <a:gd name="T22" fmla="*/ 2147483647 w 216"/>
                  <a:gd name="T23" fmla="*/ 2147483647 h 344"/>
                  <a:gd name="T24" fmla="*/ 2147483647 w 216"/>
                  <a:gd name="T25" fmla="*/ 2147483647 h 344"/>
                  <a:gd name="T26" fmla="*/ 2147483647 w 216"/>
                  <a:gd name="T27" fmla="*/ 2147483647 h 344"/>
                  <a:gd name="T28" fmla="*/ 2147483647 w 216"/>
                  <a:gd name="T29" fmla="*/ 2147483647 h 344"/>
                  <a:gd name="T30" fmla="*/ 2147483647 w 216"/>
                  <a:gd name="T31" fmla="*/ 0 h 344"/>
                  <a:gd name="T32" fmla="*/ 2147483647 w 216"/>
                  <a:gd name="T33" fmla="*/ 2147483647 h 344"/>
                  <a:gd name="T34" fmla="*/ 2147483647 w 216"/>
                  <a:gd name="T35" fmla="*/ 2147483647 h 344"/>
                  <a:gd name="T36" fmla="*/ 2147483647 w 216"/>
                  <a:gd name="T37" fmla="*/ 2147483647 h 344"/>
                  <a:gd name="T38" fmla="*/ 2147483647 w 216"/>
                  <a:gd name="T39" fmla="*/ 2147483647 h 344"/>
                  <a:gd name="T40" fmla="*/ 2147483647 w 216"/>
                  <a:gd name="T41" fmla="*/ 2147483647 h 344"/>
                  <a:gd name="T42" fmla="*/ 2147483647 w 216"/>
                  <a:gd name="T43" fmla="*/ 2147483647 h 344"/>
                  <a:gd name="T44" fmla="*/ 2147483647 w 216"/>
                  <a:gd name="T45" fmla="*/ 2147483647 h 344"/>
                  <a:gd name="T46" fmla="*/ 2147483647 w 216"/>
                  <a:gd name="T47" fmla="*/ 2147483647 h 344"/>
                  <a:gd name="T48" fmla="*/ 2147483647 w 216"/>
                  <a:gd name="T49" fmla="*/ 2147483647 h 344"/>
                  <a:gd name="T50" fmla="*/ 2147483647 w 216"/>
                  <a:gd name="T51" fmla="*/ 2147483647 h 344"/>
                  <a:gd name="T52" fmla="*/ 2147483647 w 216"/>
                  <a:gd name="T53" fmla="*/ 2147483647 h 344"/>
                  <a:gd name="T54" fmla="*/ 2147483647 w 216"/>
                  <a:gd name="T55" fmla="*/ 2147483647 h 344"/>
                  <a:gd name="T56" fmla="*/ 2147483647 w 216"/>
                  <a:gd name="T57" fmla="*/ 2147483647 h 344"/>
                  <a:gd name="T58" fmla="*/ 2147483647 w 216"/>
                  <a:gd name="T59" fmla="*/ 2147483647 h 344"/>
                  <a:gd name="T60" fmla="*/ 2147483647 w 216"/>
                  <a:gd name="T61" fmla="*/ 2147483647 h 344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216"/>
                  <a:gd name="T94" fmla="*/ 0 h 344"/>
                  <a:gd name="T95" fmla="*/ 216 w 216"/>
                  <a:gd name="T96" fmla="*/ 344 h 344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216" h="344">
                    <a:moveTo>
                      <a:pt x="40" y="344"/>
                    </a:moveTo>
                    <a:lnTo>
                      <a:pt x="24" y="320"/>
                    </a:lnTo>
                    <a:lnTo>
                      <a:pt x="8" y="304"/>
                    </a:lnTo>
                    <a:lnTo>
                      <a:pt x="8" y="296"/>
                    </a:lnTo>
                    <a:lnTo>
                      <a:pt x="32" y="288"/>
                    </a:lnTo>
                    <a:lnTo>
                      <a:pt x="32" y="248"/>
                    </a:lnTo>
                    <a:lnTo>
                      <a:pt x="16" y="224"/>
                    </a:lnTo>
                    <a:lnTo>
                      <a:pt x="8" y="224"/>
                    </a:lnTo>
                    <a:lnTo>
                      <a:pt x="0" y="216"/>
                    </a:lnTo>
                    <a:lnTo>
                      <a:pt x="0" y="184"/>
                    </a:lnTo>
                    <a:lnTo>
                      <a:pt x="40" y="144"/>
                    </a:lnTo>
                    <a:lnTo>
                      <a:pt x="40" y="88"/>
                    </a:lnTo>
                    <a:lnTo>
                      <a:pt x="48" y="72"/>
                    </a:lnTo>
                    <a:lnTo>
                      <a:pt x="32" y="48"/>
                    </a:lnTo>
                    <a:lnTo>
                      <a:pt x="24" y="24"/>
                    </a:lnTo>
                    <a:lnTo>
                      <a:pt x="56" y="0"/>
                    </a:lnTo>
                    <a:lnTo>
                      <a:pt x="216" y="80"/>
                    </a:lnTo>
                    <a:lnTo>
                      <a:pt x="216" y="168"/>
                    </a:lnTo>
                    <a:lnTo>
                      <a:pt x="184" y="168"/>
                    </a:lnTo>
                    <a:lnTo>
                      <a:pt x="184" y="184"/>
                    </a:lnTo>
                    <a:lnTo>
                      <a:pt x="184" y="192"/>
                    </a:lnTo>
                    <a:lnTo>
                      <a:pt x="176" y="224"/>
                    </a:lnTo>
                    <a:lnTo>
                      <a:pt x="176" y="232"/>
                    </a:lnTo>
                    <a:lnTo>
                      <a:pt x="184" y="240"/>
                    </a:lnTo>
                    <a:lnTo>
                      <a:pt x="184" y="248"/>
                    </a:lnTo>
                    <a:lnTo>
                      <a:pt x="168" y="256"/>
                    </a:lnTo>
                    <a:lnTo>
                      <a:pt x="168" y="280"/>
                    </a:lnTo>
                    <a:lnTo>
                      <a:pt x="136" y="312"/>
                    </a:lnTo>
                    <a:lnTo>
                      <a:pt x="112" y="312"/>
                    </a:lnTo>
                    <a:lnTo>
                      <a:pt x="104" y="336"/>
                    </a:lnTo>
                    <a:lnTo>
                      <a:pt x="40" y="344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1026" name="Freeform 326">
                <a:extLst>
                  <a:ext uri="{FF2B5EF4-FFF2-40B4-BE49-F238E27FC236}">
                    <a16:creationId xmlns:a16="http://schemas.microsoft.com/office/drawing/2014/main" id="{AC46B108-D1F9-FE44-1AE3-DD000F18ECB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100472" y="3222397"/>
                <a:ext cx="352252" cy="498467"/>
              </a:xfrm>
              <a:custGeom>
                <a:avLst/>
                <a:gdLst>
                  <a:gd name="T0" fmla="*/ 2147483647 w 112"/>
                  <a:gd name="T1" fmla="*/ 2147483647 h 144"/>
                  <a:gd name="T2" fmla="*/ 2147483647 w 112"/>
                  <a:gd name="T3" fmla="*/ 2147483647 h 144"/>
                  <a:gd name="T4" fmla="*/ 2147483647 w 112"/>
                  <a:gd name="T5" fmla="*/ 2147483647 h 144"/>
                  <a:gd name="T6" fmla="*/ 0 w 112"/>
                  <a:gd name="T7" fmla="*/ 2147483647 h 144"/>
                  <a:gd name="T8" fmla="*/ 2147483647 w 112"/>
                  <a:gd name="T9" fmla="*/ 2147483647 h 144"/>
                  <a:gd name="T10" fmla="*/ 2147483647 w 112"/>
                  <a:gd name="T11" fmla="*/ 2147483647 h 144"/>
                  <a:gd name="T12" fmla="*/ 2147483647 w 112"/>
                  <a:gd name="T13" fmla="*/ 2147483647 h 144"/>
                  <a:gd name="T14" fmla="*/ 2147483647 w 112"/>
                  <a:gd name="T15" fmla="*/ 2147483647 h 144"/>
                  <a:gd name="T16" fmla="*/ 2147483647 w 112"/>
                  <a:gd name="T17" fmla="*/ 0 h 144"/>
                  <a:gd name="T18" fmla="*/ 2147483647 w 112"/>
                  <a:gd name="T19" fmla="*/ 0 h 144"/>
                  <a:gd name="T20" fmla="*/ 2147483647 w 112"/>
                  <a:gd name="T21" fmla="*/ 2147483647 h 144"/>
                  <a:gd name="T22" fmla="*/ 2147483647 w 112"/>
                  <a:gd name="T23" fmla="*/ 2147483647 h 144"/>
                  <a:gd name="T24" fmla="*/ 2147483647 w 112"/>
                  <a:gd name="T25" fmla="*/ 2147483647 h 144"/>
                  <a:gd name="T26" fmla="*/ 2147483647 w 112"/>
                  <a:gd name="T27" fmla="*/ 2147483647 h 144"/>
                  <a:gd name="T28" fmla="*/ 2147483647 w 112"/>
                  <a:gd name="T29" fmla="*/ 2147483647 h 144"/>
                  <a:gd name="T30" fmla="*/ 2147483647 w 112"/>
                  <a:gd name="T31" fmla="*/ 2147483647 h 144"/>
                  <a:gd name="T32" fmla="*/ 2147483647 w 112"/>
                  <a:gd name="T33" fmla="*/ 2147483647 h 144"/>
                  <a:gd name="T34" fmla="*/ 2147483647 w 112"/>
                  <a:gd name="T35" fmla="*/ 2147483647 h 144"/>
                  <a:gd name="T36" fmla="*/ 2147483647 w 112"/>
                  <a:gd name="T37" fmla="*/ 2147483647 h 144"/>
                  <a:gd name="T38" fmla="*/ 2147483647 w 112"/>
                  <a:gd name="T39" fmla="*/ 2147483647 h 144"/>
                  <a:gd name="T40" fmla="*/ 2147483647 w 112"/>
                  <a:gd name="T41" fmla="*/ 2147483647 h 144"/>
                  <a:gd name="T42" fmla="*/ 2147483647 w 112"/>
                  <a:gd name="T43" fmla="*/ 2147483647 h 144"/>
                  <a:gd name="T44" fmla="*/ 2147483647 w 112"/>
                  <a:gd name="T45" fmla="*/ 2147483647 h 144"/>
                  <a:gd name="T46" fmla="*/ 2147483647 w 112"/>
                  <a:gd name="T47" fmla="*/ 2147483647 h 144"/>
                  <a:gd name="T48" fmla="*/ 2147483647 w 112"/>
                  <a:gd name="T49" fmla="*/ 2147483647 h 144"/>
                  <a:gd name="T50" fmla="*/ 2147483647 w 112"/>
                  <a:gd name="T51" fmla="*/ 2147483647 h 144"/>
                  <a:gd name="T52" fmla="*/ 2147483647 w 112"/>
                  <a:gd name="T53" fmla="*/ 2147483647 h 144"/>
                  <a:gd name="T54" fmla="*/ 2147483647 w 112"/>
                  <a:gd name="T55" fmla="*/ 2147483647 h 144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112"/>
                  <a:gd name="T85" fmla="*/ 0 h 144"/>
                  <a:gd name="T86" fmla="*/ 112 w 112"/>
                  <a:gd name="T87" fmla="*/ 144 h 144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112" h="144">
                    <a:moveTo>
                      <a:pt x="56" y="144"/>
                    </a:moveTo>
                    <a:lnTo>
                      <a:pt x="32" y="112"/>
                    </a:lnTo>
                    <a:lnTo>
                      <a:pt x="16" y="96"/>
                    </a:lnTo>
                    <a:lnTo>
                      <a:pt x="0" y="72"/>
                    </a:lnTo>
                    <a:lnTo>
                      <a:pt x="16" y="48"/>
                    </a:lnTo>
                    <a:lnTo>
                      <a:pt x="8" y="32"/>
                    </a:lnTo>
                    <a:lnTo>
                      <a:pt x="16" y="24"/>
                    </a:lnTo>
                    <a:lnTo>
                      <a:pt x="48" y="24"/>
                    </a:lnTo>
                    <a:lnTo>
                      <a:pt x="48" y="0"/>
                    </a:lnTo>
                    <a:lnTo>
                      <a:pt x="80" y="0"/>
                    </a:lnTo>
                    <a:lnTo>
                      <a:pt x="72" y="16"/>
                    </a:lnTo>
                    <a:lnTo>
                      <a:pt x="96" y="32"/>
                    </a:lnTo>
                    <a:lnTo>
                      <a:pt x="112" y="24"/>
                    </a:lnTo>
                    <a:lnTo>
                      <a:pt x="112" y="40"/>
                    </a:lnTo>
                    <a:lnTo>
                      <a:pt x="104" y="48"/>
                    </a:lnTo>
                    <a:lnTo>
                      <a:pt x="96" y="64"/>
                    </a:lnTo>
                    <a:lnTo>
                      <a:pt x="104" y="72"/>
                    </a:lnTo>
                    <a:lnTo>
                      <a:pt x="112" y="72"/>
                    </a:lnTo>
                    <a:lnTo>
                      <a:pt x="104" y="112"/>
                    </a:lnTo>
                    <a:lnTo>
                      <a:pt x="88" y="96"/>
                    </a:lnTo>
                    <a:lnTo>
                      <a:pt x="80" y="88"/>
                    </a:lnTo>
                    <a:lnTo>
                      <a:pt x="64" y="80"/>
                    </a:lnTo>
                    <a:lnTo>
                      <a:pt x="64" y="96"/>
                    </a:lnTo>
                    <a:lnTo>
                      <a:pt x="56" y="104"/>
                    </a:lnTo>
                    <a:lnTo>
                      <a:pt x="48" y="104"/>
                    </a:lnTo>
                    <a:lnTo>
                      <a:pt x="56" y="112"/>
                    </a:lnTo>
                    <a:lnTo>
                      <a:pt x="72" y="128"/>
                    </a:lnTo>
                    <a:lnTo>
                      <a:pt x="56" y="144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1048" name="Freeform 327">
                <a:extLst>
                  <a:ext uri="{FF2B5EF4-FFF2-40B4-BE49-F238E27FC236}">
                    <a16:creationId xmlns:a16="http://schemas.microsoft.com/office/drawing/2014/main" id="{8A5714E7-B942-BED1-BFD7-5002F7329E6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276594" y="3803938"/>
                <a:ext cx="812885" cy="865754"/>
              </a:xfrm>
              <a:custGeom>
                <a:avLst/>
                <a:gdLst>
                  <a:gd name="T0" fmla="*/ 0 w 256"/>
                  <a:gd name="T1" fmla="*/ 2147483647 h 248"/>
                  <a:gd name="T2" fmla="*/ 0 w 256"/>
                  <a:gd name="T3" fmla="*/ 2147483647 h 248"/>
                  <a:gd name="T4" fmla="*/ 2147483647 w 256"/>
                  <a:gd name="T5" fmla="*/ 2147483647 h 248"/>
                  <a:gd name="T6" fmla="*/ 2147483647 w 256"/>
                  <a:gd name="T7" fmla="*/ 2147483647 h 248"/>
                  <a:gd name="T8" fmla="*/ 2147483647 w 256"/>
                  <a:gd name="T9" fmla="*/ 2147483647 h 248"/>
                  <a:gd name="T10" fmla="*/ 2147483647 w 256"/>
                  <a:gd name="T11" fmla="*/ 2147483647 h 248"/>
                  <a:gd name="T12" fmla="*/ 2147483647 w 256"/>
                  <a:gd name="T13" fmla="*/ 2147483647 h 248"/>
                  <a:gd name="T14" fmla="*/ 2147483647 w 256"/>
                  <a:gd name="T15" fmla="*/ 2147483647 h 248"/>
                  <a:gd name="T16" fmla="*/ 2147483647 w 256"/>
                  <a:gd name="T17" fmla="*/ 2147483647 h 248"/>
                  <a:gd name="T18" fmla="*/ 2147483647 w 256"/>
                  <a:gd name="T19" fmla="*/ 2147483647 h 248"/>
                  <a:gd name="T20" fmla="*/ 2147483647 w 256"/>
                  <a:gd name="T21" fmla="*/ 2147483647 h 248"/>
                  <a:gd name="T22" fmla="*/ 2147483647 w 256"/>
                  <a:gd name="T23" fmla="*/ 2147483647 h 248"/>
                  <a:gd name="T24" fmla="*/ 2147483647 w 256"/>
                  <a:gd name="T25" fmla="*/ 0 h 248"/>
                  <a:gd name="T26" fmla="*/ 2147483647 w 256"/>
                  <a:gd name="T27" fmla="*/ 2147483647 h 248"/>
                  <a:gd name="T28" fmla="*/ 2147483647 w 256"/>
                  <a:gd name="T29" fmla="*/ 2147483647 h 248"/>
                  <a:gd name="T30" fmla="*/ 2147483647 w 256"/>
                  <a:gd name="T31" fmla="*/ 2147483647 h 248"/>
                  <a:gd name="T32" fmla="*/ 2147483647 w 256"/>
                  <a:gd name="T33" fmla="*/ 2147483647 h 248"/>
                  <a:gd name="T34" fmla="*/ 2147483647 w 256"/>
                  <a:gd name="T35" fmla="*/ 2147483647 h 248"/>
                  <a:gd name="T36" fmla="*/ 2147483647 w 256"/>
                  <a:gd name="T37" fmla="*/ 2147483647 h 248"/>
                  <a:gd name="T38" fmla="*/ 2147483647 w 256"/>
                  <a:gd name="T39" fmla="*/ 2147483647 h 248"/>
                  <a:gd name="T40" fmla="*/ 2147483647 w 256"/>
                  <a:gd name="T41" fmla="*/ 2147483647 h 248"/>
                  <a:gd name="T42" fmla="*/ 2147483647 w 256"/>
                  <a:gd name="T43" fmla="*/ 2147483647 h 248"/>
                  <a:gd name="T44" fmla="*/ 2147483647 w 256"/>
                  <a:gd name="T45" fmla="*/ 2147483647 h 248"/>
                  <a:gd name="T46" fmla="*/ 2147483647 w 256"/>
                  <a:gd name="T47" fmla="*/ 2147483647 h 248"/>
                  <a:gd name="T48" fmla="*/ 2147483647 w 256"/>
                  <a:gd name="T49" fmla="*/ 2147483647 h 248"/>
                  <a:gd name="T50" fmla="*/ 2147483647 w 256"/>
                  <a:gd name="T51" fmla="*/ 2147483647 h 248"/>
                  <a:gd name="T52" fmla="*/ 2147483647 w 256"/>
                  <a:gd name="T53" fmla="*/ 2147483647 h 248"/>
                  <a:gd name="T54" fmla="*/ 2147483647 w 256"/>
                  <a:gd name="T55" fmla="*/ 2147483647 h 248"/>
                  <a:gd name="T56" fmla="*/ 2147483647 w 256"/>
                  <a:gd name="T57" fmla="*/ 2147483647 h 248"/>
                  <a:gd name="T58" fmla="*/ 2147483647 w 256"/>
                  <a:gd name="T59" fmla="*/ 2147483647 h 248"/>
                  <a:gd name="T60" fmla="*/ 2147483647 w 256"/>
                  <a:gd name="T61" fmla="*/ 2147483647 h 248"/>
                  <a:gd name="T62" fmla="*/ 2147483647 w 256"/>
                  <a:gd name="T63" fmla="*/ 2147483647 h 248"/>
                  <a:gd name="T64" fmla="*/ 2147483647 w 256"/>
                  <a:gd name="T65" fmla="*/ 2147483647 h 248"/>
                  <a:gd name="T66" fmla="*/ 2147483647 w 256"/>
                  <a:gd name="T67" fmla="*/ 2147483647 h 248"/>
                  <a:gd name="T68" fmla="*/ 2147483647 w 256"/>
                  <a:gd name="T69" fmla="*/ 2147483647 h 248"/>
                  <a:gd name="T70" fmla="*/ 2147483647 w 256"/>
                  <a:gd name="T71" fmla="*/ 2147483647 h 248"/>
                  <a:gd name="T72" fmla="*/ 2147483647 w 256"/>
                  <a:gd name="T73" fmla="*/ 2147483647 h 248"/>
                  <a:gd name="T74" fmla="*/ 0 w 256"/>
                  <a:gd name="T75" fmla="*/ 2147483647 h 24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256"/>
                  <a:gd name="T115" fmla="*/ 0 h 248"/>
                  <a:gd name="T116" fmla="*/ 256 w 256"/>
                  <a:gd name="T117" fmla="*/ 248 h 248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256" h="248">
                    <a:moveTo>
                      <a:pt x="0" y="240"/>
                    </a:moveTo>
                    <a:lnTo>
                      <a:pt x="0" y="224"/>
                    </a:lnTo>
                    <a:lnTo>
                      <a:pt x="8" y="200"/>
                    </a:lnTo>
                    <a:lnTo>
                      <a:pt x="24" y="152"/>
                    </a:lnTo>
                    <a:lnTo>
                      <a:pt x="32" y="144"/>
                    </a:lnTo>
                    <a:lnTo>
                      <a:pt x="48" y="120"/>
                    </a:lnTo>
                    <a:lnTo>
                      <a:pt x="40" y="96"/>
                    </a:lnTo>
                    <a:lnTo>
                      <a:pt x="32" y="80"/>
                    </a:lnTo>
                    <a:lnTo>
                      <a:pt x="32" y="48"/>
                    </a:lnTo>
                    <a:lnTo>
                      <a:pt x="24" y="32"/>
                    </a:lnTo>
                    <a:lnTo>
                      <a:pt x="16" y="16"/>
                    </a:lnTo>
                    <a:lnTo>
                      <a:pt x="24" y="8"/>
                    </a:lnTo>
                    <a:lnTo>
                      <a:pt x="104" y="0"/>
                    </a:lnTo>
                    <a:lnTo>
                      <a:pt x="112" y="24"/>
                    </a:lnTo>
                    <a:lnTo>
                      <a:pt x="128" y="40"/>
                    </a:lnTo>
                    <a:lnTo>
                      <a:pt x="160" y="40"/>
                    </a:lnTo>
                    <a:lnTo>
                      <a:pt x="160" y="24"/>
                    </a:lnTo>
                    <a:lnTo>
                      <a:pt x="176" y="24"/>
                    </a:lnTo>
                    <a:lnTo>
                      <a:pt x="192" y="32"/>
                    </a:lnTo>
                    <a:lnTo>
                      <a:pt x="208" y="32"/>
                    </a:lnTo>
                    <a:lnTo>
                      <a:pt x="216" y="88"/>
                    </a:lnTo>
                    <a:lnTo>
                      <a:pt x="224" y="104"/>
                    </a:lnTo>
                    <a:lnTo>
                      <a:pt x="256" y="104"/>
                    </a:lnTo>
                    <a:lnTo>
                      <a:pt x="256" y="112"/>
                    </a:lnTo>
                    <a:lnTo>
                      <a:pt x="248" y="144"/>
                    </a:lnTo>
                    <a:lnTo>
                      <a:pt x="216" y="144"/>
                    </a:lnTo>
                    <a:lnTo>
                      <a:pt x="216" y="224"/>
                    </a:lnTo>
                    <a:lnTo>
                      <a:pt x="232" y="232"/>
                    </a:lnTo>
                    <a:lnTo>
                      <a:pt x="216" y="248"/>
                    </a:lnTo>
                    <a:lnTo>
                      <a:pt x="192" y="248"/>
                    </a:lnTo>
                    <a:lnTo>
                      <a:pt x="168" y="248"/>
                    </a:lnTo>
                    <a:lnTo>
                      <a:pt x="152" y="248"/>
                    </a:lnTo>
                    <a:lnTo>
                      <a:pt x="128" y="232"/>
                    </a:lnTo>
                    <a:lnTo>
                      <a:pt x="72" y="232"/>
                    </a:lnTo>
                    <a:lnTo>
                      <a:pt x="48" y="240"/>
                    </a:lnTo>
                    <a:lnTo>
                      <a:pt x="40" y="232"/>
                    </a:lnTo>
                    <a:lnTo>
                      <a:pt x="16" y="232"/>
                    </a:lnTo>
                    <a:lnTo>
                      <a:pt x="0" y="240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1050" name="Freeform 328">
                <a:extLst>
                  <a:ext uri="{FF2B5EF4-FFF2-40B4-BE49-F238E27FC236}">
                    <a16:creationId xmlns:a16="http://schemas.microsoft.com/office/drawing/2014/main" id="{54B99CF5-1F28-13E0-F740-32BF5437862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299176" y="2999396"/>
                <a:ext cx="1196749" cy="1364221"/>
              </a:xfrm>
              <a:custGeom>
                <a:avLst/>
                <a:gdLst>
                  <a:gd name="T0" fmla="*/ 2147483647 w 376"/>
                  <a:gd name="T1" fmla="*/ 2147483647 h 392"/>
                  <a:gd name="T2" fmla="*/ 2147483647 w 376"/>
                  <a:gd name="T3" fmla="*/ 2147483647 h 392"/>
                  <a:gd name="T4" fmla="*/ 2147483647 w 376"/>
                  <a:gd name="T5" fmla="*/ 2147483647 h 392"/>
                  <a:gd name="T6" fmla="*/ 2147483647 w 376"/>
                  <a:gd name="T7" fmla="*/ 2147483647 h 392"/>
                  <a:gd name="T8" fmla="*/ 2147483647 w 376"/>
                  <a:gd name="T9" fmla="*/ 2147483647 h 392"/>
                  <a:gd name="T10" fmla="*/ 2147483647 w 376"/>
                  <a:gd name="T11" fmla="*/ 2147483647 h 392"/>
                  <a:gd name="T12" fmla="*/ 2147483647 w 376"/>
                  <a:gd name="T13" fmla="*/ 2147483647 h 392"/>
                  <a:gd name="T14" fmla="*/ 2147483647 w 376"/>
                  <a:gd name="T15" fmla="*/ 2147483647 h 392"/>
                  <a:gd name="T16" fmla="*/ 2147483647 w 376"/>
                  <a:gd name="T17" fmla="*/ 2147483647 h 392"/>
                  <a:gd name="T18" fmla="*/ 2147483647 w 376"/>
                  <a:gd name="T19" fmla="*/ 2147483647 h 392"/>
                  <a:gd name="T20" fmla="*/ 2147483647 w 376"/>
                  <a:gd name="T21" fmla="*/ 2147483647 h 392"/>
                  <a:gd name="T22" fmla="*/ 2147483647 w 376"/>
                  <a:gd name="T23" fmla="*/ 2147483647 h 392"/>
                  <a:gd name="T24" fmla="*/ 2147483647 w 376"/>
                  <a:gd name="T25" fmla="*/ 2147483647 h 392"/>
                  <a:gd name="T26" fmla="*/ 2147483647 w 376"/>
                  <a:gd name="T27" fmla="*/ 2147483647 h 392"/>
                  <a:gd name="T28" fmla="*/ 2147483647 w 376"/>
                  <a:gd name="T29" fmla="*/ 2147483647 h 392"/>
                  <a:gd name="T30" fmla="*/ 2147483647 w 376"/>
                  <a:gd name="T31" fmla="*/ 2147483647 h 392"/>
                  <a:gd name="T32" fmla="*/ 2147483647 w 376"/>
                  <a:gd name="T33" fmla="*/ 2147483647 h 392"/>
                  <a:gd name="T34" fmla="*/ 2147483647 w 376"/>
                  <a:gd name="T35" fmla="*/ 2147483647 h 392"/>
                  <a:gd name="T36" fmla="*/ 2147483647 w 376"/>
                  <a:gd name="T37" fmla="*/ 2147483647 h 392"/>
                  <a:gd name="T38" fmla="*/ 2147483647 w 376"/>
                  <a:gd name="T39" fmla="*/ 2147483647 h 392"/>
                  <a:gd name="T40" fmla="*/ 2147483647 w 376"/>
                  <a:gd name="T41" fmla="*/ 2147483647 h 392"/>
                  <a:gd name="T42" fmla="*/ 2147483647 w 376"/>
                  <a:gd name="T43" fmla="*/ 2147483647 h 392"/>
                  <a:gd name="T44" fmla="*/ 2147483647 w 376"/>
                  <a:gd name="T45" fmla="*/ 2147483647 h 392"/>
                  <a:gd name="T46" fmla="*/ 2147483647 w 376"/>
                  <a:gd name="T47" fmla="*/ 2147483647 h 392"/>
                  <a:gd name="T48" fmla="*/ 2147483647 w 376"/>
                  <a:gd name="T49" fmla="*/ 2147483647 h 392"/>
                  <a:gd name="T50" fmla="*/ 2147483647 w 376"/>
                  <a:gd name="T51" fmla="*/ 2147483647 h 392"/>
                  <a:gd name="T52" fmla="*/ 2147483647 w 376"/>
                  <a:gd name="T53" fmla="*/ 2147483647 h 392"/>
                  <a:gd name="T54" fmla="*/ 2147483647 w 376"/>
                  <a:gd name="T55" fmla="*/ 2147483647 h 392"/>
                  <a:gd name="T56" fmla="*/ 2147483647 w 376"/>
                  <a:gd name="T57" fmla="*/ 2147483647 h 392"/>
                  <a:gd name="T58" fmla="*/ 2147483647 w 376"/>
                  <a:gd name="T59" fmla="*/ 2147483647 h 392"/>
                  <a:gd name="T60" fmla="*/ 2147483647 w 376"/>
                  <a:gd name="T61" fmla="*/ 2147483647 h 392"/>
                  <a:gd name="T62" fmla="*/ 2147483647 w 376"/>
                  <a:gd name="T63" fmla="*/ 2147483647 h 392"/>
                  <a:gd name="T64" fmla="*/ 2147483647 w 376"/>
                  <a:gd name="T65" fmla="*/ 2147483647 h 392"/>
                  <a:gd name="T66" fmla="*/ 2147483647 w 376"/>
                  <a:gd name="T67" fmla="*/ 2147483647 h 392"/>
                  <a:gd name="T68" fmla="*/ 2147483647 w 376"/>
                  <a:gd name="T69" fmla="*/ 2147483647 h 392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376"/>
                  <a:gd name="T106" fmla="*/ 0 h 392"/>
                  <a:gd name="T107" fmla="*/ 376 w 376"/>
                  <a:gd name="T108" fmla="*/ 392 h 392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376" h="392">
                    <a:moveTo>
                      <a:pt x="376" y="280"/>
                    </a:moveTo>
                    <a:lnTo>
                      <a:pt x="360" y="288"/>
                    </a:lnTo>
                    <a:lnTo>
                      <a:pt x="344" y="288"/>
                    </a:lnTo>
                    <a:lnTo>
                      <a:pt x="336" y="296"/>
                    </a:lnTo>
                    <a:lnTo>
                      <a:pt x="328" y="344"/>
                    </a:lnTo>
                    <a:lnTo>
                      <a:pt x="336" y="360"/>
                    </a:lnTo>
                    <a:lnTo>
                      <a:pt x="344" y="360"/>
                    </a:lnTo>
                    <a:lnTo>
                      <a:pt x="352" y="352"/>
                    </a:lnTo>
                    <a:lnTo>
                      <a:pt x="360" y="360"/>
                    </a:lnTo>
                    <a:lnTo>
                      <a:pt x="360" y="384"/>
                    </a:lnTo>
                    <a:lnTo>
                      <a:pt x="352" y="392"/>
                    </a:lnTo>
                    <a:lnTo>
                      <a:pt x="304" y="344"/>
                    </a:lnTo>
                    <a:lnTo>
                      <a:pt x="296" y="344"/>
                    </a:lnTo>
                    <a:lnTo>
                      <a:pt x="288" y="352"/>
                    </a:lnTo>
                    <a:lnTo>
                      <a:pt x="280" y="352"/>
                    </a:lnTo>
                    <a:lnTo>
                      <a:pt x="272" y="344"/>
                    </a:lnTo>
                    <a:lnTo>
                      <a:pt x="264" y="336"/>
                    </a:lnTo>
                    <a:lnTo>
                      <a:pt x="264" y="344"/>
                    </a:lnTo>
                    <a:lnTo>
                      <a:pt x="256" y="344"/>
                    </a:lnTo>
                    <a:lnTo>
                      <a:pt x="248" y="344"/>
                    </a:lnTo>
                    <a:lnTo>
                      <a:pt x="248" y="336"/>
                    </a:lnTo>
                    <a:lnTo>
                      <a:pt x="216" y="336"/>
                    </a:lnTo>
                    <a:lnTo>
                      <a:pt x="208" y="320"/>
                    </a:lnTo>
                    <a:lnTo>
                      <a:pt x="200" y="264"/>
                    </a:lnTo>
                    <a:lnTo>
                      <a:pt x="184" y="264"/>
                    </a:lnTo>
                    <a:lnTo>
                      <a:pt x="168" y="256"/>
                    </a:lnTo>
                    <a:lnTo>
                      <a:pt x="152" y="256"/>
                    </a:lnTo>
                    <a:lnTo>
                      <a:pt x="152" y="272"/>
                    </a:lnTo>
                    <a:lnTo>
                      <a:pt x="120" y="272"/>
                    </a:lnTo>
                    <a:lnTo>
                      <a:pt x="104" y="256"/>
                    </a:lnTo>
                    <a:lnTo>
                      <a:pt x="96" y="232"/>
                    </a:lnTo>
                    <a:lnTo>
                      <a:pt x="16" y="240"/>
                    </a:lnTo>
                    <a:lnTo>
                      <a:pt x="0" y="232"/>
                    </a:lnTo>
                    <a:lnTo>
                      <a:pt x="16" y="224"/>
                    </a:lnTo>
                    <a:lnTo>
                      <a:pt x="24" y="216"/>
                    </a:lnTo>
                    <a:lnTo>
                      <a:pt x="32" y="208"/>
                    </a:lnTo>
                    <a:lnTo>
                      <a:pt x="40" y="208"/>
                    </a:lnTo>
                    <a:lnTo>
                      <a:pt x="40" y="216"/>
                    </a:lnTo>
                    <a:lnTo>
                      <a:pt x="72" y="200"/>
                    </a:lnTo>
                    <a:lnTo>
                      <a:pt x="88" y="144"/>
                    </a:lnTo>
                    <a:lnTo>
                      <a:pt x="104" y="136"/>
                    </a:lnTo>
                    <a:lnTo>
                      <a:pt x="112" y="112"/>
                    </a:lnTo>
                    <a:lnTo>
                      <a:pt x="120" y="72"/>
                    </a:lnTo>
                    <a:lnTo>
                      <a:pt x="128" y="56"/>
                    </a:lnTo>
                    <a:lnTo>
                      <a:pt x="128" y="32"/>
                    </a:lnTo>
                    <a:lnTo>
                      <a:pt x="128" y="16"/>
                    </a:lnTo>
                    <a:lnTo>
                      <a:pt x="160" y="8"/>
                    </a:lnTo>
                    <a:lnTo>
                      <a:pt x="176" y="24"/>
                    </a:lnTo>
                    <a:lnTo>
                      <a:pt x="208" y="32"/>
                    </a:lnTo>
                    <a:lnTo>
                      <a:pt x="224" y="24"/>
                    </a:lnTo>
                    <a:lnTo>
                      <a:pt x="280" y="0"/>
                    </a:lnTo>
                    <a:lnTo>
                      <a:pt x="312" y="8"/>
                    </a:lnTo>
                    <a:lnTo>
                      <a:pt x="320" y="16"/>
                    </a:lnTo>
                    <a:lnTo>
                      <a:pt x="328" y="16"/>
                    </a:lnTo>
                    <a:lnTo>
                      <a:pt x="336" y="16"/>
                    </a:lnTo>
                    <a:lnTo>
                      <a:pt x="344" y="16"/>
                    </a:lnTo>
                    <a:lnTo>
                      <a:pt x="360" y="16"/>
                    </a:lnTo>
                    <a:lnTo>
                      <a:pt x="376" y="32"/>
                    </a:lnTo>
                    <a:lnTo>
                      <a:pt x="376" y="56"/>
                    </a:lnTo>
                    <a:lnTo>
                      <a:pt x="376" y="72"/>
                    </a:lnTo>
                    <a:lnTo>
                      <a:pt x="352" y="112"/>
                    </a:lnTo>
                    <a:lnTo>
                      <a:pt x="344" y="136"/>
                    </a:lnTo>
                    <a:lnTo>
                      <a:pt x="344" y="160"/>
                    </a:lnTo>
                    <a:lnTo>
                      <a:pt x="352" y="176"/>
                    </a:lnTo>
                    <a:lnTo>
                      <a:pt x="352" y="184"/>
                    </a:lnTo>
                    <a:lnTo>
                      <a:pt x="360" y="200"/>
                    </a:lnTo>
                    <a:lnTo>
                      <a:pt x="352" y="208"/>
                    </a:lnTo>
                    <a:lnTo>
                      <a:pt x="352" y="232"/>
                    </a:lnTo>
                    <a:lnTo>
                      <a:pt x="376" y="264"/>
                    </a:lnTo>
                    <a:lnTo>
                      <a:pt x="376" y="280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1051" name="Freeform 329">
                <a:extLst>
                  <a:ext uri="{FF2B5EF4-FFF2-40B4-BE49-F238E27FC236}">
                    <a16:creationId xmlns:a16="http://schemas.microsoft.com/office/drawing/2014/main" id="{257633F1-D33C-EE2E-6665-5F408E141D1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249500" y="3113086"/>
                <a:ext cx="460637" cy="638384"/>
              </a:xfrm>
              <a:custGeom>
                <a:avLst/>
                <a:gdLst>
                  <a:gd name="T0" fmla="*/ 2147483647 w 144"/>
                  <a:gd name="T1" fmla="*/ 2147483647 h 184"/>
                  <a:gd name="T2" fmla="*/ 2147483647 w 144"/>
                  <a:gd name="T3" fmla="*/ 2147483647 h 184"/>
                  <a:gd name="T4" fmla="*/ 2147483647 w 144"/>
                  <a:gd name="T5" fmla="*/ 2147483647 h 184"/>
                  <a:gd name="T6" fmla="*/ 2147483647 w 144"/>
                  <a:gd name="T7" fmla="*/ 2147483647 h 184"/>
                  <a:gd name="T8" fmla="*/ 2147483647 w 144"/>
                  <a:gd name="T9" fmla="*/ 2147483647 h 184"/>
                  <a:gd name="T10" fmla="*/ 2147483647 w 144"/>
                  <a:gd name="T11" fmla="*/ 2147483647 h 184"/>
                  <a:gd name="T12" fmla="*/ 2147483647 w 144"/>
                  <a:gd name="T13" fmla="*/ 2147483647 h 184"/>
                  <a:gd name="T14" fmla="*/ 2147483647 w 144"/>
                  <a:gd name="T15" fmla="*/ 2147483647 h 184"/>
                  <a:gd name="T16" fmla="*/ 2147483647 w 144"/>
                  <a:gd name="T17" fmla="*/ 2147483647 h 184"/>
                  <a:gd name="T18" fmla="*/ 2147483647 w 144"/>
                  <a:gd name="T19" fmla="*/ 2147483647 h 184"/>
                  <a:gd name="T20" fmla="*/ 2147483647 w 144"/>
                  <a:gd name="T21" fmla="*/ 0 h 184"/>
                  <a:gd name="T22" fmla="*/ 2147483647 w 144"/>
                  <a:gd name="T23" fmla="*/ 2147483647 h 184"/>
                  <a:gd name="T24" fmla="*/ 2147483647 w 144"/>
                  <a:gd name="T25" fmla="*/ 0 h 184"/>
                  <a:gd name="T26" fmla="*/ 2147483647 w 144"/>
                  <a:gd name="T27" fmla="*/ 2147483647 h 184"/>
                  <a:gd name="T28" fmla="*/ 2147483647 w 144"/>
                  <a:gd name="T29" fmla="*/ 2147483647 h 184"/>
                  <a:gd name="T30" fmla="*/ 2147483647 w 144"/>
                  <a:gd name="T31" fmla="*/ 2147483647 h 184"/>
                  <a:gd name="T32" fmla="*/ 2147483647 w 144"/>
                  <a:gd name="T33" fmla="*/ 2147483647 h 184"/>
                  <a:gd name="T34" fmla="*/ 2147483647 w 144"/>
                  <a:gd name="T35" fmla="*/ 2147483647 h 184"/>
                  <a:gd name="T36" fmla="*/ 2147483647 w 144"/>
                  <a:gd name="T37" fmla="*/ 2147483647 h 184"/>
                  <a:gd name="T38" fmla="*/ 2147483647 w 144"/>
                  <a:gd name="T39" fmla="*/ 2147483647 h 184"/>
                  <a:gd name="T40" fmla="*/ 2147483647 w 144"/>
                  <a:gd name="T41" fmla="*/ 2147483647 h 184"/>
                  <a:gd name="T42" fmla="*/ 2147483647 w 144"/>
                  <a:gd name="T43" fmla="*/ 2147483647 h 184"/>
                  <a:gd name="T44" fmla="*/ 2147483647 w 144"/>
                  <a:gd name="T45" fmla="*/ 2147483647 h 184"/>
                  <a:gd name="T46" fmla="*/ 2147483647 w 144"/>
                  <a:gd name="T47" fmla="*/ 2147483647 h 184"/>
                  <a:gd name="T48" fmla="*/ 2147483647 w 144"/>
                  <a:gd name="T49" fmla="*/ 2147483647 h 184"/>
                  <a:gd name="T50" fmla="*/ 2147483647 w 144"/>
                  <a:gd name="T51" fmla="*/ 2147483647 h 184"/>
                  <a:gd name="T52" fmla="*/ 2147483647 w 144"/>
                  <a:gd name="T53" fmla="*/ 2147483647 h 184"/>
                  <a:gd name="T54" fmla="*/ 2147483647 w 144"/>
                  <a:gd name="T55" fmla="*/ 2147483647 h 184"/>
                  <a:gd name="T56" fmla="*/ 2147483647 w 144"/>
                  <a:gd name="T57" fmla="*/ 2147483647 h 184"/>
                  <a:gd name="T58" fmla="*/ 2147483647 w 144"/>
                  <a:gd name="T59" fmla="*/ 2147483647 h 184"/>
                  <a:gd name="T60" fmla="*/ 2147483647 w 144"/>
                  <a:gd name="T61" fmla="*/ 2147483647 h 184"/>
                  <a:gd name="T62" fmla="*/ 2147483647 w 144"/>
                  <a:gd name="T63" fmla="*/ 2147483647 h 184"/>
                  <a:gd name="T64" fmla="*/ 0 w 144"/>
                  <a:gd name="T65" fmla="*/ 2147483647 h 184"/>
                  <a:gd name="T66" fmla="*/ 2147483647 w 144"/>
                  <a:gd name="T67" fmla="*/ 2147483647 h 184"/>
                  <a:gd name="T68" fmla="*/ 2147483647 w 144"/>
                  <a:gd name="T69" fmla="*/ 2147483647 h 184"/>
                  <a:gd name="T70" fmla="*/ 2147483647 w 144"/>
                  <a:gd name="T71" fmla="*/ 2147483647 h 184"/>
                  <a:gd name="T72" fmla="*/ 2147483647 w 144"/>
                  <a:gd name="T73" fmla="*/ 2147483647 h 184"/>
                  <a:gd name="T74" fmla="*/ 2147483647 w 144"/>
                  <a:gd name="T75" fmla="*/ 2147483647 h 184"/>
                  <a:gd name="T76" fmla="*/ 2147483647 w 144"/>
                  <a:gd name="T77" fmla="*/ 2147483647 h 184"/>
                  <a:gd name="T78" fmla="*/ 2147483647 w 144"/>
                  <a:gd name="T79" fmla="*/ 2147483647 h 184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144"/>
                  <a:gd name="T121" fmla="*/ 0 h 184"/>
                  <a:gd name="T122" fmla="*/ 144 w 144"/>
                  <a:gd name="T123" fmla="*/ 184 h 184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144" h="184">
                    <a:moveTo>
                      <a:pt x="40" y="184"/>
                    </a:moveTo>
                    <a:lnTo>
                      <a:pt x="48" y="176"/>
                    </a:lnTo>
                    <a:lnTo>
                      <a:pt x="56" y="176"/>
                    </a:lnTo>
                    <a:lnTo>
                      <a:pt x="56" y="184"/>
                    </a:lnTo>
                    <a:lnTo>
                      <a:pt x="88" y="168"/>
                    </a:lnTo>
                    <a:lnTo>
                      <a:pt x="104" y="112"/>
                    </a:lnTo>
                    <a:lnTo>
                      <a:pt x="120" y="104"/>
                    </a:lnTo>
                    <a:lnTo>
                      <a:pt x="128" y="80"/>
                    </a:lnTo>
                    <a:lnTo>
                      <a:pt x="136" y="40"/>
                    </a:lnTo>
                    <a:lnTo>
                      <a:pt x="144" y="24"/>
                    </a:lnTo>
                    <a:lnTo>
                      <a:pt x="144" y="0"/>
                    </a:lnTo>
                    <a:lnTo>
                      <a:pt x="128" y="8"/>
                    </a:lnTo>
                    <a:lnTo>
                      <a:pt x="112" y="0"/>
                    </a:lnTo>
                    <a:lnTo>
                      <a:pt x="96" y="8"/>
                    </a:lnTo>
                    <a:lnTo>
                      <a:pt x="88" y="24"/>
                    </a:lnTo>
                    <a:lnTo>
                      <a:pt x="72" y="40"/>
                    </a:lnTo>
                    <a:lnTo>
                      <a:pt x="64" y="32"/>
                    </a:lnTo>
                    <a:lnTo>
                      <a:pt x="32" y="32"/>
                    </a:lnTo>
                    <a:lnTo>
                      <a:pt x="24" y="48"/>
                    </a:lnTo>
                    <a:lnTo>
                      <a:pt x="48" y="64"/>
                    </a:lnTo>
                    <a:lnTo>
                      <a:pt x="64" y="56"/>
                    </a:lnTo>
                    <a:lnTo>
                      <a:pt x="64" y="72"/>
                    </a:lnTo>
                    <a:lnTo>
                      <a:pt x="56" y="80"/>
                    </a:lnTo>
                    <a:lnTo>
                      <a:pt x="48" y="96"/>
                    </a:lnTo>
                    <a:lnTo>
                      <a:pt x="56" y="104"/>
                    </a:lnTo>
                    <a:lnTo>
                      <a:pt x="64" y="104"/>
                    </a:lnTo>
                    <a:lnTo>
                      <a:pt x="56" y="144"/>
                    </a:lnTo>
                    <a:lnTo>
                      <a:pt x="40" y="128"/>
                    </a:lnTo>
                    <a:lnTo>
                      <a:pt x="32" y="120"/>
                    </a:lnTo>
                    <a:lnTo>
                      <a:pt x="16" y="112"/>
                    </a:lnTo>
                    <a:lnTo>
                      <a:pt x="16" y="128"/>
                    </a:lnTo>
                    <a:lnTo>
                      <a:pt x="8" y="136"/>
                    </a:lnTo>
                    <a:lnTo>
                      <a:pt x="0" y="136"/>
                    </a:lnTo>
                    <a:lnTo>
                      <a:pt x="8" y="144"/>
                    </a:lnTo>
                    <a:lnTo>
                      <a:pt x="24" y="160"/>
                    </a:lnTo>
                    <a:lnTo>
                      <a:pt x="8" y="176"/>
                    </a:lnTo>
                    <a:lnTo>
                      <a:pt x="8" y="184"/>
                    </a:lnTo>
                    <a:lnTo>
                      <a:pt x="32" y="176"/>
                    </a:lnTo>
                    <a:lnTo>
                      <a:pt x="40" y="176"/>
                    </a:lnTo>
                    <a:lnTo>
                      <a:pt x="40" y="184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1052" name="Freeform 330">
                <a:extLst>
                  <a:ext uri="{FF2B5EF4-FFF2-40B4-BE49-F238E27FC236}">
                    <a16:creationId xmlns:a16="http://schemas.microsoft.com/office/drawing/2014/main" id="{AE9FEA20-3361-4BA0-0DBF-760C2D300BE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419152" y="3445394"/>
                <a:ext cx="709017" cy="782679"/>
              </a:xfrm>
              <a:custGeom>
                <a:avLst/>
                <a:gdLst>
                  <a:gd name="T0" fmla="*/ 2147483647 w 224"/>
                  <a:gd name="T1" fmla="*/ 2147483647 h 224"/>
                  <a:gd name="T2" fmla="*/ 2147483647 w 224"/>
                  <a:gd name="T3" fmla="*/ 2147483647 h 224"/>
                  <a:gd name="T4" fmla="*/ 2147483647 w 224"/>
                  <a:gd name="T5" fmla="*/ 2147483647 h 224"/>
                  <a:gd name="T6" fmla="*/ 2147483647 w 224"/>
                  <a:gd name="T7" fmla="*/ 2147483647 h 224"/>
                  <a:gd name="T8" fmla="*/ 2147483647 w 224"/>
                  <a:gd name="T9" fmla="*/ 2147483647 h 224"/>
                  <a:gd name="T10" fmla="*/ 2147483647 w 224"/>
                  <a:gd name="T11" fmla="*/ 0 h 224"/>
                  <a:gd name="T12" fmla="*/ 2147483647 w 224"/>
                  <a:gd name="T13" fmla="*/ 0 h 224"/>
                  <a:gd name="T14" fmla="*/ 2147483647 w 224"/>
                  <a:gd name="T15" fmla="*/ 0 h 224"/>
                  <a:gd name="T16" fmla="*/ 2147483647 w 224"/>
                  <a:gd name="T17" fmla="*/ 2147483647 h 224"/>
                  <a:gd name="T18" fmla="*/ 2147483647 w 224"/>
                  <a:gd name="T19" fmla="*/ 2147483647 h 224"/>
                  <a:gd name="T20" fmla="*/ 2147483647 w 224"/>
                  <a:gd name="T21" fmla="*/ 2147483647 h 224"/>
                  <a:gd name="T22" fmla="*/ 2147483647 w 224"/>
                  <a:gd name="T23" fmla="*/ 2147483647 h 224"/>
                  <a:gd name="T24" fmla="*/ 2147483647 w 224"/>
                  <a:gd name="T25" fmla="*/ 2147483647 h 224"/>
                  <a:gd name="T26" fmla="*/ 2147483647 w 224"/>
                  <a:gd name="T27" fmla="*/ 2147483647 h 224"/>
                  <a:gd name="T28" fmla="*/ 2147483647 w 224"/>
                  <a:gd name="T29" fmla="*/ 2147483647 h 224"/>
                  <a:gd name="T30" fmla="*/ 2147483647 w 224"/>
                  <a:gd name="T31" fmla="*/ 2147483647 h 224"/>
                  <a:gd name="T32" fmla="*/ 2147483647 w 224"/>
                  <a:gd name="T33" fmla="*/ 2147483647 h 224"/>
                  <a:gd name="T34" fmla="*/ 0 w 224"/>
                  <a:gd name="T35" fmla="*/ 2147483647 h 224"/>
                  <a:gd name="T36" fmla="*/ 0 w 224"/>
                  <a:gd name="T37" fmla="*/ 2147483647 h 224"/>
                  <a:gd name="T38" fmla="*/ 2147483647 w 224"/>
                  <a:gd name="T39" fmla="*/ 2147483647 h 224"/>
                  <a:gd name="T40" fmla="*/ 2147483647 w 224"/>
                  <a:gd name="T41" fmla="*/ 2147483647 h 224"/>
                  <a:gd name="T42" fmla="*/ 2147483647 w 224"/>
                  <a:gd name="T43" fmla="*/ 2147483647 h 224"/>
                  <a:gd name="T44" fmla="*/ 2147483647 w 224"/>
                  <a:gd name="T45" fmla="*/ 2147483647 h 224"/>
                  <a:gd name="T46" fmla="*/ 2147483647 w 224"/>
                  <a:gd name="T47" fmla="*/ 2147483647 h 224"/>
                  <a:gd name="T48" fmla="*/ 2147483647 w 224"/>
                  <a:gd name="T49" fmla="*/ 2147483647 h 224"/>
                  <a:gd name="T50" fmla="*/ 2147483647 w 224"/>
                  <a:gd name="T51" fmla="*/ 2147483647 h 224"/>
                  <a:gd name="T52" fmla="*/ 2147483647 w 224"/>
                  <a:gd name="T53" fmla="*/ 2147483647 h 224"/>
                  <a:gd name="T54" fmla="*/ 2147483647 w 224"/>
                  <a:gd name="T55" fmla="*/ 2147483647 h 224"/>
                  <a:gd name="T56" fmla="*/ 2147483647 w 224"/>
                  <a:gd name="T57" fmla="*/ 2147483647 h 224"/>
                  <a:gd name="T58" fmla="*/ 2147483647 w 224"/>
                  <a:gd name="T59" fmla="*/ 2147483647 h 224"/>
                  <a:gd name="T60" fmla="*/ 2147483647 w 224"/>
                  <a:gd name="T61" fmla="*/ 2147483647 h 224"/>
                  <a:gd name="T62" fmla="*/ 2147483647 w 224"/>
                  <a:gd name="T63" fmla="*/ 2147483647 h 224"/>
                  <a:gd name="T64" fmla="*/ 2147483647 w 224"/>
                  <a:gd name="T65" fmla="*/ 2147483647 h 224"/>
                  <a:gd name="T66" fmla="*/ 2147483647 w 224"/>
                  <a:gd name="T67" fmla="*/ 2147483647 h 224"/>
                  <a:gd name="T68" fmla="*/ 2147483647 w 224"/>
                  <a:gd name="T69" fmla="*/ 2147483647 h 224"/>
                  <a:gd name="T70" fmla="*/ 2147483647 w 224"/>
                  <a:gd name="T71" fmla="*/ 2147483647 h 224"/>
                  <a:gd name="T72" fmla="*/ 2147483647 w 224"/>
                  <a:gd name="T73" fmla="*/ 2147483647 h 224"/>
                  <a:gd name="T74" fmla="*/ 2147483647 w 224"/>
                  <a:gd name="T75" fmla="*/ 2147483647 h 224"/>
                  <a:gd name="T76" fmla="*/ 2147483647 w 224"/>
                  <a:gd name="T77" fmla="*/ 2147483647 h 224"/>
                  <a:gd name="T78" fmla="*/ 2147483647 w 224"/>
                  <a:gd name="T79" fmla="*/ 2147483647 h 224"/>
                  <a:gd name="T80" fmla="*/ 2147483647 w 224"/>
                  <a:gd name="T81" fmla="*/ 2147483647 h 224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224"/>
                  <a:gd name="T124" fmla="*/ 0 h 224"/>
                  <a:gd name="T125" fmla="*/ 224 w 224"/>
                  <a:gd name="T126" fmla="*/ 224 h 224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224" h="224">
                    <a:moveTo>
                      <a:pt x="200" y="72"/>
                    </a:moveTo>
                    <a:lnTo>
                      <a:pt x="160" y="56"/>
                    </a:lnTo>
                    <a:lnTo>
                      <a:pt x="160" y="40"/>
                    </a:lnTo>
                    <a:lnTo>
                      <a:pt x="160" y="32"/>
                    </a:lnTo>
                    <a:lnTo>
                      <a:pt x="120" y="16"/>
                    </a:lnTo>
                    <a:lnTo>
                      <a:pt x="88" y="0"/>
                    </a:lnTo>
                    <a:lnTo>
                      <a:pt x="32" y="0"/>
                    </a:lnTo>
                    <a:lnTo>
                      <a:pt x="24" y="0"/>
                    </a:lnTo>
                    <a:lnTo>
                      <a:pt x="32" y="8"/>
                    </a:lnTo>
                    <a:lnTo>
                      <a:pt x="24" y="16"/>
                    </a:lnTo>
                    <a:lnTo>
                      <a:pt x="16" y="24"/>
                    </a:lnTo>
                    <a:lnTo>
                      <a:pt x="16" y="32"/>
                    </a:lnTo>
                    <a:lnTo>
                      <a:pt x="24" y="40"/>
                    </a:lnTo>
                    <a:lnTo>
                      <a:pt x="24" y="48"/>
                    </a:lnTo>
                    <a:lnTo>
                      <a:pt x="16" y="56"/>
                    </a:lnTo>
                    <a:lnTo>
                      <a:pt x="16" y="64"/>
                    </a:lnTo>
                    <a:lnTo>
                      <a:pt x="8" y="72"/>
                    </a:lnTo>
                    <a:lnTo>
                      <a:pt x="0" y="80"/>
                    </a:lnTo>
                    <a:lnTo>
                      <a:pt x="0" y="104"/>
                    </a:lnTo>
                    <a:lnTo>
                      <a:pt x="24" y="136"/>
                    </a:lnTo>
                    <a:lnTo>
                      <a:pt x="24" y="152"/>
                    </a:lnTo>
                    <a:lnTo>
                      <a:pt x="40" y="168"/>
                    </a:lnTo>
                    <a:lnTo>
                      <a:pt x="64" y="176"/>
                    </a:lnTo>
                    <a:lnTo>
                      <a:pt x="80" y="176"/>
                    </a:lnTo>
                    <a:lnTo>
                      <a:pt x="96" y="176"/>
                    </a:lnTo>
                    <a:lnTo>
                      <a:pt x="104" y="192"/>
                    </a:lnTo>
                    <a:lnTo>
                      <a:pt x="104" y="224"/>
                    </a:lnTo>
                    <a:lnTo>
                      <a:pt x="136" y="224"/>
                    </a:lnTo>
                    <a:lnTo>
                      <a:pt x="152" y="224"/>
                    </a:lnTo>
                    <a:lnTo>
                      <a:pt x="160" y="224"/>
                    </a:lnTo>
                    <a:lnTo>
                      <a:pt x="176" y="224"/>
                    </a:lnTo>
                    <a:lnTo>
                      <a:pt x="192" y="208"/>
                    </a:lnTo>
                    <a:lnTo>
                      <a:pt x="200" y="208"/>
                    </a:lnTo>
                    <a:lnTo>
                      <a:pt x="208" y="200"/>
                    </a:lnTo>
                    <a:lnTo>
                      <a:pt x="224" y="192"/>
                    </a:lnTo>
                    <a:lnTo>
                      <a:pt x="200" y="168"/>
                    </a:lnTo>
                    <a:lnTo>
                      <a:pt x="192" y="144"/>
                    </a:lnTo>
                    <a:lnTo>
                      <a:pt x="200" y="120"/>
                    </a:lnTo>
                    <a:lnTo>
                      <a:pt x="184" y="112"/>
                    </a:lnTo>
                    <a:lnTo>
                      <a:pt x="184" y="96"/>
                    </a:lnTo>
                    <a:lnTo>
                      <a:pt x="200" y="72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1053" name="Freeform 331">
                <a:extLst>
                  <a:ext uri="{FF2B5EF4-FFF2-40B4-BE49-F238E27FC236}">
                    <a16:creationId xmlns:a16="http://schemas.microsoft.com/office/drawing/2014/main" id="{01F0144F-563A-0B7A-7992-5672D23391F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392060" y="3056238"/>
                <a:ext cx="383862" cy="419759"/>
              </a:xfrm>
              <a:custGeom>
                <a:avLst/>
                <a:gdLst>
                  <a:gd name="T0" fmla="*/ 2147483647 w 120"/>
                  <a:gd name="T1" fmla="*/ 2147483647 h 120"/>
                  <a:gd name="T2" fmla="*/ 2147483647 w 120"/>
                  <a:gd name="T3" fmla="*/ 2147483647 h 120"/>
                  <a:gd name="T4" fmla="*/ 2147483647 w 120"/>
                  <a:gd name="T5" fmla="*/ 2147483647 h 120"/>
                  <a:gd name="T6" fmla="*/ 2147483647 w 120"/>
                  <a:gd name="T7" fmla="*/ 2147483647 h 120"/>
                  <a:gd name="T8" fmla="*/ 2147483647 w 120"/>
                  <a:gd name="T9" fmla="*/ 2147483647 h 120"/>
                  <a:gd name="T10" fmla="*/ 0 w 120"/>
                  <a:gd name="T11" fmla="*/ 2147483647 h 120"/>
                  <a:gd name="T12" fmla="*/ 2147483647 w 120"/>
                  <a:gd name="T13" fmla="*/ 2147483647 h 120"/>
                  <a:gd name="T14" fmla="*/ 2147483647 w 120"/>
                  <a:gd name="T15" fmla="*/ 2147483647 h 120"/>
                  <a:gd name="T16" fmla="*/ 2147483647 w 120"/>
                  <a:gd name="T17" fmla="*/ 2147483647 h 120"/>
                  <a:gd name="T18" fmla="*/ 2147483647 w 120"/>
                  <a:gd name="T19" fmla="*/ 2147483647 h 120"/>
                  <a:gd name="T20" fmla="*/ 2147483647 w 120"/>
                  <a:gd name="T21" fmla="*/ 2147483647 h 120"/>
                  <a:gd name="T22" fmla="*/ 2147483647 w 120"/>
                  <a:gd name="T23" fmla="*/ 2147483647 h 120"/>
                  <a:gd name="T24" fmla="*/ 2147483647 w 120"/>
                  <a:gd name="T25" fmla="*/ 2147483647 h 120"/>
                  <a:gd name="T26" fmla="*/ 2147483647 w 120"/>
                  <a:gd name="T27" fmla="*/ 0 h 120"/>
                  <a:gd name="T28" fmla="*/ 2147483647 w 120"/>
                  <a:gd name="T29" fmla="*/ 2147483647 h 120"/>
                  <a:gd name="T30" fmla="*/ 2147483647 w 120"/>
                  <a:gd name="T31" fmla="*/ 2147483647 h 120"/>
                  <a:gd name="T32" fmla="*/ 2147483647 w 120"/>
                  <a:gd name="T33" fmla="*/ 2147483647 h 120"/>
                  <a:gd name="T34" fmla="*/ 2147483647 w 120"/>
                  <a:gd name="T35" fmla="*/ 2147483647 h 120"/>
                  <a:gd name="T36" fmla="*/ 2147483647 w 120"/>
                  <a:gd name="T37" fmla="*/ 2147483647 h 120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20"/>
                  <a:gd name="T58" fmla="*/ 0 h 120"/>
                  <a:gd name="T59" fmla="*/ 120 w 120"/>
                  <a:gd name="T60" fmla="*/ 120 h 120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20" h="120">
                    <a:moveTo>
                      <a:pt x="96" y="112"/>
                    </a:moveTo>
                    <a:lnTo>
                      <a:pt x="40" y="112"/>
                    </a:lnTo>
                    <a:lnTo>
                      <a:pt x="32" y="112"/>
                    </a:lnTo>
                    <a:lnTo>
                      <a:pt x="24" y="112"/>
                    </a:lnTo>
                    <a:lnTo>
                      <a:pt x="16" y="120"/>
                    </a:lnTo>
                    <a:lnTo>
                      <a:pt x="0" y="120"/>
                    </a:lnTo>
                    <a:lnTo>
                      <a:pt x="8" y="96"/>
                    </a:lnTo>
                    <a:lnTo>
                      <a:pt x="32" y="56"/>
                    </a:lnTo>
                    <a:lnTo>
                      <a:pt x="32" y="40"/>
                    </a:lnTo>
                    <a:lnTo>
                      <a:pt x="32" y="16"/>
                    </a:lnTo>
                    <a:lnTo>
                      <a:pt x="40" y="16"/>
                    </a:lnTo>
                    <a:lnTo>
                      <a:pt x="56" y="16"/>
                    </a:lnTo>
                    <a:lnTo>
                      <a:pt x="80" y="16"/>
                    </a:lnTo>
                    <a:lnTo>
                      <a:pt x="96" y="0"/>
                    </a:lnTo>
                    <a:lnTo>
                      <a:pt x="104" y="16"/>
                    </a:lnTo>
                    <a:lnTo>
                      <a:pt x="120" y="48"/>
                    </a:lnTo>
                    <a:lnTo>
                      <a:pt x="120" y="64"/>
                    </a:lnTo>
                    <a:lnTo>
                      <a:pt x="96" y="80"/>
                    </a:lnTo>
                    <a:lnTo>
                      <a:pt x="96" y="112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1054" name="Freeform 332">
                <a:extLst>
                  <a:ext uri="{FF2B5EF4-FFF2-40B4-BE49-F238E27FC236}">
                    <a16:creationId xmlns:a16="http://schemas.microsoft.com/office/drawing/2014/main" id="{D1F69DF6-1073-C7CC-FDF6-5F13F244AB7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276594" y="4608480"/>
                <a:ext cx="912242" cy="918226"/>
              </a:xfrm>
              <a:custGeom>
                <a:avLst/>
                <a:gdLst>
                  <a:gd name="T0" fmla="*/ 2147483647 w 288"/>
                  <a:gd name="T1" fmla="*/ 2147483647 h 264"/>
                  <a:gd name="T2" fmla="*/ 2147483647 w 288"/>
                  <a:gd name="T3" fmla="*/ 2147483647 h 264"/>
                  <a:gd name="T4" fmla="*/ 2147483647 w 288"/>
                  <a:gd name="T5" fmla="*/ 2147483647 h 264"/>
                  <a:gd name="T6" fmla="*/ 2147483647 w 288"/>
                  <a:gd name="T7" fmla="*/ 2147483647 h 264"/>
                  <a:gd name="T8" fmla="*/ 2147483647 w 288"/>
                  <a:gd name="T9" fmla="*/ 2147483647 h 264"/>
                  <a:gd name="T10" fmla="*/ 2147483647 w 288"/>
                  <a:gd name="T11" fmla="*/ 2147483647 h 264"/>
                  <a:gd name="T12" fmla="*/ 2147483647 w 288"/>
                  <a:gd name="T13" fmla="*/ 2147483647 h 264"/>
                  <a:gd name="T14" fmla="*/ 2147483647 w 288"/>
                  <a:gd name="T15" fmla="*/ 2147483647 h 264"/>
                  <a:gd name="T16" fmla="*/ 2147483647 w 288"/>
                  <a:gd name="T17" fmla="*/ 2147483647 h 264"/>
                  <a:gd name="T18" fmla="*/ 2147483647 w 288"/>
                  <a:gd name="T19" fmla="*/ 2147483647 h 264"/>
                  <a:gd name="T20" fmla="*/ 0 w 288"/>
                  <a:gd name="T21" fmla="*/ 2147483647 h 264"/>
                  <a:gd name="T22" fmla="*/ 2147483647 w 288"/>
                  <a:gd name="T23" fmla="*/ 0 h 264"/>
                  <a:gd name="T24" fmla="*/ 2147483647 w 288"/>
                  <a:gd name="T25" fmla="*/ 0 h 264"/>
                  <a:gd name="T26" fmla="*/ 2147483647 w 288"/>
                  <a:gd name="T27" fmla="*/ 2147483647 h 264"/>
                  <a:gd name="T28" fmla="*/ 2147483647 w 288"/>
                  <a:gd name="T29" fmla="*/ 0 h 264"/>
                  <a:gd name="T30" fmla="*/ 2147483647 w 288"/>
                  <a:gd name="T31" fmla="*/ 0 h 264"/>
                  <a:gd name="T32" fmla="*/ 2147483647 w 288"/>
                  <a:gd name="T33" fmla="*/ 2147483647 h 264"/>
                  <a:gd name="T34" fmla="*/ 2147483647 w 288"/>
                  <a:gd name="T35" fmla="*/ 2147483647 h 264"/>
                  <a:gd name="T36" fmla="*/ 2147483647 w 288"/>
                  <a:gd name="T37" fmla="*/ 2147483647 h 264"/>
                  <a:gd name="T38" fmla="*/ 2147483647 w 288"/>
                  <a:gd name="T39" fmla="*/ 2147483647 h 264"/>
                  <a:gd name="T40" fmla="*/ 2147483647 w 288"/>
                  <a:gd name="T41" fmla="*/ 0 h 264"/>
                  <a:gd name="T42" fmla="*/ 2147483647 w 288"/>
                  <a:gd name="T43" fmla="*/ 2147483647 h 264"/>
                  <a:gd name="T44" fmla="*/ 2147483647 w 288"/>
                  <a:gd name="T45" fmla="*/ 2147483647 h 264"/>
                  <a:gd name="T46" fmla="*/ 2147483647 w 288"/>
                  <a:gd name="T47" fmla="*/ 2147483647 h 264"/>
                  <a:gd name="T48" fmla="*/ 2147483647 w 288"/>
                  <a:gd name="T49" fmla="*/ 2147483647 h 264"/>
                  <a:gd name="T50" fmla="*/ 2147483647 w 288"/>
                  <a:gd name="T51" fmla="*/ 2147483647 h 264"/>
                  <a:gd name="T52" fmla="*/ 2147483647 w 288"/>
                  <a:gd name="T53" fmla="*/ 2147483647 h 264"/>
                  <a:gd name="T54" fmla="*/ 2147483647 w 288"/>
                  <a:gd name="T55" fmla="*/ 2147483647 h 264"/>
                  <a:gd name="T56" fmla="*/ 2147483647 w 288"/>
                  <a:gd name="T57" fmla="*/ 2147483647 h 264"/>
                  <a:gd name="T58" fmla="*/ 2147483647 w 288"/>
                  <a:gd name="T59" fmla="*/ 2147483647 h 264"/>
                  <a:gd name="T60" fmla="*/ 2147483647 w 288"/>
                  <a:gd name="T61" fmla="*/ 2147483647 h 264"/>
                  <a:gd name="T62" fmla="*/ 2147483647 w 288"/>
                  <a:gd name="T63" fmla="*/ 2147483647 h 264"/>
                  <a:gd name="T64" fmla="*/ 2147483647 w 288"/>
                  <a:gd name="T65" fmla="*/ 2147483647 h 264"/>
                  <a:gd name="T66" fmla="*/ 2147483647 w 288"/>
                  <a:gd name="T67" fmla="*/ 2147483647 h 264"/>
                  <a:gd name="T68" fmla="*/ 2147483647 w 288"/>
                  <a:gd name="T69" fmla="*/ 2147483647 h 264"/>
                  <a:gd name="T70" fmla="*/ 2147483647 w 288"/>
                  <a:gd name="T71" fmla="*/ 2147483647 h 264"/>
                  <a:gd name="T72" fmla="*/ 2147483647 w 288"/>
                  <a:gd name="T73" fmla="*/ 2147483647 h 264"/>
                  <a:gd name="T74" fmla="*/ 2147483647 w 288"/>
                  <a:gd name="T75" fmla="*/ 2147483647 h 264"/>
                  <a:gd name="T76" fmla="*/ 2147483647 w 288"/>
                  <a:gd name="T77" fmla="*/ 2147483647 h 264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288"/>
                  <a:gd name="T118" fmla="*/ 0 h 264"/>
                  <a:gd name="T119" fmla="*/ 288 w 288"/>
                  <a:gd name="T120" fmla="*/ 264 h 264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288" h="264">
                    <a:moveTo>
                      <a:pt x="96" y="256"/>
                    </a:moveTo>
                    <a:lnTo>
                      <a:pt x="88" y="240"/>
                    </a:lnTo>
                    <a:lnTo>
                      <a:pt x="72" y="224"/>
                    </a:lnTo>
                    <a:lnTo>
                      <a:pt x="64" y="192"/>
                    </a:lnTo>
                    <a:lnTo>
                      <a:pt x="56" y="168"/>
                    </a:lnTo>
                    <a:lnTo>
                      <a:pt x="48" y="120"/>
                    </a:lnTo>
                    <a:lnTo>
                      <a:pt x="48" y="112"/>
                    </a:lnTo>
                    <a:lnTo>
                      <a:pt x="16" y="56"/>
                    </a:lnTo>
                    <a:lnTo>
                      <a:pt x="16" y="48"/>
                    </a:lnTo>
                    <a:lnTo>
                      <a:pt x="8" y="32"/>
                    </a:lnTo>
                    <a:lnTo>
                      <a:pt x="0" y="8"/>
                    </a:lnTo>
                    <a:lnTo>
                      <a:pt x="16" y="0"/>
                    </a:lnTo>
                    <a:lnTo>
                      <a:pt x="40" y="0"/>
                    </a:lnTo>
                    <a:lnTo>
                      <a:pt x="48" y="8"/>
                    </a:lnTo>
                    <a:lnTo>
                      <a:pt x="72" y="0"/>
                    </a:lnTo>
                    <a:lnTo>
                      <a:pt x="128" y="0"/>
                    </a:lnTo>
                    <a:lnTo>
                      <a:pt x="152" y="16"/>
                    </a:lnTo>
                    <a:lnTo>
                      <a:pt x="168" y="16"/>
                    </a:lnTo>
                    <a:lnTo>
                      <a:pt x="192" y="16"/>
                    </a:lnTo>
                    <a:lnTo>
                      <a:pt x="216" y="16"/>
                    </a:lnTo>
                    <a:lnTo>
                      <a:pt x="232" y="0"/>
                    </a:lnTo>
                    <a:lnTo>
                      <a:pt x="240" y="8"/>
                    </a:lnTo>
                    <a:lnTo>
                      <a:pt x="264" y="8"/>
                    </a:lnTo>
                    <a:lnTo>
                      <a:pt x="280" y="8"/>
                    </a:lnTo>
                    <a:lnTo>
                      <a:pt x="288" y="16"/>
                    </a:lnTo>
                    <a:lnTo>
                      <a:pt x="272" y="16"/>
                    </a:lnTo>
                    <a:lnTo>
                      <a:pt x="248" y="24"/>
                    </a:lnTo>
                    <a:lnTo>
                      <a:pt x="232" y="24"/>
                    </a:lnTo>
                    <a:lnTo>
                      <a:pt x="192" y="32"/>
                    </a:lnTo>
                    <a:lnTo>
                      <a:pt x="192" y="104"/>
                    </a:lnTo>
                    <a:lnTo>
                      <a:pt x="168" y="104"/>
                    </a:lnTo>
                    <a:lnTo>
                      <a:pt x="168" y="160"/>
                    </a:lnTo>
                    <a:lnTo>
                      <a:pt x="168" y="256"/>
                    </a:lnTo>
                    <a:lnTo>
                      <a:pt x="144" y="264"/>
                    </a:lnTo>
                    <a:lnTo>
                      <a:pt x="128" y="256"/>
                    </a:lnTo>
                    <a:lnTo>
                      <a:pt x="120" y="248"/>
                    </a:lnTo>
                    <a:lnTo>
                      <a:pt x="112" y="248"/>
                    </a:lnTo>
                    <a:lnTo>
                      <a:pt x="104" y="248"/>
                    </a:lnTo>
                    <a:lnTo>
                      <a:pt x="96" y="256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1055" name="Freeform 333">
                <a:extLst>
                  <a:ext uri="{FF2B5EF4-FFF2-40B4-BE49-F238E27FC236}">
                    <a16:creationId xmlns:a16="http://schemas.microsoft.com/office/drawing/2014/main" id="{EBB39787-C2BE-CF6C-F581-894FC74F5ED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809486" y="4669696"/>
                <a:ext cx="559989" cy="664620"/>
              </a:xfrm>
              <a:custGeom>
                <a:avLst/>
                <a:gdLst>
                  <a:gd name="T0" fmla="*/ 2147483647 w 176"/>
                  <a:gd name="T1" fmla="*/ 2147483647 h 192"/>
                  <a:gd name="T2" fmla="*/ 2147483647 w 176"/>
                  <a:gd name="T3" fmla="*/ 2147483647 h 192"/>
                  <a:gd name="T4" fmla="*/ 2147483647 w 176"/>
                  <a:gd name="T5" fmla="*/ 2147483647 h 192"/>
                  <a:gd name="T6" fmla="*/ 2147483647 w 176"/>
                  <a:gd name="T7" fmla="*/ 2147483647 h 192"/>
                  <a:gd name="T8" fmla="*/ 2147483647 w 176"/>
                  <a:gd name="T9" fmla="*/ 2147483647 h 192"/>
                  <a:gd name="T10" fmla="*/ 2147483647 w 176"/>
                  <a:gd name="T11" fmla="*/ 0 h 192"/>
                  <a:gd name="T12" fmla="*/ 2147483647 w 176"/>
                  <a:gd name="T13" fmla="*/ 0 h 192"/>
                  <a:gd name="T14" fmla="*/ 2147483647 w 176"/>
                  <a:gd name="T15" fmla="*/ 2147483647 h 192"/>
                  <a:gd name="T16" fmla="*/ 2147483647 w 176"/>
                  <a:gd name="T17" fmla="*/ 2147483647 h 192"/>
                  <a:gd name="T18" fmla="*/ 2147483647 w 176"/>
                  <a:gd name="T19" fmla="*/ 2147483647 h 192"/>
                  <a:gd name="T20" fmla="*/ 2147483647 w 176"/>
                  <a:gd name="T21" fmla="*/ 2147483647 h 192"/>
                  <a:gd name="T22" fmla="*/ 0 w 176"/>
                  <a:gd name="T23" fmla="*/ 2147483647 h 192"/>
                  <a:gd name="T24" fmla="*/ 0 w 176"/>
                  <a:gd name="T25" fmla="*/ 2147483647 h 192"/>
                  <a:gd name="T26" fmla="*/ 2147483647 w 176"/>
                  <a:gd name="T27" fmla="*/ 2147483647 h 192"/>
                  <a:gd name="T28" fmla="*/ 2147483647 w 176"/>
                  <a:gd name="T29" fmla="*/ 2147483647 h 192"/>
                  <a:gd name="T30" fmla="*/ 2147483647 w 176"/>
                  <a:gd name="T31" fmla="*/ 2147483647 h 192"/>
                  <a:gd name="T32" fmla="*/ 2147483647 w 176"/>
                  <a:gd name="T33" fmla="*/ 2147483647 h 192"/>
                  <a:gd name="T34" fmla="*/ 2147483647 w 176"/>
                  <a:gd name="T35" fmla="*/ 2147483647 h 192"/>
                  <a:gd name="T36" fmla="*/ 2147483647 w 176"/>
                  <a:gd name="T37" fmla="*/ 2147483647 h 192"/>
                  <a:gd name="T38" fmla="*/ 2147483647 w 176"/>
                  <a:gd name="T39" fmla="*/ 2147483647 h 192"/>
                  <a:gd name="T40" fmla="*/ 2147483647 w 176"/>
                  <a:gd name="T41" fmla="*/ 2147483647 h 192"/>
                  <a:gd name="T42" fmla="*/ 2147483647 w 176"/>
                  <a:gd name="T43" fmla="*/ 2147483647 h 192"/>
                  <a:gd name="T44" fmla="*/ 2147483647 w 176"/>
                  <a:gd name="T45" fmla="*/ 2147483647 h 192"/>
                  <a:gd name="T46" fmla="*/ 2147483647 w 176"/>
                  <a:gd name="T47" fmla="*/ 2147483647 h 192"/>
                  <a:gd name="T48" fmla="*/ 2147483647 w 176"/>
                  <a:gd name="T49" fmla="*/ 2147483647 h 192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76"/>
                  <a:gd name="T76" fmla="*/ 0 h 192"/>
                  <a:gd name="T77" fmla="*/ 176 w 176"/>
                  <a:gd name="T78" fmla="*/ 192 h 192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76" h="192">
                    <a:moveTo>
                      <a:pt x="176" y="96"/>
                    </a:moveTo>
                    <a:lnTo>
                      <a:pt x="168" y="80"/>
                    </a:lnTo>
                    <a:lnTo>
                      <a:pt x="152" y="56"/>
                    </a:lnTo>
                    <a:lnTo>
                      <a:pt x="152" y="40"/>
                    </a:lnTo>
                    <a:lnTo>
                      <a:pt x="120" y="16"/>
                    </a:lnTo>
                    <a:lnTo>
                      <a:pt x="120" y="0"/>
                    </a:lnTo>
                    <a:lnTo>
                      <a:pt x="104" y="0"/>
                    </a:lnTo>
                    <a:lnTo>
                      <a:pt x="80" y="8"/>
                    </a:lnTo>
                    <a:lnTo>
                      <a:pt x="64" y="8"/>
                    </a:lnTo>
                    <a:lnTo>
                      <a:pt x="24" y="16"/>
                    </a:lnTo>
                    <a:lnTo>
                      <a:pt x="24" y="88"/>
                    </a:lnTo>
                    <a:lnTo>
                      <a:pt x="0" y="88"/>
                    </a:lnTo>
                    <a:lnTo>
                      <a:pt x="0" y="144"/>
                    </a:lnTo>
                    <a:lnTo>
                      <a:pt x="16" y="160"/>
                    </a:lnTo>
                    <a:lnTo>
                      <a:pt x="24" y="192"/>
                    </a:lnTo>
                    <a:lnTo>
                      <a:pt x="40" y="192"/>
                    </a:lnTo>
                    <a:lnTo>
                      <a:pt x="64" y="168"/>
                    </a:lnTo>
                    <a:lnTo>
                      <a:pt x="80" y="168"/>
                    </a:lnTo>
                    <a:lnTo>
                      <a:pt x="88" y="176"/>
                    </a:lnTo>
                    <a:lnTo>
                      <a:pt x="104" y="168"/>
                    </a:lnTo>
                    <a:lnTo>
                      <a:pt x="120" y="152"/>
                    </a:lnTo>
                    <a:lnTo>
                      <a:pt x="120" y="128"/>
                    </a:lnTo>
                    <a:lnTo>
                      <a:pt x="144" y="120"/>
                    </a:lnTo>
                    <a:lnTo>
                      <a:pt x="152" y="112"/>
                    </a:lnTo>
                    <a:lnTo>
                      <a:pt x="176" y="96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1056" name="Freeform 334">
                <a:extLst>
                  <a:ext uri="{FF2B5EF4-FFF2-40B4-BE49-F238E27FC236}">
                    <a16:creationId xmlns:a16="http://schemas.microsoft.com/office/drawing/2014/main" id="{A5586A47-5A99-14B9-13C0-D673E6C1739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188833" y="4503543"/>
                <a:ext cx="460637" cy="494094"/>
              </a:xfrm>
              <a:custGeom>
                <a:avLst/>
                <a:gdLst>
                  <a:gd name="T0" fmla="*/ 2147483647 w 144"/>
                  <a:gd name="T1" fmla="*/ 2147483647 h 144"/>
                  <a:gd name="T2" fmla="*/ 2147483647 w 144"/>
                  <a:gd name="T3" fmla="*/ 2147483647 h 144"/>
                  <a:gd name="T4" fmla="*/ 2147483647 w 144"/>
                  <a:gd name="T5" fmla="*/ 2147483647 h 144"/>
                  <a:gd name="T6" fmla="*/ 2147483647 w 144"/>
                  <a:gd name="T7" fmla="*/ 2147483647 h 144"/>
                  <a:gd name="T8" fmla="*/ 2147483647 w 144"/>
                  <a:gd name="T9" fmla="*/ 2147483647 h 144"/>
                  <a:gd name="T10" fmla="*/ 0 w 144"/>
                  <a:gd name="T11" fmla="*/ 2147483647 h 144"/>
                  <a:gd name="T12" fmla="*/ 0 w 144"/>
                  <a:gd name="T13" fmla="*/ 2147483647 h 144"/>
                  <a:gd name="T14" fmla="*/ 2147483647 w 144"/>
                  <a:gd name="T15" fmla="*/ 2147483647 h 144"/>
                  <a:gd name="T16" fmla="*/ 2147483647 w 144"/>
                  <a:gd name="T17" fmla="*/ 2147483647 h 144"/>
                  <a:gd name="T18" fmla="*/ 2147483647 w 144"/>
                  <a:gd name="T19" fmla="*/ 2147483647 h 144"/>
                  <a:gd name="T20" fmla="*/ 2147483647 w 144"/>
                  <a:gd name="T21" fmla="*/ 2147483647 h 144"/>
                  <a:gd name="T22" fmla="*/ 2147483647 w 144"/>
                  <a:gd name="T23" fmla="*/ 2147483647 h 144"/>
                  <a:gd name="T24" fmla="*/ 2147483647 w 144"/>
                  <a:gd name="T25" fmla="*/ 2147483647 h 144"/>
                  <a:gd name="T26" fmla="*/ 2147483647 w 144"/>
                  <a:gd name="T27" fmla="*/ 2147483647 h 144"/>
                  <a:gd name="T28" fmla="*/ 2147483647 w 144"/>
                  <a:gd name="T29" fmla="*/ 2147483647 h 144"/>
                  <a:gd name="T30" fmla="*/ 2147483647 w 144"/>
                  <a:gd name="T31" fmla="*/ 2147483647 h 144"/>
                  <a:gd name="T32" fmla="*/ 2147483647 w 144"/>
                  <a:gd name="T33" fmla="*/ 2147483647 h 144"/>
                  <a:gd name="T34" fmla="*/ 2147483647 w 144"/>
                  <a:gd name="T35" fmla="*/ 2147483647 h 144"/>
                  <a:gd name="T36" fmla="*/ 2147483647 w 144"/>
                  <a:gd name="T37" fmla="*/ 2147483647 h 144"/>
                  <a:gd name="T38" fmla="*/ 2147483647 w 144"/>
                  <a:gd name="T39" fmla="*/ 2147483647 h 144"/>
                  <a:gd name="T40" fmla="*/ 2147483647 w 144"/>
                  <a:gd name="T41" fmla="*/ 2147483647 h 144"/>
                  <a:gd name="T42" fmla="*/ 2147483647 w 144"/>
                  <a:gd name="T43" fmla="*/ 2147483647 h 144"/>
                  <a:gd name="T44" fmla="*/ 2147483647 w 144"/>
                  <a:gd name="T45" fmla="*/ 2147483647 h 144"/>
                  <a:gd name="T46" fmla="*/ 2147483647 w 144"/>
                  <a:gd name="T47" fmla="*/ 0 h 144"/>
                  <a:gd name="T48" fmla="*/ 2147483647 w 144"/>
                  <a:gd name="T49" fmla="*/ 2147483647 h 144"/>
                  <a:gd name="T50" fmla="*/ 2147483647 w 144"/>
                  <a:gd name="T51" fmla="*/ 2147483647 h 144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44"/>
                  <a:gd name="T79" fmla="*/ 0 h 144"/>
                  <a:gd name="T80" fmla="*/ 144 w 144"/>
                  <a:gd name="T81" fmla="*/ 144 h 144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44" h="144">
                    <a:moveTo>
                      <a:pt x="56" y="8"/>
                    </a:moveTo>
                    <a:lnTo>
                      <a:pt x="56" y="24"/>
                    </a:lnTo>
                    <a:lnTo>
                      <a:pt x="40" y="32"/>
                    </a:lnTo>
                    <a:lnTo>
                      <a:pt x="32" y="32"/>
                    </a:lnTo>
                    <a:lnTo>
                      <a:pt x="16" y="48"/>
                    </a:lnTo>
                    <a:lnTo>
                      <a:pt x="0" y="48"/>
                    </a:lnTo>
                    <a:lnTo>
                      <a:pt x="0" y="64"/>
                    </a:lnTo>
                    <a:lnTo>
                      <a:pt x="32" y="88"/>
                    </a:lnTo>
                    <a:lnTo>
                      <a:pt x="32" y="104"/>
                    </a:lnTo>
                    <a:lnTo>
                      <a:pt x="48" y="128"/>
                    </a:lnTo>
                    <a:lnTo>
                      <a:pt x="56" y="144"/>
                    </a:lnTo>
                    <a:lnTo>
                      <a:pt x="64" y="144"/>
                    </a:lnTo>
                    <a:lnTo>
                      <a:pt x="80" y="136"/>
                    </a:lnTo>
                    <a:lnTo>
                      <a:pt x="112" y="144"/>
                    </a:lnTo>
                    <a:lnTo>
                      <a:pt x="120" y="136"/>
                    </a:lnTo>
                    <a:lnTo>
                      <a:pt x="120" y="112"/>
                    </a:lnTo>
                    <a:lnTo>
                      <a:pt x="144" y="96"/>
                    </a:lnTo>
                    <a:lnTo>
                      <a:pt x="144" y="88"/>
                    </a:lnTo>
                    <a:lnTo>
                      <a:pt x="136" y="80"/>
                    </a:lnTo>
                    <a:lnTo>
                      <a:pt x="136" y="64"/>
                    </a:lnTo>
                    <a:lnTo>
                      <a:pt x="144" y="56"/>
                    </a:lnTo>
                    <a:lnTo>
                      <a:pt x="136" y="32"/>
                    </a:lnTo>
                    <a:lnTo>
                      <a:pt x="128" y="16"/>
                    </a:lnTo>
                    <a:lnTo>
                      <a:pt x="80" y="0"/>
                    </a:lnTo>
                    <a:lnTo>
                      <a:pt x="64" y="8"/>
                    </a:lnTo>
                    <a:lnTo>
                      <a:pt x="56" y="8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1057" name="Rectangle 335">
                <a:extLst>
                  <a:ext uri="{FF2B5EF4-FFF2-40B4-BE49-F238E27FC236}">
                    <a16:creationId xmlns:a16="http://schemas.microsoft.com/office/drawing/2014/main" id="{4018F5F5-71EA-D712-6D7A-10A31A83CE54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6150145" y="3222397"/>
                <a:ext cx="99352" cy="83078"/>
              </a:xfrm>
              <a:prstGeom prst="rect">
                <a:avLst/>
              </a:prstGeom>
              <a:grpFill/>
              <a:ln w="127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1058" name="Freeform 336">
                <a:extLst>
                  <a:ext uri="{FF2B5EF4-FFF2-40B4-BE49-F238E27FC236}">
                    <a16:creationId xmlns:a16="http://schemas.microsoft.com/office/drawing/2014/main" id="{B283FC8C-F57E-D974-1BD1-6001D0FBFC8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781786" y="2807010"/>
                <a:ext cx="252898" cy="279837"/>
              </a:xfrm>
              <a:custGeom>
                <a:avLst/>
                <a:gdLst>
                  <a:gd name="T0" fmla="*/ 2147483647 w 80"/>
                  <a:gd name="T1" fmla="*/ 2147483647 h 80"/>
                  <a:gd name="T2" fmla="*/ 2147483647 w 80"/>
                  <a:gd name="T3" fmla="*/ 2147483647 h 80"/>
                  <a:gd name="T4" fmla="*/ 2147483647 w 80"/>
                  <a:gd name="T5" fmla="*/ 2147483647 h 80"/>
                  <a:gd name="T6" fmla="*/ 2147483647 w 80"/>
                  <a:gd name="T7" fmla="*/ 2147483647 h 80"/>
                  <a:gd name="T8" fmla="*/ 2147483647 w 80"/>
                  <a:gd name="T9" fmla="*/ 2147483647 h 80"/>
                  <a:gd name="T10" fmla="*/ 2147483647 w 80"/>
                  <a:gd name="T11" fmla="*/ 2147483647 h 80"/>
                  <a:gd name="T12" fmla="*/ 2147483647 w 80"/>
                  <a:gd name="T13" fmla="*/ 2147483647 h 80"/>
                  <a:gd name="T14" fmla="*/ 0 w 80"/>
                  <a:gd name="T15" fmla="*/ 2147483647 h 80"/>
                  <a:gd name="T16" fmla="*/ 2147483647 w 80"/>
                  <a:gd name="T17" fmla="*/ 0 h 80"/>
                  <a:gd name="T18" fmla="*/ 2147483647 w 80"/>
                  <a:gd name="T19" fmla="*/ 2147483647 h 80"/>
                  <a:gd name="T20" fmla="*/ 2147483647 w 80"/>
                  <a:gd name="T21" fmla="*/ 2147483647 h 80"/>
                  <a:gd name="T22" fmla="*/ 2147483647 w 80"/>
                  <a:gd name="T23" fmla="*/ 2147483647 h 8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80"/>
                  <a:gd name="T37" fmla="*/ 0 h 80"/>
                  <a:gd name="T38" fmla="*/ 80 w 80"/>
                  <a:gd name="T39" fmla="*/ 80 h 80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80" h="80">
                    <a:moveTo>
                      <a:pt x="64" y="16"/>
                    </a:moveTo>
                    <a:lnTo>
                      <a:pt x="64" y="40"/>
                    </a:lnTo>
                    <a:lnTo>
                      <a:pt x="80" y="48"/>
                    </a:lnTo>
                    <a:lnTo>
                      <a:pt x="80" y="64"/>
                    </a:lnTo>
                    <a:lnTo>
                      <a:pt x="72" y="80"/>
                    </a:lnTo>
                    <a:lnTo>
                      <a:pt x="48" y="72"/>
                    </a:lnTo>
                    <a:lnTo>
                      <a:pt x="24" y="48"/>
                    </a:lnTo>
                    <a:lnTo>
                      <a:pt x="0" y="32"/>
                    </a:lnTo>
                    <a:lnTo>
                      <a:pt x="24" y="0"/>
                    </a:lnTo>
                    <a:lnTo>
                      <a:pt x="40" y="8"/>
                    </a:lnTo>
                    <a:lnTo>
                      <a:pt x="40" y="16"/>
                    </a:lnTo>
                    <a:lnTo>
                      <a:pt x="64" y="16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1059" name="Freeform 337">
                <a:extLst>
                  <a:ext uri="{FF2B5EF4-FFF2-40B4-BE49-F238E27FC236}">
                    <a16:creationId xmlns:a16="http://schemas.microsoft.com/office/drawing/2014/main" id="{FEA3D866-4725-CB59-2F6D-6AD5FE576BC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392060" y="3554708"/>
                <a:ext cx="103865" cy="144290"/>
              </a:xfrm>
              <a:custGeom>
                <a:avLst/>
                <a:gdLst>
                  <a:gd name="T0" fmla="*/ 0 w 32"/>
                  <a:gd name="T1" fmla="*/ 0 h 40"/>
                  <a:gd name="T2" fmla="*/ 2147483647 w 32"/>
                  <a:gd name="T3" fmla="*/ 0 h 40"/>
                  <a:gd name="T4" fmla="*/ 2147483647 w 32"/>
                  <a:gd name="T5" fmla="*/ 0 h 40"/>
                  <a:gd name="T6" fmla="*/ 2147483647 w 32"/>
                  <a:gd name="T7" fmla="*/ 0 h 40"/>
                  <a:gd name="T8" fmla="*/ 2147483647 w 32"/>
                  <a:gd name="T9" fmla="*/ 2147483647 h 40"/>
                  <a:gd name="T10" fmla="*/ 2147483647 w 32"/>
                  <a:gd name="T11" fmla="*/ 2147483647 h 40"/>
                  <a:gd name="T12" fmla="*/ 2147483647 w 32"/>
                  <a:gd name="T13" fmla="*/ 2147483647 h 40"/>
                  <a:gd name="T14" fmla="*/ 2147483647 w 32"/>
                  <a:gd name="T15" fmla="*/ 2147483647 h 40"/>
                  <a:gd name="T16" fmla="*/ 2147483647 w 32"/>
                  <a:gd name="T17" fmla="*/ 2147483647 h 40"/>
                  <a:gd name="T18" fmla="*/ 2147483647 w 32"/>
                  <a:gd name="T19" fmla="*/ 2147483647 h 40"/>
                  <a:gd name="T20" fmla="*/ 2147483647 w 32"/>
                  <a:gd name="T21" fmla="*/ 2147483647 h 40"/>
                  <a:gd name="T22" fmla="*/ 0 w 32"/>
                  <a:gd name="T23" fmla="*/ 0 h 4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2"/>
                  <a:gd name="T37" fmla="*/ 0 h 40"/>
                  <a:gd name="T38" fmla="*/ 32 w 32"/>
                  <a:gd name="T39" fmla="*/ 40 h 40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2" h="40">
                    <a:moveTo>
                      <a:pt x="0" y="0"/>
                    </a:moveTo>
                    <a:lnTo>
                      <a:pt x="8" y="0"/>
                    </a:lnTo>
                    <a:lnTo>
                      <a:pt x="16" y="0"/>
                    </a:lnTo>
                    <a:lnTo>
                      <a:pt x="24" y="0"/>
                    </a:lnTo>
                    <a:lnTo>
                      <a:pt x="32" y="8"/>
                    </a:lnTo>
                    <a:lnTo>
                      <a:pt x="32" y="16"/>
                    </a:lnTo>
                    <a:lnTo>
                      <a:pt x="24" y="24"/>
                    </a:lnTo>
                    <a:lnTo>
                      <a:pt x="24" y="32"/>
                    </a:lnTo>
                    <a:lnTo>
                      <a:pt x="16" y="40"/>
                    </a:lnTo>
                    <a:lnTo>
                      <a:pt x="8" y="24"/>
                    </a:lnTo>
                    <a:lnTo>
                      <a:pt x="8" y="1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1060" name="Freeform 338">
                <a:extLst>
                  <a:ext uri="{FF2B5EF4-FFF2-40B4-BE49-F238E27FC236}">
                    <a16:creationId xmlns:a16="http://schemas.microsoft.com/office/drawing/2014/main" id="{82D522A6-E82A-A480-6630-F227FCE09DC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9121702" y="1473398"/>
                <a:ext cx="49681" cy="52472"/>
              </a:xfrm>
              <a:custGeom>
                <a:avLst/>
                <a:gdLst>
                  <a:gd name="T0" fmla="*/ 2147483647 w 16"/>
                  <a:gd name="T1" fmla="*/ 2147483647 h 16"/>
                  <a:gd name="T2" fmla="*/ 2147483647 w 16"/>
                  <a:gd name="T3" fmla="*/ 0 h 16"/>
                  <a:gd name="T4" fmla="*/ 2147483647 w 16"/>
                  <a:gd name="T5" fmla="*/ 0 h 16"/>
                  <a:gd name="T6" fmla="*/ 0 w 16"/>
                  <a:gd name="T7" fmla="*/ 2147483647 h 16"/>
                  <a:gd name="T8" fmla="*/ 2147483647 w 16"/>
                  <a:gd name="T9" fmla="*/ 2147483647 h 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"/>
                  <a:gd name="T16" fmla="*/ 0 h 16"/>
                  <a:gd name="T17" fmla="*/ 16 w 16"/>
                  <a:gd name="T18" fmla="*/ 16 h 1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" h="16">
                    <a:moveTo>
                      <a:pt x="8" y="16"/>
                    </a:moveTo>
                    <a:lnTo>
                      <a:pt x="16" y="0"/>
                    </a:lnTo>
                    <a:lnTo>
                      <a:pt x="8" y="0"/>
                    </a:lnTo>
                    <a:lnTo>
                      <a:pt x="0" y="8"/>
                    </a:lnTo>
                    <a:lnTo>
                      <a:pt x="8" y="16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1061" name="Freeform 351">
                <a:extLst>
                  <a:ext uri="{FF2B5EF4-FFF2-40B4-BE49-F238E27FC236}">
                    <a16:creationId xmlns:a16="http://schemas.microsoft.com/office/drawing/2014/main" id="{4B3A49AE-E911-B470-7D88-E2C585035AF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308812" y="4249936"/>
                <a:ext cx="456122" cy="1031910"/>
              </a:xfrm>
              <a:custGeom>
                <a:avLst/>
                <a:gdLst>
                  <a:gd name="T0" fmla="*/ 0 w 144"/>
                  <a:gd name="T1" fmla="*/ 2147483647 h 296"/>
                  <a:gd name="T2" fmla="*/ 0 w 144"/>
                  <a:gd name="T3" fmla="*/ 2147483647 h 296"/>
                  <a:gd name="T4" fmla="*/ 2147483647 w 144"/>
                  <a:gd name="T5" fmla="*/ 2147483647 h 296"/>
                  <a:gd name="T6" fmla="*/ 2147483647 w 144"/>
                  <a:gd name="T7" fmla="*/ 2147483647 h 296"/>
                  <a:gd name="T8" fmla="*/ 2147483647 w 144"/>
                  <a:gd name="T9" fmla="*/ 2147483647 h 296"/>
                  <a:gd name="T10" fmla="*/ 2147483647 w 144"/>
                  <a:gd name="T11" fmla="*/ 2147483647 h 296"/>
                  <a:gd name="T12" fmla="*/ 2147483647 w 144"/>
                  <a:gd name="T13" fmla="*/ 2147483647 h 296"/>
                  <a:gd name="T14" fmla="*/ 2147483647 w 144"/>
                  <a:gd name="T15" fmla="*/ 2147483647 h 296"/>
                  <a:gd name="T16" fmla="*/ 2147483647 w 144"/>
                  <a:gd name="T17" fmla="*/ 2147483647 h 296"/>
                  <a:gd name="T18" fmla="*/ 2147483647 w 144"/>
                  <a:gd name="T19" fmla="*/ 2147483647 h 296"/>
                  <a:gd name="T20" fmla="*/ 2147483647 w 144"/>
                  <a:gd name="T21" fmla="*/ 2147483647 h 296"/>
                  <a:gd name="T22" fmla="*/ 2147483647 w 144"/>
                  <a:gd name="T23" fmla="*/ 2147483647 h 296"/>
                  <a:gd name="T24" fmla="*/ 2147483647 w 144"/>
                  <a:gd name="T25" fmla="*/ 2147483647 h 296"/>
                  <a:gd name="T26" fmla="*/ 2147483647 w 144"/>
                  <a:gd name="T27" fmla="*/ 2147483647 h 296"/>
                  <a:gd name="T28" fmla="*/ 2147483647 w 144"/>
                  <a:gd name="T29" fmla="*/ 2147483647 h 296"/>
                  <a:gd name="T30" fmla="*/ 2147483647 w 144"/>
                  <a:gd name="T31" fmla="*/ 2147483647 h 296"/>
                  <a:gd name="T32" fmla="*/ 2147483647 w 144"/>
                  <a:gd name="T33" fmla="*/ 2147483647 h 296"/>
                  <a:gd name="T34" fmla="*/ 2147483647 w 144"/>
                  <a:gd name="T35" fmla="*/ 2147483647 h 296"/>
                  <a:gd name="T36" fmla="*/ 2147483647 w 144"/>
                  <a:gd name="T37" fmla="*/ 2147483647 h 296"/>
                  <a:gd name="T38" fmla="*/ 2147483647 w 144"/>
                  <a:gd name="T39" fmla="*/ 0 h 296"/>
                  <a:gd name="T40" fmla="*/ 2147483647 w 144"/>
                  <a:gd name="T41" fmla="*/ 0 h 296"/>
                  <a:gd name="T42" fmla="*/ 2147483647 w 144"/>
                  <a:gd name="T43" fmla="*/ 2147483647 h 296"/>
                  <a:gd name="T44" fmla="*/ 2147483647 w 144"/>
                  <a:gd name="T45" fmla="*/ 2147483647 h 296"/>
                  <a:gd name="T46" fmla="*/ 2147483647 w 144"/>
                  <a:gd name="T47" fmla="*/ 2147483647 h 296"/>
                  <a:gd name="T48" fmla="*/ 2147483647 w 144"/>
                  <a:gd name="T49" fmla="*/ 2147483647 h 296"/>
                  <a:gd name="T50" fmla="*/ 2147483647 w 144"/>
                  <a:gd name="T51" fmla="*/ 2147483647 h 296"/>
                  <a:gd name="T52" fmla="*/ 2147483647 w 144"/>
                  <a:gd name="T53" fmla="*/ 2147483647 h 296"/>
                  <a:gd name="T54" fmla="*/ 2147483647 w 144"/>
                  <a:gd name="T55" fmla="*/ 2147483647 h 296"/>
                  <a:gd name="T56" fmla="*/ 2147483647 w 144"/>
                  <a:gd name="T57" fmla="*/ 2147483647 h 296"/>
                  <a:gd name="T58" fmla="*/ 2147483647 w 144"/>
                  <a:gd name="T59" fmla="*/ 2147483647 h 296"/>
                  <a:gd name="T60" fmla="*/ 2147483647 w 144"/>
                  <a:gd name="T61" fmla="*/ 2147483647 h 296"/>
                  <a:gd name="T62" fmla="*/ 2147483647 w 144"/>
                  <a:gd name="T63" fmla="*/ 2147483647 h 296"/>
                  <a:gd name="T64" fmla="*/ 2147483647 w 144"/>
                  <a:gd name="T65" fmla="*/ 2147483647 h 296"/>
                  <a:gd name="T66" fmla="*/ 2147483647 w 144"/>
                  <a:gd name="T67" fmla="*/ 2147483647 h 296"/>
                  <a:gd name="T68" fmla="*/ 2147483647 w 144"/>
                  <a:gd name="T69" fmla="*/ 2147483647 h 296"/>
                  <a:gd name="T70" fmla="*/ 2147483647 w 144"/>
                  <a:gd name="T71" fmla="*/ 2147483647 h 296"/>
                  <a:gd name="T72" fmla="*/ 0 w 144"/>
                  <a:gd name="T73" fmla="*/ 2147483647 h 29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144"/>
                  <a:gd name="T112" fmla="*/ 0 h 296"/>
                  <a:gd name="T113" fmla="*/ 144 w 144"/>
                  <a:gd name="T114" fmla="*/ 296 h 29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144" h="296">
                    <a:moveTo>
                      <a:pt x="0" y="208"/>
                    </a:moveTo>
                    <a:lnTo>
                      <a:pt x="0" y="232"/>
                    </a:lnTo>
                    <a:lnTo>
                      <a:pt x="8" y="248"/>
                    </a:lnTo>
                    <a:lnTo>
                      <a:pt x="16" y="272"/>
                    </a:lnTo>
                    <a:lnTo>
                      <a:pt x="24" y="288"/>
                    </a:lnTo>
                    <a:lnTo>
                      <a:pt x="40" y="296"/>
                    </a:lnTo>
                    <a:lnTo>
                      <a:pt x="56" y="288"/>
                    </a:lnTo>
                    <a:lnTo>
                      <a:pt x="72" y="280"/>
                    </a:lnTo>
                    <a:lnTo>
                      <a:pt x="88" y="264"/>
                    </a:lnTo>
                    <a:lnTo>
                      <a:pt x="88" y="224"/>
                    </a:lnTo>
                    <a:lnTo>
                      <a:pt x="104" y="200"/>
                    </a:lnTo>
                    <a:lnTo>
                      <a:pt x="112" y="168"/>
                    </a:lnTo>
                    <a:lnTo>
                      <a:pt x="128" y="112"/>
                    </a:lnTo>
                    <a:lnTo>
                      <a:pt x="128" y="104"/>
                    </a:lnTo>
                    <a:lnTo>
                      <a:pt x="128" y="80"/>
                    </a:lnTo>
                    <a:lnTo>
                      <a:pt x="144" y="80"/>
                    </a:lnTo>
                    <a:lnTo>
                      <a:pt x="144" y="64"/>
                    </a:lnTo>
                    <a:lnTo>
                      <a:pt x="128" y="24"/>
                    </a:lnTo>
                    <a:lnTo>
                      <a:pt x="128" y="8"/>
                    </a:lnTo>
                    <a:lnTo>
                      <a:pt x="128" y="0"/>
                    </a:lnTo>
                    <a:lnTo>
                      <a:pt x="120" y="0"/>
                    </a:lnTo>
                    <a:lnTo>
                      <a:pt x="112" y="8"/>
                    </a:lnTo>
                    <a:lnTo>
                      <a:pt x="104" y="32"/>
                    </a:lnTo>
                    <a:lnTo>
                      <a:pt x="96" y="40"/>
                    </a:lnTo>
                    <a:lnTo>
                      <a:pt x="96" y="48"/>
                    </a:lnTo>
                    <a:lnTo>
                      <a:pt x="88" y="56"/>
                    </a:lnTo>
                    <a:lnTo>
                      <a:pt x="80" y="64"/>
                    </a:lnTo>
                    <a:lnTo>
                      <a:pt x="64" y="72"/>
                    </a:lnTo>
                    <a:lnTo>
                      <a:pt x="56" y="80"/>
                    </a:lnTo>
                    <a:lnTo>
                      <a:pt x="40" y="80"/>
                    </a:lnTo>
                    <a:lnTo>
                      <a:pt x="40" y="88"/>
                    </a:lnTo>
                    <a:lnTo>
                      <a:pt x="24" y="88"/>
                    </a:lnTo>
                    <a:lnTo>
                      <a:pt x="16" y="104"/>
                    </a:lnTo>
                    <a:lnTo>
                      <a:pt x="16" y="136"/>
                    </a:lnTo>
                    <a:lnTo>
                      <a:pt x="24" y="144"/>
                    </a:lnTo>
                    <a:lnTo>
                      <a:pt x="16" y="184"/>
                    </a:lnTo>
                    <a:lnTo>
                      <a:pt x="0" y="208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1062" name="Freeform 352">
                <a:extLst>
                  <a:ext uri="{FF2B5EF4-FFF2-40B4-BE49-F238E27FC236}">
                    <a16:creationId xmlns:a16="http://schemas.microsoft.com/office/drawing/2014/main" id="{A9A141A3-E896-957B-26F1-641AB758E85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579168" y="4975768"/>
                <a:ext cx="1047721" cy="550933"/>
              </a:xfrm>
              <a:custGeom>
                <a:avLst/>
                <a:gdLst>
                  <a:gd name="T0" fmla="*/ 0 w 328"/>
                  <a:gd name="T1" fmla="*/ 2147483647 h 160"/>
                  <a:gd name="T2" fmla="*/ 2147483647 w 328"/>
                  <a:gd name="T3" fmla="*/ 2147483647 h 160"/>
                  <a:gd name="T4" fmla="*/ 2147483647 w 328"/>
                  <a:gd name="T5" fmla="*/ 2147483647 h 160"/>
                  <a:gd name="T6" fmla="*/ 2147483647 w 328"/>
                  <a:gd name="T7" fmla="*/ 2147483647 h 160"/>
                  <a:gd name="T8" fmla="*/ 2147483647 w 328"/>
                  <a:gd name="T9" fmla="*/ 2147483647 h 160"/>
                  <a:gd name="T10" fmla="*/ 2147483647 w 328"/>
                  <a:gd name="T11" fmla="*/ 2147483647 h 160"/>
                  <a:gd name="T12" fmla="*/ 2147483647 w 328"/>
                  <a:gd name="T13" fmla="*/ 2147483647 h 160"/>
                  <a:gd name="T14" fmla="*/ 2147483647 w 328"/>
                  <a:gd name="T15" fmla="*/ 2147483647 h 160"/>
                  <a:gd name="T16" fmla="*/ 2147483647 w 328"/>
                  <a:gd name="T17" fmla="*/ 2147483647 h 160"/>
                  <a:gd name="T18" fmla="*/ 2147483647 w 328"/>
                  <a:gd name="T19" fmla="*/ 2147483647 h 160"/>
                  <a:gd name="T20" fmla="*/ 2147483647 w 328"/>
                  <a:gd name="T21" fmla="*/ 2147483647 h 160"/>
                  <a:gd name="T22" fmla="*/ 2147483647 w 328"/>
                  <a:gd name="T23" fmla="*/ 2147483647 h 160"/>
                  <a:gd name="T24" fmla="*/ 2147483647 w 328"/>
                  <a:gd name="T25" fmla="*/ 2147483647 h 160"/>
                  <a:gd name="T26" fmla="*/ 2147483647 w 328"/>
                  <a:gd name="T27" fmla="*/ 2147483647 h 160"/>
                  <a:gd name="T28" fmla="*/ 2147483647 w 328"/>
                  <a:gd name="T29" fmla="*/ 2147483647 h 160"/>
                  <a:gd name="T30" fmla="*/ 2147483647 w 328"/>
                  <a:gd name="T31" fmla="*/ 2147483647 h 160"/>
                  <a:gd name="T32" fmla="*/ 2147483647 w 328"/>
                  <a:gd name="T33" fmla="*/ 2147483647 h 160"/>
                  <a:gd name="T34" fmla="*/ 2147483647 w 328"/>
                  <a:gd name="T35" fmla="*/ 2147483647 h 160"/>
                  <a:gd name="T36" fmla="*/ 2147483647 w 328"/>
                  <a:gd name="T37" fmla="*/ 2147483647 h 160"/>
                  <a:gd name="T38" fmla="*/ 2147483647 w 328"/>
                  <a:gd name="T39" fmla="*/ 2147483647 h 160"/>
                  <a:gd name="T40" fmla="*/ 2147483647 w 328"/>
                  <a:gd name="T41" fmla="*/ 2147483647 h 160"/>
                  <a:gd name="T42" fmla="*/ 2147483647 w 328"/>
                  <a:gd name="T43" fmla="*/ 0 h 160"/>
                  <a:gd name="T44" fmla="*/ 2147483647 w 328"/>
                  <a:gd name="T45" fmla="*/ 2147483647 h 160"/>
                  <a:gd name="T46" fmla="*/ 2147483647 w 328"/>
                  <a:gd name="T47" fmla="*/ 2147483647 h 160"/>
                  <a:gd name="T48" fmla="*/ 2147483647 w 328"/>
                  <a:gd name="T49" fmla="*/ 2147483647 h 160"/>
                  <a:gd name="T50" fmla="*/ 2147483647 w 328"/>
                  <a:gd name="T51" fmla="*/ 2147483647 h 160"/>
                  <a:gd name="T52" fmla="*/ 2147483647 w 328"/>
                  <a:gd name="T53" fmla="*/ 2147483647 h 160"/>
                  <a:gd name="T54" fmla="*/ 0 w 328"/>
                  <a:gd name="T55" fmla="*/ 2147483647 h 160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328"/>
                  <a:gd name="T85" fmla="*/ 0 h 160"/>
                  <a:gd name="T86" fmla="*/ 328 w 328"/>
                  <a:gd name="T87" fmla="*/ 160 h 160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328" h="160">
                    <a:moveTo>
                      <a:pt x="0" y="152"/>
                    </a:moveTo>
                    <a:lnTo>
                      <a:pt x="8" y="144"/>
                    </a:lnTo>
                    <a:lnTo>
                      <a:pt x="16" y="144"/>
                    </a:lnTo>
                    <a:lnTo>
                      <a:pt x="24" y="144"/>
                    </a:lnTo>
                    <a:lnTo>
                      <a:pt x="32" y="152"/>
                    </a:lnTo>
                    <a:lnTo>
                      <a:pt x="48" y="160"/>
                    </a:lnTo>
                    <a:lnTo>
                      <a:pt x="72" y="152"/>
                    </a:lnTo>
                    <a:lnTo>
                      <a:pt x="72" y="56"/>
                    </a:lnTo>
                    <a:lnTo>
                      <a:pt x="88" y="72"/>
                    </a:lnTo>
                    <a:lnTo>
                      <a:pt x="96" y="104"/>
                    </a:lnTo>
                    <a:lnTo>
                      <a:pt x="112" y="104"/>
                    </a:lnTo>
                    <a:lnTo>
                      <a:pt x="136" y="80"/>
                    </a:lnTo>
                    <a:lnTo>
                      <a:pt x="152" y="80"/>
                    </a:lnTo>
                    <a:lnTo>
                      <a:pt x="160" y="88"/>
                    </a:lnTo>
                    <a:lnTo>
                      <a:pt x="176" y="80"/>
                    </a:lnTo>
                    <a:lnTo>
                      <a:pt x="192" y="64"/>
                    </a:lnTo>
                    <a:lnTo>
                      <a:pt x="192" y="40"/>
                    </a:lnTo>
                    <a:lnTo>
                      <a:pt x="216" y="32"/>
                    </a:lnTo>
                    <a:lnTo>
                      <a:pt x="224" y="24"/>
                    </a:lnTo>
                    <a:lnTo>
                      <a:pt x="248" y="8"/>
                    </a:lnTo>
                    <a:lnTo>
                      <a:pt x="256" y="8"/>
                    </a:lnTo>
                    <a:lnTo>
                      <a:pt x="272" y="0"/>
                    </a:lnTo>
                    <a:lnTo>
                      <a:pt x="304" y="8"/>
                    </a:lnTo>
                    <a:lnTo>
                      <a:pt x="312" y="56"/>
                    </a:lnTo>
                    <a:lnTo>
                      <a:pt x="304" y="80"/>
                    </a:lnTo>
                    <a:lnTo>
                      <a:pt x="312" y="104"/>
                    </a:lnTo>
                    <a:lnTo>
                      <a:pt x="328" y="112"/>
                    </a:lnTo>
                    <a:lnTo>
                      <a:pt x="0" y="152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1063" name="Freeform 376">
                <a:extLst>
                  <a:ext uri="{FF2B5EF4-FFF2-40B4-BE49-F238E27FC236}">
                    <a16:creationId xmlns:a16="http://schemas.microsoft.com/office/drawing/2014/main" id="{3D5E9184-2909-5709-9AE7-BBC5A711099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953398" y="585781"/>
                <a:ext cx="1345782" cy="1438558"/>
              </a:xfrm>
              <a:custGeom>
                <a:avLst/>
                <a:gdLst>
                  <a:gd name="T0" fmla="*/ 2147483647 w 424"/>
                  <a:gd name="T1" fmla="*/ 2147483647 h 416"/>
                  <a:gd name="T2" fmla="*/ 2147483647 w 424"/>
                  <a:gd name="T3" fmla="*/ 2147483647 h 416"/>
                  <a:gd name="T4" fmla="*/ 2147483647 w 424"/>
                  <a:gd name="T5" fmla="*/ 2147483647 h 416"/>
                  <a:gd name="T6" fmla="*/ 2147483647 w 424"/>
                  <a:gd name="T7" fmla="*/ 2147483647 h 416"/>
                  <a:gd name="T8" fmla="*/ 2147483647 w 424"/>
                  <a:gd name="T9" fmla="*/ 2147483647 h 416"/>
                  <a:gd name="T10" fmla="*/ 2147483647 w 424"/>
                  <a:gd name="T11" fmla="*/ 2147483647 h 416"/>
                  <a:gd name="T12" fmla="*/ 2147483647 w 424"/>
                  <a:gd name="T13" fmla="*/ 2147483647 h 416"/>
                  <a:gd name="T14" fmla="*/ 2147483647 w 424"/>
                  <a:gd name="T15" fmla="*/ 2147483647 h 416"/>
                  <a:gd name="T16" fmla="*/ 2147483647 w 424"/>
                  <a:gd name="T17" fmla="*/ 0 h 416"/>
                  <a:gd name="T18" fmla="*/ 2147483647 w 424"/>
                  <a:gd name="T19" fmla="*/ 2147483647 h 416"/>
                  <a:gd name="T20" fmla="*/ 2147483647 w 424"/>
                  <a:gd name="T21" fmla="*/ 2147483647 h 416"/>
                  <a:gd name="T22" fmla="*/ 2147483647 w 424"/>
                  <a:gd name="T23" fmla="*/ 2147483647 h 416"/>
                  <a:gd name="T24" fmla="*/ 2147483647 w 424"/>
                  <a:gd name="T25" fmla="*/ 2147483647 h 416"/>
                  <a:gd name="T26" fmla="*/ 2147483647 w 424"/>
                  <a:gd name="T27" fmla="*/ 2147483647 h 416"/>
                  <a:gd name="T28" fmla="*/ 2147483647 w 424"/>
                  <a:gd name="T29" fmla="*/ 2147483647 h 416"/>
                  <a:gd name="T30" fmla="*/ 2147483647 w 424"/>
                  <a:gd name="T31" fmla="*/ 2147483647 h 416"/>
                  <a:gd name="T32" fmla="*/ 2147483647 w 424"/>
                  <a:gd name="T33" fmla="*/ 2147483647 h 416"/>
                  <a:gd name="T34" fmla="*/ 2147483647 w 424"/>
                  <a:gd name="T35" fmla="*/ 2147483647 h 416"/>
                  <a:gd name="T36" fmla="*/ 2147483647 w 424"/>
                  <a:gd name="T37" fmla="*/ 2147483647 h 416"/>
                  <a:gd name="T38" fmla="*/ 2147483647 w 424"/>
                  <a:gd name="T39" fmla="*/ 2147483647 h 416"/>
                  <a:gd name="T40" fmla="*/ 2147483647 w 424"/>
                  <a:gd name="T41" fmla="*/ 2147483647 h 416"/>
                  <a:gd name="T42" fmla="*/ 2147483647 w 424"/>
                  <a:gd name="T43" fmla="*/ 2147483647 h 416"/>
                  <a:gd name="T44" fmla="*/ 2147483647 w 424"/>
                  <a:gd name="T45" fmla="*/ 2147483647 h 416"/>
                  <a:gd name="T46" fmla="*/ 2147483647 w 424"/>
                  <a:gd name="T47" fmla="*/ 2147483647 h 416"/>
                  <a:gd name="T48" fmla="*/ 2147483647 w 424"/>
                  <a:gd name="T49" fmla="*/ 2147483647 h 416"/>
                  <a:gd name="T50" fmla="*/ 2147483647 w 424"/>
                  <a:gd name="T51" fmla="*/ 2147483647 h 416"/>
                  <a:gd name="T52" fmla="*/ 2147483647 w 424"/>
                  <a:gd name="T53" fmla="*/ 2147483647 h 416"/>
                  <a:gd name="T54" fmla="*/ 2147483647 w 424"/>
                  <a:gd name="T55" fmla="*/ 2147483647 h 416"/>
                  <a:gd name="T56" fmla="*/ 2147483647 w 424"/>
                  <a:gd name="T57" fmla="*/ 2147483647 h 416"/>
                  <a:gd name="T58" fmla="*/ 2147483647 w 424"/>
                  <a:gd name="T59" fmla="*/ 2147483647 h 416"/>
                  <a:gd name="T60" fmla="*/ 2147483647 w 424"/>
                  <a:gd name="T61" fmla="*/ 2147483647 h 416"/>
                  <a:gd name="T62" fmla="*/ 2147483647 w 424"/>
                  <a:gd name="T63" fmla="*/ 2147483647 h 416"/>
                  <a:gd name="T64" fmla="*/ 2147483647 w 424"/>
                  <a:gd name="T65" fmla="*/ 2147483647 h 416"/>
                  <a:gd name="T66" fmla="*/ 2147483647 w 424"/>
                  <a:gd name="T67" fmla="*/ 2147483647 h 416"/>
                  <a:gd name="T68" fmla="*/ 0 w 424"/>
                  <a:gd name="T69" fmla="*/ 2147483647 h 416"/>
                  <a:gd name="T70" fmla="*/ 0 w 424"/>
                  <a:gd name="T71" fmla="*/ 2147483647 h 416"/>
                  <a:gd name="T72" fmla="*/ 2147483647 w 424"/>
                  <a:gd name="T73" fmla="*/ 2147483647 h 416"/>
                  <a:gd name="T74" fmla="*/ 2147483647 w 424"/>
                  <a:gd name="T75" fmla="*/ 2147483647 h 416"/>
                  <a:gd name="T76" fmla="*/ 2147483647 w 424"/>
                  <a:gd name="T77" fmla="*/ 2147483647 h 416"/>
                  <a:gd name="T78" fmla="*/ 2147483647 w 424"/>
                  <a:gd name="T79" fmla="*/ 2147483647 h 416"/>
                  <a:gd name="T80" fmla="*/ 2147483647 w 424"/>
                  <a:gd name="T81" fmla="*/ 2147483647 h 416"/>
                  <a:gd name="T82" fmla="*/ 2147483647 w 424"/>
                  <a:gd name="T83" fmla="*/ 2147483647 h 416"/>
                  <a:gd name="T84" fmla="*/ 2147483647 w 424"/>
                  <a:gd name="T85" fmla="*/ 2147483647 h 416"/>
                  <a:gd name="T86" fmla="*/ 2147483647 w 424"/>
                  <a:gd name="T87" fmla="*/ 2147483647 h 416"/>
                  <a:gd name="T88" fmla="*/ 2147483647 w 424"/>
                  <a:gd name="T89" fmla="*/ 2147483647 h 416"/>
                  <a:gd name="T90" fmla="*/ 2147483647 w 424"/>
                  <a:gd name="T91" fmla="*/ 2147483647 h 416"/>
                  <a:gd name="T92" fmla="*/ 2147483647 w 424"/>
                  <a:gd name="T93" fmla="*/ 2147483647 h 416"/>
                  <a:gd name="T94" fmla="*/ 2147483647 w 424"/>
                  <a:gd name="T95" fmla="*/ 2147483647 h 416"/>
                  <a:gd name="T96" fmla="*/ 2147483647 w 424"/>
                  <a:gd name="T97" fmla="*/ 2147483647 h 416"/>
                  <a:gd name="T98" fmla="*/ 2147483647 w 424"/>
                  <a:gd name="T99" fmla="*/ 2147483647 h 416"/>
                  <a:gd name="T100" fmla="*/ 2147483647 w 424"/>
                  <a:gd name="T101" fmla="*/ 2147483647 h 416"/>
                  <a:gd name="T102" fmla="*/ 2147483647 w 424"/>
                  <a:gd name="T103" fmla="*/ 2147483647 h 416"/>
                  <a:gd name="T104" fmla="*/ 2147483647 w 424"/>
                  <a:gd name="T105" fmla="*/ 2147483647 h 416"/>
                  <a:gd name="T106" fmla="*/ 2147483647 w 424"/>
                  <a:gd name="T107" fmla="*/ 2147483647 h 416"/>
                  <a:gd name="T108" fmla="*/ 2147483647 w 424"/>
                  <a:gd name="T109" fmla="*/ 2147483647 h 416"/>
                  <a:gd name="T110" fmla="*/ 2147483647 w 424"/>
                  <a:gd name="T111" fmla="*/ 2147483647 h 41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424"/>
                  <a:gd name="T169" fmla="*/ 0 h 416"/>
                  <a:gd name="T170" fmla="*/ 424 w 424"/>
                  <a:gd name="T171" fmla="*/ 416 h 41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424" h="416">
                    <a:moveTo>
                      <a:pt x="368" y="152"/>
                    </a:moveTo>
                    <a:lnTo>
                      <a:pt x="352" y="120"/>
                    </a:lnTo>
                    <a:lnTo>
                      <a:pt x="344" y="104"/>
                    </a:lnTo>
                    <a:lnTo>
                      <a:pt x="328" y="88"/>
                    </a:lnTo>
                    <a:lnTo>
                      <a:pt x="328" y="72"/>
                    </a:lnTo>
                    <a:lnTo>
                      <a:pt x="344" y="56"/>
                    </a:lnTo>
                    <a:lnTo>
                      <a:pt x="344" y="32"/>
                    </a:lnTo>
                    <a:lnTo>
                      <a:pt x="344" y="8"/>
                    </a:lnTo>
                    <a:lnTo>
                      <a:pt x="328" y="0"/>
                    </a:lnTo>
                    <a:lnTo>
                      <a:pt x="304" y="8"/>
                    </a:lnTo>
                    <a:lnTo>
                      <a:pt x="288" y="8"/>
                    </a:lnTo>
                    <a:lnTo>
                      <a:pt x="272" y="8"/>
                    </a:lnTo>
                    <a:lnTo>
                      <a:pt x="264" y="8"/>
                    </a:lnTo>
                    <a:lnTo>
                      <a:pt x="240" y="8"/>
                    </a:lnTo>
                    <a:lnTo>
                      <a:pt x="232" y="16"/>
                    </a:lnTo>
                    <a:lnTo>
                      <a:pt x="208" y="16"/>
                    </a:lnTo>
                    <a:lnTo>
                      <a:pt x="200" y="16"/>
                    </a:lnTo>
                    <a:lnTo>
                      <a:pt x="184" y="24"/>
                    </a:lnTo>
                    <a:lnTo>
                      <a:pt x="168" y="40"/>
                    </a:lnTo>
                    <a:lnTo>
                      <a:pt x="160" y="40"/>
                    </a:lnTo>
                    <a:lnTo>
                      <a:pt x="152" y="48"/>
                    </a:lnTo>
                    <a:lnTo>
                      <a:pt x="144" y="56"/>
                    </a:lnTo>
                    <a:lnTo>
                      <a:pt x="152" y="96"/>
                    </a:lnTo>
                    <a:lnTo>
                      <a:pt x="152" y="104"/>
                    </a:lnTo>
                    <a:lnTo>
                      <a:pt x="144" y="128"/>
                    </a:lnTo>
                    <a:lnTo>
                      <a:pt x="128" y="128"/>
                    </a:lnTo>
                    <a:lnTo>
                      <a:pt x="112" y="128"/>
                    </a:lnTo>
                    <a:lnTo>
                      <a:pt x="112" y="152"/>
                    </a:lnTo>
                    <a:lnTo>
                      <a:pt x="96" y="152"/>
                    </a:lnTo>
                    <a:lnTo>
                      <a:pt x="88" y="160"/>
                    </a:lnTo>
                    <a:lnTo>
                      <a:pt x="80" y="160"/>
                    </a:lnTo>
                    <a:lnTo>
                      <a:pt x="72" y="168"/>
                    </a:lnTo>
                    <a:lnTo>
                      <a:pt x="72" y="176"/>
                    </a:lnTo>
                    <a:lnTo>
                      <a:pt x="24" y="184"/>
                    </a:lnTo>
                    <a:lnTo>
                      <a:pt x="0" y="200"/>
                    </a:lnTo>
                    <a:lnTo>
                      <a:pt x="0" y="216"/>
                    </a:lnTo>
                    <a:lnTo>
                      <a:pt x="8" y="232"/>
                    </a:lnTo>
                    <a:lnTo>
                      <a:pt x="88" y="288"/>
                    </a:lnTo>
                    <a:lnTo>
                      <a:pt x="200" y="376"/>
                    </a:lnTo>
                    <a:lnTo>
                      <a:pt x="208" y="392"/>
                    </a:lnTo>
                    <a:lnTo>
                      <a:pt x="224" y="392"/>
                    </a:lnTo>
                    <a:lnTo>
                      <a:pt x="232" y="392"/>
                    </a:lnTo>
                    <a:lnTo>
                      <a:pt x="240" y="400"/>
                    </a:lnTo>
                    <a:lnTo>
                      <a:pt x="240" y="416"/>
                    </a:lnTo>
                    <a:lnTo>
                      <a:pt x="272" y="408"/>
                    </a:lnTo>
                    <a:lnTo>
                      <a:pt x="296" y="408"/>
                    </a:lnTo>
                    <a:lnTo>
                      <a:pt x="424" y="320"/>
                    </a:lnTo>
                    <a:lnTo>
                      <a:pt x="408" y="288"/>
                    </a:lnTo>
                    <a:lnTo>
                      <a:pt x="392" y="296"/>
                    </a:lnTo>
                    <a:lnTo>
                      <a:pt x="376" y="272"/>
                    </a:lnTo>
                    <a:lnTo>
                      <a:pt x="368" y="248"/>
                    </a:lnTo>
                    <a:lnTo>
                      <a:pt x="384" y="232"/>
                    </a:lnTo>
                    <a:lnTo>
                      <a:pt x="384" y="216"/>
                    </a:lnTo>
                    <a:lnTo>
                      <a:pt x="376" y="200"/>
                    </a:lnTo>
                    <a:lnTo>
                      <a:pt x="376" y="192"/>
                    </a:lnTo>
                    <a:lnTo>
                      <a:pt x="368" y="152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1064" name="Freeform 377">
                <a:extLst>
                  <a:ext uri="{FF2B5EF4-FFF2-40B4-BE49-F238E27FC236}">
                    <a16:creationId xmlns:a16="http://schemas.microsoft.com/office/drawing/2014/main" id="{FDB0FA05-97C7-483F-486D-52E8A7CD6D6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992084" y="585781"/>
                <a:ext cx="257410" cy="529075"/>
              </a:xfrm>
              <a:custGeom>
                <a:avLst/>
                <a:gdLst>
                  <a:gd name="T0" fmla="*/ 2147483647 w 80"/>
                  <a:gd name="T1" fmla="*/ 2147483647 h 152"/>
                  <a:gd name="T2" fmla="*/ 2147483647 w 80"/>
                  <a:gd name="T3" fmla="*/ 2147483647 h 152"/>
                  <a:gd name="T4" fmla="*/ 2147483647 w 80"/>
                  <a:gd name="T5" fmla="*/ 2147483647 h 152"/>
                  <a:gd name="T6" fmla="*/ 0 w 80"/>
                  <a:gd name="T7" fmla="*/ 2147483647 h 152"/>
                  <a:gd name="T8" fmla="*/ 0 w 80"/>
                  <a:gd name="T9" fmla="*/ 2147483647 h 152"/>
                  <a:gd name="T10" fmla="*/ 2147483647 w 80"/>
                  <a:gd name="T11" fmla="*/ 2147483647 h 152"/>
                  <a:gd name="T12" fmla="*/ 2147483647 w 80"/>
                  <a:gd name="T13" fmla="*/ 2147483647 h 152"/>
                  <a:gd name="T14" fmla="*/ 2147483647 w 80"/>
                  <a:gd name="T15" fmla="*/ 2147483647 h 152"/>
                  <a:gd name="T16" fmla="*/ 2147483647 w 80"/>
                  <a:gd name="T17" fmla="*/ 2147483647 h 152"/>
                  <a:gd name="T18" fmla="*/ 2147483647 w 80"/>
                  <a:gd name="T19" fmla="*/ 2147483647 h 152"/>
                  <a:gd name="T20" fmla="*/ 2147483647 w 80"/>
                  <a:gd name="T21" fmla="*/ 2147483647 h 152"/>
                  <a:gd name="T22" fmla="*/ 2147483647 w 80"/>
                  <a:gd name="T23" fmla="*/ 2147483647 h 152"/>
                  <a:gd name="T24" fmla="*/ 2147483647 w 80"/>
                  <a:gd name="T25" fmla="*/ 2147483647 h 152"/>
                  <a:gd name="T26" fmla="*/ 2147483647 w 80"/>
                  <a:gd name="T27" fmla="*/ 2147483647 h 152"/>
                  <a:gd name="T28" fmla="*/ 2147483647 w 80"/>
                  <a:gd name="T29" fmla="*/ 2147483647 h 152"/>
                  <a:gd name="T30" fmla="*/ 2147483647 w 80"/>
                  <a:gd name="T31" fmla="*/ 2147483647 h 152"/>
                  <a:gd name="T32" fmla="*/ 2147483647 w 80"/>
                  <a:gd name="T33" fmla="*/ 2147483647 h 152"/>
                  <a:gd name="T34" fmla="*/ 2147483647 w 80"/>
                  <a:gd name="T35" fmla="*/ 2147483647 h 152"/>
                  <a:gd name="T36" fmla="*/ 2147483647 w 80"/>
                  <a:gd name="T37" fmla="*/ 2147483647 h 152"/>
                  <a:gd name="T38" fmla="*/ 2147483647 w 80"/>
                  <a:gd name="T39" fmla="*/ 2147483647 h 152"/>
                  <a:gd name="T40" fmla="*/ 2147483647 w 80"/>
                  <a:gd name="T41" fmla="*/ 2147483647 h 152"/>
                  <a:gd name="T42" fmla="*/ 2147483647 w 80"/>
                  <a:gd name="T43" fmla="*/ 2147483647 h 152"/>
                  <a:gd name="T44" fmla="*/ 2147483647 w 80"/>
                  <a:gd name="T45" fmla="*/ 0 h 152"/>
                  <a:gd name="T46" fmla="*/ 2147483647 w 80"/>
                  <a:gd name="T47" fmla="*/ 0 h 152"/>
                  <a:gd name="T48" fmla="*/ 2147483647 w 80"/>
                  <a:gd name="T49" fmla="*/ 0 h 152"/>
                  <a:gd name="T50" fmla="*/ 2147483647 w 80"/>
                  <a:gd name="T51" fmla="*/ 0 h 152"/>
                  <a:gd name="T52" fmla="*/ 2147483647 w 80"/>
                  <a:gd name="T53" fmla="*/ 2147483647 h 152"/>
                  <a:gd name="T54" fmla="*/ 2147483647 w 80"/>
                  <a:gd name="T55" fmla="*/ 2147483647 h 15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80"/>
                  <a:gd name="T85" fmla="*/ 0 h 152"/>
                  <a:gd name="T86" fmla="*/ 80 w 80"/>
                  <a:gd name="T87" fmla="*/ 152 h 152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80" h="152">
                    <a:moveTo>
                      <a:pt x="16" y="8"/>
                    </a:moveTo>
                    <a:lnTo>
                      <a:pt x="16" y="32"/>
                    </a:lnTo>
                    <a:lnTo>
                      <a:pt x="16" y="56"/>
                    </a:lnTo>
                    <a:lnTo>
                      <a:pt x="0" y="72"/>
                    </a:lnTo>
                    <a:lnTo>
                      <a:pt x="0" y="88"/>
                    </a:lnTo>
                    <a:lnTo>
                      <a:pt x="16" y="104"/>
                    </a:lnTo>
                    <a:lnTo>
                      <a:pt x="24" y="120"/>
                    </a:lnTo>
                    <a:lnTo>
                      <a:pt x="40" y="152"/>
                    </a:lnTo>
                    <a:lnTo>
                      <a:pt x="48" y="152"/>
                    </a:lnTo>
                    <a:lnTo>
                      <a:pt x="56" y="144"/>
                    </a:lnTo>
                    <a:lnTo>
                      <a:pt x="64" y="120"/>
                    </a:lnTo>
                    <a:lnTo>
                      <a:pt x="72" y="120"/>
                    </a:lnTo>
                    <a:lnTo>
                      <a:pt x="80" y="112"/>
                    </a:lnTo>
                    <a:lnTo>
                      <a:pt x="80" y="96"/>
                    </a:lnTo>
                    <a:lnTo>
                      <a:pt x="64" y="88"/>
                    </a:lnTo>
                    <a:lnTo>
                      <a:pt x="56" y="80"/>
                    </a:lnTo>
                    <a:lnTo>
                      <a:pt x="56" y="72"/>
                    </a:lnTo>
                    <a:lnTo>
                      <a:pt x="72" y="56"/>
                    </a:lnTo>
                    <a:lnTo>
                      <a:pt x="72" y="40"/>
                    </a:lnTo>
                    <a:lnTo>
                      <a:pt x="64" y="24"/>
                    </a:lnTo>
                    <a:lnTo>
                      <a:pt x="64" y="16"/>
                    </a:lnTo>
                    <a:lnTo>
                      <a:pt x="72" y="8"/>
                    </a:lnTo>
                    <a:lnTo>
                      <a:pt x="72" y="0"/>
                    </a:lnTo>
                    <a:lnTo>
                      <a:pt x="56" y="0"/>
                    </a:lnTo>
                    <a:lnTo>
                      <a:pt x="48" y="0"/>
                    </a:lnTo>
                    <a:lnTo>
                      <a:pt x="40" y="0"/>
                    </a:lnTo>
                    <a:lnTo>
                      <a:pt x="32" y="8"/>
                    </a:lnTo>
                    <a:lnTo>
                      <a:pt x="16" y="8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1065" name="Freeform 380">
                <a:extLst>
                  <a:ext uri="{FF2B5EF4-FFF2-40B4-BE49-F238E27FC236}">
                    <a16:creationId xmlns:a16="http://schemas.microsoft.com/office/drawing/2014/main" id="{30250E96-A137-F2D5-A9DF-BB809C724EE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123051" y="913716"/>
                <a:ext cx="1011594" cy="1031910"/>
              </a:xfrm>
              <a:custGeom>
                <a:avLst/>
                <a:gdLst>
                  <a:gd name="T0" fmla="*/ 2147483647 w 320"/>
                  <a:gd name="T1" fmla="*/ 2147483647 h 296"/>
                  <a:gd name="T2" fmla="*/ 2147483647 w 320"/>
                  <a:gd name="T3" fmla="*/ 2147483647 h 296"/>
                  <a:gd name="T4" fmla="*/ 2147483647 w 320"/>
                  <a:gd name="T5" fmla="*/ 2147483647 h 296"/>
                  <a:gd name="T6" fmla="*/ 2147483647 w 320"/>
                  <a:gd name="T7" fmla="*/ 2147483647 h 296"/>
                  <a:gd name="T8" fmla="*/ 2147483647 w 320"/>
                  <a:gd name="T9" fmla="*/ 2147483647 h 296"/>
                  <a:gd name="T10" fmla="*/ 2147483647 w 320"/>
                  <a:gd name="T11" fmla="*/ 2147483647 h 296"/>
                  <a:gd name="T12" fmla="*/ 2147483647 w 320"/>
                  <a:gd name="T13" fmla="*/ 2147483647 h 296"/>
                  <a:gd name="T14" fmla="*/ 2147483647 w 320"/>
                  <a:gd name="T15" fmla="*/ 2147483647 h 296"/>
                  <a:gd name="T16" fmla="*/ 2147483647 w 320"/>
                  <a:gd name="T17" fmla="*/ 2147483647 h 296"/>
                  <a:gd name="T18" fmla="*/ 0 w 320"/>
                  <a:gd name="T19" fmla="*/ 2147483647 h 296"/>
                  <a:gd name="T20" fmla="*/ 2147483647 w 320"/>
                  <a:gd name="T21" fmla="*/ 2147483647 h 296"/>
                  <a:gd name="T22" fmla="*/ 2147483647 w 320"/>
                  <a:gd name="T23" fmla="*/ 2147483647 h 296"/>
                  <a:gd name="T24" fmla="*/ 2147483647 w 320"/>
                  <a:gd name="T25" fmla="*/ 2147483647 h 296"/>
                  <a:gd name="T26" fmla="*/ 2147483647 w 320"/>
                  <a:gd name="T27" fmla="*/ 2147483647 h 296"/>
                  <a:gd name="T28" fmla="*/ 0 w 320"/>
                  <a:gd name="T29" fmla="*/ 2147483647 h 296"/>
                  <a:gd name="T30" fmla="*/ 2147483647 w 320"/>
                  <a:gd name="T31" fmla="*/ 2147483647 h 296"/>
                  <a:gd name="T32" fmla="*/ 2147483647 w 320"/>
                  <a:gd name="T33" fmla="*/ 2147483647 h 296"/>
                  <a:gd name="T34" fmla="*/ 2147483647 w 320"/>
                  <a:gd name="T35" fmla="*/ 2147483647 h 296"/>
                  <a:gd name="T36" fmla="*/ 2147483647 w 320"/>
                  <a:gd name="T37" fmla="*/ 2147483647 h 296"/>
                  <a:gd name="T38" fmla="*/ 2147483647 w 320"/>
                  <a:gd name="T39" fmla="*/ 2147483647 h 296"/>
                  <a:gd name="T40" fmla="*/ 2147483647 w 320"/>
                  <a:gd name="T41" fmla="*/ 0 h 296"/>
                  <a:gd name="T42" fmla="*/ 2147483647 w 320"/>
                  <a:gd name="T43" fmla="*/ 2147483647 h 296"/>
                  <a:gd name="T44" fmla="*/ 2147483647 w 320"/>
                  <a:gd name="T45" fmla="*/ 2147483647 h 296"/>
                  <a:gd name="T46" fmla="*/ 2147483647 w 320"/>
                  <a:gd name="T47" fmla="*/ 2147483647 h 296"/>
                  <a:gd name="T48" fmla="*/ 2147483647 w 320"/>
                  <a:gd name="T49" fmla="*/ 2147483647 h 296"/>
                  <a:gd name="T50" fmla="*/ 2147483647 w 320"/>
                  <a:gd name="T51" fmla="*/ 2147483647 h 296"/>
                  <a:gd name="T52" fmla="*/ 2147483647 w 320"/>
                  <a:gd name="T53" fmla="*/ 2147483647 h 296"/>
                  <a:gd name="T54" fmla="*/ 2147483647 w 320"/>
                  <a:gd name="T55" fmla="*/ 2147483647 h 296"/>
                  <a:gd name="T56" fmla="*/ 2147483647 w 320"/>
                  <a:gd name="T57" fmla="*/ 2147483647 h 296"/>
                  <a:gd name="T58" fmla="*/ 2147483647 w 320"/>
                  <a:gd name="T59" fmla="*/ 2147483647 h 296"/>
                  <a:gd name="T60" fmla="*/ 2147483647 w 320"/>
                  <a:gd name="T61" fmla="*/ 2147483647 h 296"/>
                  <a:gd name="T62" fmla="*/ 2147483647 w 320"/>
                  <a:gd name="T63" fmla="*/ 2147483647 h 296"/>
                  <a:gd name="T64" fmla="*/ 2147483647 w 320"/>
                  <a:gd name="T65" fmla="*/ 2147483647 h 296"/>
                  <a:gd name="T66" fmla="*/ 2147483647 w 320"/>
                  <a:gd name="T67" fmla="*/ 2147483647 h 296"/>
                  <a:gd name="T68" fmla="*/ 2147483647 w 320"/>
                  <a:gd name="T69" fmla="*/ 2147483647 h 296"/>
                  <a:gd name="T70" fmla="*/ 2147483647 w 320"/>
                  <a:gd name="T71" fmla="*/ 2147483647 h 296"/>
                  <a:gd name="T72" fmla="*/ 2147483647 w 320"/>
                  <a:gd name="T73" fmla="*/ 2147483647 h 296"/>
                  <a:gd name="T74" fmla="*/ 2147483647 w 320"/>
                  <a:gd name="T75" fmla="*/ 2147483647 h 296"/>
                  <a:gd name="T76" fmla="*/ 2147483647 w 320"/>
                  <a:gd name="T77" fmla="*/ 2147483647 h 296"/>
                  <a:gd name="T78" fmla="*/ 2147483647 w 320"/>
                  <a:gd name="T79" fmla="*/ 2147483647 h 296"/>
                  <a:gd name="T80" fmla="*/ 2147483647 w 320"/>
                  <a:gd name="T81" fmla="*/ 2147483647 h 296"/>
                  <a:gd name="T82" fmla="*/ 2147483647 w 320"/>
                  <a:gd name="T83" fmla="*/ 2147483647 h 296"/>
                  <a:gd name="T84" fmla="*/ 2147483647 w 320"/>
                  <a:gd name="T85" fmla="*/ 2147483647 h 296"/>
                  <a:gd name="T86" fmla="*/ 2147483647 w 320"/>
                  <a:gd name="T87" fmla="*/ 2147483647 h 29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320"/>
                  <a:gd name="T133" fmla="*/ 0 h 296"/>
                  <a:gd name="T134" fmla="*/ 320 w 320"/>
                  <a:gd name="T135" fmla="*/ 296 h 29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320" h="296">
                    <a:moveTo>
                      <a:pt x="320" y="248"/>
                    </a:moveTo>
                    <a:lnTo>
                      <a:pt x="320" y="296"/>
                    </a:lnTo>
                    <a:lnTo>
                      <a:pt x="304" y="296"/>
                    </a:lnTo>
                    <a:lnTo>
                      <a:pt x="144" y="216"/>
                    </a:lnTo>
                    <a:lnTo>
                      <a:pt x="112" y="240"/>
                    </a:lnTo>
                    <a:lnTo>
                      <a:pt x="56" y="224"/>
                    </a:lnTo>
                    <a:lnTo>
                      <a:pt x="40" y="192"/>
                    </a:lnTo>
                    <a:lnTo>
                      <a:pt x="24" y="200"/>
                    </a:lnTo>
                    <a:lnTo>
                      <a:pt x="8" y="176"/>
                    </a:lnTo>
                    <a:lnTo>
                      <a:pt x="0" y="152"/>
                    </a:lnTo>
                    <a:lnTo>
                      <a:pt x="16" y="136"/>
                    </a:lnTo>
                    <a:lnTo>
                      <a:pt x="16" y="120"/>
                    </a:lnTo>
                    <a:lnTo>
                      <a:pt x="8" y="104"/>
                    </a:lnTo>
                    <a:lnTo>
                      <a:pt x="8" y="96"/>
                    </a:lnTo>
                    <a:lnTo>
                      <a:pt x="0" y="56"/>
                    </a:lnTo>
                    <a:lnTo>
                      <a:pt x="8" y="56"/>
                    </a:lnTo>
                    <a:lnTo>
                      <a:pt x="16" y="48"/>
                    </a:lnTo>
                    <a:lnTo>
                      <a:pt x="24" y="24"/>
                    </a:lnTo>
                    <a:lnTo>
                      <a:pt x="32" y="24"/>
                    </a:lnTo>
                    <a:lnTo>
                      <a:pt x="40" y="16"/>
                    </a:lnTo>
                    <a:lnTo>
                      <a:pt x="40" y="0"/>
                    </a:lnTo>
                    <a:lnTo>
                      <a:pt x="64" y="8"/>
                    </a:lnTo>
                    <a:lnTo>
                      <a:pt x="96" y="8"/>
                    </a:lnTo>
                    <a:lnTo>
                      <a:pt x="104" y="16"/>
                    </a:lnTo>
                    <a:lnTo>
                      <a:pt x="120" y="16"/>
                    </a:lnTo>
                    <a:lnTo>
                      <a:pt x="128" y="40"/>
                    </a:lnTo>
                    <a:lnTo>
                      <a:pt x="168" y="48"/>
                    </a:lnTo>
                    <a:lnTo>
                      <a:pt x="200" y="72"/>
                    </a:lnTo>
                    <a:lnTo>
                      <a:pt x="216" y="64"/>
                    </a:lnTo>
                    <a:lnTo>
                      <a:pt x="224" y="48"/>
                    </a:lnTo>
                    <a:lnTo>
                      <a:pt x="216" y="40"/>
                    </a:lnTo>
                    <a:lnTo>
                      <a:pt x="216" y="24"/>
                    </a:lnTo>
                    <a:lnTo>
                      <a:pt x="248" y="8"/>
                    </a:lnTo>
                    <a:lnTo>
                      <a:pt x="264" y="8"/>
                    </a:lnTo>
                    <a:lnTo>
                      <a:pt x="280" y="8"/>
                    </a:lnTo>
                    <a:lnTo>
                      <a:pt x="280" y="24"/>
                    </a:lnTo>
                    <a:lnTo>
                      <a:pt x="296" y="24"/>
                    </a:lnTo>
                    <a:lnTo>
                      <a:pt x="312" y="32"/>
                    </a:lnTo>
                    <a:lnTo>
                      <a:pt x="320" y="40"/>
                    </a:lnTo>
                    <a:lnTo>
                      <a:pt x="320" y="56"/>
                    </a:lnTo>
                    <a:lnTo>
                      <a:pt x="312" y="64"/>
                    </a:lnTo>
                    <a:lnTo>
                      <a:pt x="320" y="104"/>
                    </a:lnTo>
                    <a:lnTo>
                      <a:pt x="320" y="200"/>
                    </a:lnTo>
                    <a:lnTo>
                      <a:pt x="320" y="248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1066" name="Freeform 381">
                <a:extLst>
                  <a:ext uri="{FF2B5EF4-FFF2-40B4-BE49-F238E27FC236}">
                    <a16:creationId xmlns:a16="http://schemas.microsoft.com/office/drawing/2014/main" id="{A255E46A-EE3C-93CF-66D0-611396AB066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393409" y="1390318"/>
                <a:ext cx="839984" cy="940089"/>
              </a:xfrm>
              <a:custGeom>
                <a:avLst/>
                <a:gdLst>
                  <a:gd name="T0" fmla="*/ 2147483647 w 264"/>
                  <a:gd name="T1" fmla="*/ 0 h 272"/>
                  <a:gd name="T2" fmla="*/ 2147483647 w 264"/>
                  <a:gd name="T3" fmla="*/ 2147483647 h 272"/>
                  <a:gd name="T4" fmla="*/ 2147483647 w 264"/>
                  <a:gd name="T5" fmla="*/ 2147483647 h 272"/>
                  <a:gd name="T6" fmla="*/ 2147483647 w 264"/>
                  <a:gd name="T7" fmla="*/ 2147483647 h 272"/>
                  <a:gd name="T8" fmla="*/ 2147483647 w 264"/>
                  <a:gd name="T9" fmla="*/ 2147483647 h 272"/>
                  <a:gd name="T10" fmla="*/ 2147483647 w 264"/>
                  <a:gd name="T11" fmla="*/ 2147483647 h 272"/>
                  <a:gd name="T12" fmla="*/ 2147483647 w 264"/>
                  <a:gd name="T13" fmla="*/ 2147483647 h 272"/>
                  <a:gd name="T14" fmla="*/ 0 w 264"/>
                  <a:gd name="T15" fmla="*/ 2147483647 h 272"/>
                  <a:gd name="T16" fmla="*/ 2147483647 w 264"/>
                  <a:gd name="T17" fmla="*/ 2147483647 h 272"/>
                  <a:gd name="T18" fmla="*/ 2147483647 w 264"/>
                  <a:gd name="T19" fmla="*/ 2147483647 h 272"/>
                  <a:gd name="T20" fmla="*/ 2147483647 w 264"/>
                  <a:gd name="T21" fmla="*/ 2147483647 h 272"/>
                  <a:gd name="T22" fmla="*/ 2147483647 w 264"/>
                  <a:gd name="T23" fmla="*/ 2147483647 h 272"/>
                  <a:gd name="T24" fmla="*/ 2147483647 w 264"/>
                  <a:gd name="T25" fmla="*/ 2147483647 h 272"/>
                  <a:gd name="T26" fmla="*/ 2147483647 w 264"/>
                  <a:gd name="T27" fmla="*/ 2147483647 h 272"/>
                  <a:gd name="T28" fmla="*/ 2147483647 w 264"/>
                  <a:gd name="T29" fmla="*/ 2147483647 h 272"/>
                  <a:gd name="T30" fmla="*/ 2147483647 w 264"/>
                  <a:gd name="T31" fmla="*/ 2147483647 h 272"/>
                  <a:gd name="T32" fmla="*/ 2147483647 w 264"/>
                  <a:gd name="T33" fmla="*/ 2147483647 h 272"/>
                  <a:gd name="T34" fmla="*/ 2147483647 w 264"/>
                  <a:gd name="T35" fmla="*/ 2147483647 h 272"/>
                  <a:gd name="T36" fmla="*/ 2147483647 w 264"/>
                  <a:gd name="T37" fmla="*/ 2147483647 h 272"/>
                  <a:gd name="T38" fmla="*/ 2147483647 w 264"/>
                  <a:gd name="T39" fmla="*/ 2147483647 h 272"/>
                  <a:gd name="T40" fmla="*/ 2147483647 w 264"/>
                  <a:gd name="T41" fmla="*/ 2147483647 h 272"/>
                  <a:gd name="T42" fmla="*/ 2147483647 w 264"/>
                  <a:gd name="T43" fmla="*/ 2147483647 h 272"/>
                  <a:gd name="T44" fmla="*/ 2147483647 w 264"/>
                  <a:gd name="T45" fmla="*/ 2147483647 h 272"/>
                  <a:gd name="T46" fmla="*/ 2147483647 w 264"/>
                  <a:gd name="T47" fmla="*/ 2147483647 h 272"/>
                  <a:gd name="T48" fmla="*/ 2147483647 w 264"/>
                  <a:gd name="T49" fmla="*/ 2147483647 h 272"/>
                  <a:gd name="T50" fmla="*/ 2147483647 w 264"/>
                  <a:gd name="T51" fmla="*/ 2147483647 h 272"/>
                  <a:gd name="T52" fmla="*/ 2147483647 w 264"/>
                  <a:gd name="T53" fmla="*/ 2147483647 h 272"/>
                  <a:gd name="T54" fmla="*/ 2147483647 w 264"/>
                  <a:gd name="T55" fmla="*/ 2147483647 h 272"/>
                  <a:gd name="T56" fmla="*/ 2147483647 w 264"/>
                  <a:gd name="T57" fmla="*/ 0 h 27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264"/>
                  <a:gd name="T88" fmla="*/ 0 h 272"/>
                  <a:gd name="T89" fmla="*/ 264 w 264"/>
                  <a:gd name="T90" fmla="*/ 272 h 272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264" h="272">
                    <a:moveTo>
                      <a:pt x="184" y="0"/>
                    </a:moveTo>
                    <a:lnTo>
                      <a:pt x="176" y="32"/>
                    </a:lnTo>
                    <a:lnTo>
                      <a:pt x="112" y="32"/>
                    </a:lnTo>
                    <a:lnTo>
                      <a:pt x="112" y="88"/>
                    </a:lnTo>
                    <a:lnTo>
                      <a:pt x="96" y="88"/>
                    </a:lnTo>
                    <a:lnTo>
                      <a:pt x="88" y="104"/>
                    </a:lnTo>
                    <a:lnTo>
                      <a:pt x="88" y="136"/>
                    </a:lnTo>
                    <a:lnTo>
                      <a:pt x="0" y="136"/>
                    </a:lnTo>
                    <a:lnTo>
                      <a:pt x="8" y="144"/>
                    </a:lnTo>
                    <a:lnTo>
                      <a:pt x="16" y="160"/>
                    </a:lnTo>
                    <a:lnTo>
                      <a:pt x="16" y="176"/>
                    </a:lnTo>
                    <a:lnTo>
                      <a:pt x="24" y="208"/>
                    </a:lnTo>
                    <a:lnTo>
                      <a:pt x="24" y="232"/>
                    </a:lnTo>
                    <a:lnTo>
                      <a:pt x="32" y="224"/>
                    </a:lnTo>
                    <a:lnTo>
                      <a:pt x="56" y="232"/>
                    </a:lnTo>
                    <a:lnTo>
                      <a:pt x="72" y="240"/>
                    </a:lnTo>
                    <a:lnTo>
                      <a:pt x="80" y="248"/>
                    </a:lnTo>
                    <a:lnTo>
                      <a:pt x="104" y="272"/>
                    </a:lnTo>
                    <a:lnTo>
                      <a:pt x="112" y="256"/>
                    </a:lnTo>
                    <a:lnTo>
                      <a:pt x="120" y="256"/>
                    </a:lnTo>
                    <a:lnTo>
                      <a:pt x="128" y="264"/>
                    </a:lnTo>
                    <a:lnTo>
                      <a:pt x="136" y="256"/>
                    </a:lnTo>
                    <a:lnTo>
                      <a:pt x="152" y="256"/>
                    </a:lnTo>
                    <a:lnTo>
                      <a:pt x="160" y="248"/>
                    </a:lnTo>
                    <a:lnTo>
                      <a:pt x="168" y="256"/>
                    </a:lnTo>
                    <a:lnTo>
                      <a:pt x="240" y="256"/>
                    </a:lnTo>
                    <a:lnTo>
                      <a:pt x="216" y="56"/>
                    </a:lnTo>
                    <a:lnTo>
                      <a:pt x="264" y="56"/>
                    </a:lnTo>
                    <a:lnTo>
                      <a:pt x="184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1067" name="Freeform 406">
                <a:extLst>
                  <a:ext uri="{FF2B5EF4-FFF2-40B4-BE49-F238E27FC236}">
                    <a16:creationId xmlns:a16="http://schemas.microsoft.com/office/drawing/2014/main" id="{CC4BD27C-FB10-2FB6-3E1E-E76453BE41BF}"/>
                  </a:ext>
                </a:extLst>
              </p:cNvPr>
              <p:cNvSpPr/>
              <p:nvPr/>
            </p:nvSpPr>
            <p:spPr>
              <a:xfrm>
                <a:off x="4393409" y="695092"/>
                <a:ext cx="1045290" cy="1165445"/>
              </a:xfrm>
              <a:custGeom>
                <a:avLst/>
                <a:gdLst>
                  <a:gd name="connsiteX0" fmla="*/ 1619250 w 1657350"/>
                  <a:gd name="connsiteY0" fmla="*/ 104775 h 1603375"/>
                  <a:gd name="connsiteX1" fmla="*/ 1530350 w 1657350"/>
                  <a:gd name="connsiteY1" fmla="*/ 104775 h 1603375"/>
                  <a:gd name="connsiteX2" fmla="*/ 1489075 w 1657350"/>
                  <a:gd name="connsiteY2" fmla="*/ 66675 h 1603375"/>
                  <a:gd name="connsiteX3" fmla="*/ 1292225 w 1657350"/>
                  <a:gd name="connsiteY3" fmla="*/ 73025 h 1603375"/>
                  <a:gd name="connsiteX4" fmla="*/ 1200150 w 1657350"/>
                  <a:gd name="connsiteY4" fmla="*/ 0 h 1603375"/>
                  <a:gd name="connsiteX5" fmla="*/ 1168400 w 1657350"/>
                  <a:gd name="connsiteY5" fmla="*/ 34925 h 1603375"/>
                  <a:gd name="connsiteX6" fmla="*/ 1171575 w 1657350"/>
                  <a:gd name="connsiteY6" fmla="*/ 82550 h 1603375"/>
                  <a:gd name="connsiteX7" fmla="*/ 1095375 w 1657350"/>
                  <a:gd name="connsiteY7" fmla="*/ 146050 h 1603375"/>
                  <a:gd name="connsiteX8" fmla="*/ 1092200 w 1657350"/>
                  <a:gd name="connsiteY8" fmla="*/ 225425 h 1603375"/>
                  <a:gd name="connsiteX9" fmla="*/ 1006475 w 1657350"/>
                  <a:gd name="connsiteY9" fmla="*/ 273050 h 1603375"/>
                  <a:gd name="connsiteX10" fmla="*/ 968375 w 1657350"/>
                  <a:gd name="connsiteY10" fmla="*/ 269875 h 1603375"/>
                  <a:gd name="connsiteX11" fmla="*/ 854075 w 1657350"/>
                  <a:gd name="connsiteY11" fmla="*/ 346075 h 1603375"/>
                  <a:gd name="connsiteX12" fmla="*/ 854075 w 1657350"/>
                  <a:gd name="connsiteY12" fmla="*/ 346075 h 1603375"/>
                  <a:gd name="connsiteX13" fmla="*/ 771525 w 1657350"/>
                  <a:gd name="connsiteY13" fmla="*/ 536575 h 1603375"/>
                  <a:gd name="connsiteX14" fmla="*/ 815975 w 1657350"/>
                  <a:gd name="connsiteY14" fmla="*/ 660400 h 1603375"/>
                  <a:gd name="connsiteX15" fmla="*/ 777875 w 1657350"/>
                  <a:gd name="connsiteY15" fmla="*/ 723900 h 1603375"/>
                  <a:gd name="connsiteX16" fmla="*/ 650875 w 1657350"/>
                  <a:gd name="connsiteY16" fmla="*/ 838200 h 1603375"/>
                  <a:gd name="connsiteX17" fmla="*/ 482600 w 1657350"/>
                  <a:gd name="connsiteY17" fmla="*/ 917575 h 1603375"/>
                  <a:gd name="connsiteX18" fmla="*/ 441325 w 1657350"/>
                  <a:gd name="connsiteY18" fmla="*/ 917575 h 1603375"/>
                  <a:gd name="connsiteX19" fmla="*/ 358775 w 1657350"/>
                  <a:gd name="connsiteY19" fmla="*/ 1035050 h 1603375"/>
                  <a:gd name="connsiteX20" fmla="*/ 365125 w 1657350"/>
                  <a:gd name="connsiteY20" fmla="*/ 1069975 h 1603375"/>
                  <a:gd name="connsiteX21" fmla="*/ 327025 w 1657350"/>
                  <a:gd name="connsiteY21" fmla="*/ 1069975 h 1603375"/>
                  <a:gd name="connsiteX22" fmla="*/ 244475 w 1657350"/>
                  <a:gd name="connsiteY22" fmla="*/ 1222375 h 1603375"/>
                  <a:gd name="connsiteX23" fmla="*/ 152400 w 1657350"/>
                  <a:gd name="connsiteY23" fmla="*/ 1285875 h 1603375"/>
                  <a:gd name="connsiteX24" fmla="*/ 0 w 1657350"/>
                  <a:gd name="connsiteY24" fmla="*/ 1603375 h 1603375"/>
                  <a:gd name="connsiteX25" fmla="*/ 441325 w 1657350"/>
                  <a:gd name="connsiteY25" fmla="*/ 1597025 h 1603375"/>
                  <a:gd name="connsiteX26" fmla="*/ 441325 w 1657350"/>
                  <a:gd name="connsiteY26" fmla="*/ 1450975 h 1603375"/>
                  <a:gd name="connsiteX27" fmla="*/ 488950 w 1657350"/>
                  <a:gd name="connsiteY27" fmla="*/ 1368425 h 1603375"/>
                  <a:gd name="connsiteX28" fmla="*/ 565150 w 1657350"/>
                  <a:gd name="connsiteY28" fmla="*/ 1368425 h 1603375"/>
                  <a:gd name="connsiteX29" fmla="*/ 565150 w 1657350"/>
                  <a:gd name="connsiteY29" fmla="*/ 1101725 h 1603375"/>
                  <a:gd name="connsiteX30" fmla="*/ 892175 w 1657350"/>
                  <a:gd name="connsiteY30" fmla="*/ 1104900 h 1603375"/>
                  <a:gd name="connsiteX31" fmla="*/ 930275 w 1657350"/>
                  <a:gd name="connsiteY31" fmla="*/ 946150 h 1603375"/>
                  <a:gd name="connsiteX32" fmla="*/ 879475 w 1657350"/>
                  <a:gd name="connsiteY32" fmla="*/ 869950 h 1603375"/>
                  <a:gd name="connsiteX33" fmla="*/ 882650 w 1657350"/>
                  <a:gd name="connsiteY33" fmla="*/ 800100 h 1603375"/>
                  <a:gd name="connsiteX34" fmla="*/ 1006475 w 1657350"/>
                  <a:gd name="connsiteY34" fmla="*/ 720725 h 1603375"/>
                  <a:gd name="connsiteX35" fmla="*/ 1254125 w 1657350"/>
                  <a:gd name="connsiteY35" fmla="*/ 682625 h 1603375"/>
                  <a:gd name="connsiteX36" fmla="*/ 1250950 w 1657350"/>
                  <a:gd name="connsiteY36" fmla="*/ 644525 h 1603375"/>
                  <a:gd name="connsiteX37" fmla="*/ 1295400 w 1657350"/>
                  <a:gd name="connsiteY37" fmla="*/ 606425 h 1603375"/>
                  <a:gd name="connsiteX38" fmla="*/ 1336675 w 1657350"/>
                  <a:gd name="connsiteY38" fmla="*/ 606425 h 1603375"/>
                  <a:gd name="connsiteX39" fmla="*/ 1371600 w 1657350"/>
                  <a:gd name="connsiteY39" fmla="*/ 565150 h 1603375"/>
                  <a:gd name="connsiteX40" fmla="*/ 1454150 w 1657350"/>
                  <a:gd name="connsiteY40" fmla="*/ 565150 h 1603375"/>
                  <a:gd name="connsiteX41" fmla="*/ 1457325 w 1657350"/>
                  <a:gd name="connsiteY41" fmla="*/ 450850 h 1603375"/>
                  <a:gd name="connsiteX42" fmla="*/ 1616075 w 1657350"/>
                  <a:gd name="connsiteY42" fmla="*/ 450850 h 1603375"/>
                  <a:gd name="connsiteX43" fmla="*/ 1657350 w 1657350"/>
                  <a:gd name="connsiteY43" fmla="*/ 304800 h 1603375"/>
                  <a:gd name="connsiteX44" fmla="*/ 1619250 w 1657350"/>
                  <a:gd name="connsiteY44" fmla="*/ 104775 h 1603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1657350" h="1603375">
                    <a:moveTo>
                      <a:pt x="1619250" y="104775"/>
                    </a:moveTo>
                    <a:lnTo>
                      <a:pt x="1530350" y="104775"/>
                    </a:lnTo>
                    <a:lnTo>
                      <a:pt x="1489075" y="66675"/>
                    </a:lnTo>
                    <a:lnTo>
                      <a:pt x="1292225" y="73025"/>
                    </a:lnTo>
                    <a:lnTo>
                      <a:pt x="1200150" y="0"/>
                    </a:lnTo>
                    <a:lnTo>
                      <a:pt x="1168400" y="34925"/>
                    </a:lnTo>
                    <a:lnTo>
                      <a:pt x="1171575" y="82550"/>
                    </a:lnTo>
                    <a:lnTo>
                      <a:pt x="1095375" y="146050"/>
                    </a:lnTo>
                    <a:lnTo>
                      <a:pt x="1092200" y="225425"/>
                    </a:lnTo>
                    <a:lnTo>
                      <a:pt x="1006475" y="273050"/>
                    </a:lnTo>
                    <a:lnTo>
                      <a:pt x="968375" y="269875"/>
                    </a:lnTo>
                    <a:lnTo>
                      <a:pt x="854075" y="346075"/>
                    </a:lnTo>
                    <a:lnTo>
                      <a:pt x="854075" y="346075"/>
                    </a:lnTo>
                    <a:lnTo>
                      <a:pt x="771525" y="536575"/>
                    </a:lnTo>
                    <a:lnTo>
                      <a:pt x="815975" y="660400"/>
                    </a:lnTo>
                    <a:lnTo>
                      <a:pt x="777875" y="723900"/>
                    </a:lnTo>
                    <a:lnTo>
                      <a:pt x="650875" y="838200"/>
                    </a:lnTo>
                    <a:lnTo>
                      <a:pt x="482600" y="917575"/>
                    </a:lnTo>
                    <a:lnTo>
                      <a:pt x="441325" y="917575"/>
                    </a:lnTo>
                    <a:lnTo>
                      <a:pt x="358775" y="1035050"/>
                    </a:lnTo>
                    <a:lnTo>
                      <a:pt x="365125" y="1069975"/>
                    </a:lnTo>
                    <a:lnTo>
                      <a:pt x="327025" y="1069975"/>
                    </a:lnTo>
                    <a:lnTo>
                      <a:pt x="244475" y="1222375"/>
                    </a:lnTo>
                    <a:lnTo>
                      <a:pt x="152400" y="1285875"/>
                    </a:lnTo>
                    <a:lnTo>
                      <a:pt x="0" y="1603375"/>
                    </a:lnTo>
                    <a:lnTo>
                      <a:pt x="441325" y="1597025"/>
                    </a:lnTo>
                    <a:lnTo>
                      <a:pt x="441325" y="1450975"/>
                    </a:lnTo>
                    <a:lnTo>
                      <a:pt x="488950" y="1368425"/>
                    </a:lnTo>
                    <a:lnTo>
                      <a:pt x="565150" y="1368425"/>
                    </a:lnTo>
                    <a:lnTo>
                      <a:pt x="565150" y="1101725"/>
                    </a:lnTo>
                    <a:lnTo>
                      <a:pt x="892175" y="1104900"/>
                    </a:lnTo>
                    <a:lnTo>
                      <a:pt x="930275" y="946150"/>
                    </a:lnTo>
                    <a:lnTo>
                      <a:pt x="879475" y="869950"/>
                    </a:lnTo>
                    <a:lnTo>
                      <a:pt x="882650" y="800100"/>
                    </a:lnTo>
                    <a:lnTo>
                      <a:pt x="1006475" y="720725"/>
                    </a:lnTo>
                    <a:lnTo>
                      <a:pt x="1254125" y="682625"/>
                    </a:lnTo>
                    <a:lnTo>
                      <a:pt x="1250950" y="644525"/>
                    </a:lnTo>
                    <a:lnTo>
                      <a:pt x="1295400" y="606425"/>
                    </a:lnTo>
                    <a:lnTo>
                      <a:pt x="1336675" y="606425"/>
                    </a:lnTo>
                    <a:lnTo>
                      <a:pt x="1371600" y="565150"/>
                    </a:lnTo>
                    <a:lnTo>
                      <a:pt x="1454150" y="565150"/>
                    </a:lnTo>
                    <a:cubicBezTo>
                      <a:pt x="1455208" y="527050"/>
                      <a:pt x="1456267" y="488950"/>
                      <a:pt x="1457325" y="450850"/>
                    </a:cubicBezTo>
                    <a:lnTo>
                      <a:pt x="1616075" y="450850"/>
                    </a:lnTo>
                    <a:lnTo>
                      <a:pt x="1657350" y="304800"/>
                    </a:lnTo>
                    <a:lnTo>
                      <a:pt x="1619250" y="104775"/>
                    </a:lnTo>
                    <a:close/>
                  </a:path>
                </a:pathLst>
              </a:custGeom>
              <a:solidFill>
                <a:srgbClr val="D51224"/>
              </a:solidFill>
              <a:ln w="31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68" name="Freeform 293">
                <a:extLst>
                  <a:ext uri="{FF2B5EF4-FFF2-40B4-BE49-F238E27FC236}">
                    <a16:creationId xmlns:a16="http://schemas.microsoft.com/office/drawing/2014/main" id="{3C102AAD-D5CF-868C-D0B1-38B0A77CEFB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579168" y="4975768"/>
                <a:ext cx="1047721" cy="1053773"/>
              </a:xfrm>
              <a:custGeom>
                <a:avLst/>
                <a:gdLst>
                  <a:gd name="T0" fmla="*/ 0 w 328"/>
                  <a:gd name="T1" fmla="*/ 2147483647 h 304"/>
                  <a:gd name="T2" fmla="*/ 0 w 328"/>
                  <a:gd name="T3" fmla="*/ 2147483647 h 304"/>
                  <a:gd name="T4" fmla="*/ 2147483647 w 328"/>
                  <a:gd name="T5" fmla="*/ 2147483647 h 304"/>
                  <a:gd name="T6" fmla="*/ 2147483647 w 328"/>
                  <a:gd name="T7" fmla="*/ 2147483647 h 304"/>
                  <a:gd name="T8" fmla="*/ 2147483647 w 328"/>
                  <a:gd name="T9" fmla="*/ 2147483647 h 304"/>
                  <a:gd name="T10" fmla="*/ 2147483647 w 328"/>
                  <a:gd name="T11" fmla="*/ 2147483647 h 304"/>
                  <a:gd name="T12" fmla="*/ 2147483647 w 328"/>
                  <a:gd name="T13" fmla="*/ 2147483647 h 304"/>
                  <a:gd name="T14" fmla="*/ 2147483647 w 328"/>
                  <a:gd name="T15" fmla="*/ 2147483647 h 304"/>
                  <a:gd name="T16" fmla="*/ 2147483647 w 328"/>
                  <a:gd name="T17" fmla="*/ 2147483647 h 304"/>
                  <a:gd name="T18" fmla="*/ 2147483647 w 328"/>
                  <a:gd name="T19" fmla="*/ 2147483647 h 304"/>
                  <a:gd name="T20" fmla="*/ 2147483647 w 328"/>
                  <a:gd name="T21" fmla="*/ 2147483647 h 304"/>
                  <a:gd name="T22" fmla="*/ 2147483647 w 328"/>
                  <a:gd name="T23" fmla="*/ 2147483647 h 304"/>
                  <a:gd name="T24" fmla="*/ 2147483647 w 328"/>
                  <a:gd name="T25" fmla="*/ 2147483647 h 304"/>
                  <a:gd name="T26" fmla="*/ 2147483647 w 328"/>
                  <a:gd name="T27" fmla="*/ 2147483647 h 304"/>
                  <a:gd name="T28" fmla="*/ 2147483647 w 328"/>
                  <a:gd name="T29" fmla="*/ 2147483647 h 304"/>
                  <a:gd name="T30" fmla="*/ 2147483647 w 328"/>
                  <a:gd name="T31" fmla="*/ 2147483647 h 304"/>
                  <a:gd name="T32" fmla="*/ 2147483647 w 328"/>
                  <a:gd name="T33" fmla="*/ 2147483647 h 304"/>
                  <a:gd name="T34" fmla="*/ 2147483647 w 328"/>
                  <a:gd name="T35" fmla="*/ 2147483647 h 304"/>
                  <a:gd name="T36" fmla="*/ 2147483647 w 328"/>
                  <a:gd name="T37" fmla="*/ 2147483647 h 304"/>
                  <a:gd name="T38" fmla="*/ 2147483647 w 328"/>
                  <a:gd name="T39" fmla="*/ 2147483647 h 304"/>
                  <a:gd name="T40" fmla="*/ 2147483647 w 328"/>
                  <a:gd name="T41" fmla="*/ 2147483647 h 304"/>
                  <a:gd name="T42" fmla="*/ 2147483647 w 328"/>
                  <a:gd name="T43" fmla="*/ 2147483647 h 304"/>
                  <a:gd name="T44" fmla="*/ 2147483647 w 328"/>
                  <a:gd name="T45" fmla="*/ 2147483647 h 304"/>
                  <a:gd name="T46" fmla="*/ 2147483647 w 328"/>
                  <a:gd name="T47" fmla="*/ 2147483647 h 304"/>
                  <a:gd name="T48" fmla="*/ 2147483647 w 328"/>
                  <a:gd name="T49" fmla="*/ 2147483647 h 304"/>
                  <a:gd name="T50" fmla="*/ 2147483647 w 328"/>
                  <a:gd name="T51" fmla="*/ 2147483647 h 304"/>
                  <a:gd name="T52" fmla="*/ 2147483647 w 328"/>
                  <a:gd name="T53" fmla="*/ 2147483647 h 304"/>
                  <a:gd name="T54" fmla="*/ 2147483647 w 328"/>
                  <a:gd name="T55" fmla="*/ 2147483647 h 304"/>
                  <a:gd name="T56" fmla="*/ 2147483647 w 328"/>
                  <a:gd name="T57" fmla="*/ 2147483647 h 304"/>
                  <a:gd name="T58" fmla="*/ 2147483647 w 328"/>
                  <a:gd name="T59" fmla="*/ 2147483647 h 304"/>
                  <a:gd name="T60" fmla="*/ 2147483647 w 328"/>
                  <a:gd name="T61" fmla="*/ 0 h 304"/>
                  <a:gd name="T62" fmla="*/ 2147483647 w 328"/>
                  <a:gd name="T63" fmla="*/ 2147483647 h 304"/>
                  <a:gd name="T64" fmla="*/ 2147483647 w 328"/>
                  <a:gd name="T65" fmla="*/ 2147483647 h 304"/>
                  <a:gd name="T66" fmla="*/ 2147483647 w 328"/>
                  <a:gd name="T67" fmla="*/ 2147483647 h 304"/>
                  <a:gd name="T68" fmla="*/ 2147483647 w 328"/>
                  <a:gd name="T69" fmla="*/ 2147483647 h 304"/>
                  <a:gd name="T70" fmla="*/ 2147483647 w 328"/>
                  <a:gd name="T71" fmla="*/ 2147483647 h 304"/>
                  <a:gd name="T72" fmla="*/ 2147483647 w 328"/>
                  <a:gd name="T73" fmla="*/ 2147483647 h 304"/>
                  <a:gd name="T74" fmla="*/ 2147483647 w 328"/>
                  <a:gd name="T75" fmla="*/ 2147483647 h 304"/>
                  <a:gd name="T76" fmla="*/ 2147483647 w 328"/>
                  <a:gd name="T77" fmla="*/ 2147483647 h 304"/>
                  <a:gd name="T78" fmla="*/ 2147483647 w 328"/>
                  <a:gd name="T79" fmla="*/ 2147483647 h 304"/>
                  <a:gd name="T80" fmla="*/ 2147483647 w 328"/>
                  <a:gd name="T81" fmla="*/ 2147483647 h 304"/>
                  <a:gd name="T82" fmla="*/ 2147483647 w 328"/>
                  <a:gd name="T83" fmla="*/ 2147483647 h 304"/>
                  <a:gd name="T84" fmla="*/ 2147483647 w 328"/>
                  <a:gd name="T85" fmla="*/ 2147483647 h 304"/>
                  <a:gd name="T86" fmla="*/ 2147483647 w 328"/>
                  <a:gd name="T87" fmla="*/ 2147483647 h 304"/>
                  <a:gd name="T88" fmla="*/ 2147483647 w 328"/>
                  <a:gd name="T89" fmla="*/ 2147483647 h 304"/>
                  <a:gd name="T90" fmla="*/ 2147483647 w 328"/>
                  <a:gd name="T91" fmla="*/ 2147483647 h 304"/>
                  <a:gd name="T92" fmla="*/ 2147483647 w 328"/>
                  <a:gd name="T93" fmla="*/ 2147483647 h 304"/>
                  <a:gd name="T94" fmla="*/ 2147483647 w 328"/>
                  <a:gd name="T95" fmla="*/ 2147483647 h 304"/>
                  <a:gd name="T96" fmla="*/ 2147483647 w 328"/>
                  <a:gd name="T97" fmla="*/ 2147483647 h 304"/>
                  <a:gd name="T98" fmla="*/ 2147483647 w 328"/>
                  <a:gd name="T99" fmla="*/ 2147483647 h 304"/>
                  <a:gd name="T100" fmla="*/ 2147483647 w 328"/>
                  <a:gd name="T101" fmla="*/ 2147483647 h 304"/>
                  <a:gd name="T102" fmla="*/ 0 w 328"/>
                  <a:gd name="T103" fmla="*/ 2147483647 h 304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328"/>
                  <a:gd name="T157" fmla="*/ 0 h 304"/>
                  <a:gd name="T158" fmla="*/ 328 w 328"/>
                  <a:gd name="T159" fmla="*/ 304 h 304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328" h="304">
                    <a:moveTo>
                      <a:pt x="0" y="152"/>
                    </a:moveTo>
                    <a:lnTo>
                      <a:pt x="0" y="160"/>
                    </a:lnTo>
                    <a:lnTo>
                      <a:pt x="16" y="184"/>
                    </a:lnTo>
                    <a:lnTo>
                      <a:pt x="32" y="208"/>
                    </a:lnTo>
                    <a:lnTo>
                      <a:pt x="40" y="240"/>
                    </a:lnTo>
                    <a:lnTo>
                      <a:pt x="40" y="256"/>
                    </a:lnTo>
                    <a:lnTo>
                      <a:pt x="32" y="264"/>
                    </a:lnTo>
                    <a:lnTo>
                      <a:pt x="40" y="272"/>
                    </a:lnTo>
                    <a:lnTo>
                      <a:pt x="72" y="304"/>
                    </a:lnTo>
                    <a:lnTo>
                      <a:pt x="80" y="296"/>
                    </a:lnTo>
                    <a:lnTo>
                      <a:pt x="96" y="288"/>
                    </a:lnTo>
                    <a:lnTo>
                      <a:pt x="120" y="288"/>
                    </a:lnTo>
                    <a:lnTo>
                      <a:pt x="136" y="280"/>
                    </a:lnTo>
                    <a:lnTo>
                      <a:pt x="176" y="288"/>
                    </a:lnTo>
                    <a:lnTo>
                      <a:pt x="184" y="280"/>
                    </a:lnTo>
                    <a:lnTo>
                      <a:pt x="200" y="280"/>
                    </a:lnTo>
                    <a:lnTo>
                      <a:pt x="224" y="264"/>
                    </a:lnTo>
                    <a:lnTo>
                      <a:pt x="248" y="240"/>
                    </a:lnTo>
                    <a:lnTo>
                      <a:pt x="264" y="232"/>
                    </a:lnTo>
                    <a:lnTo>
                      <a:pt x="280" y="208"/>
                    </a:lnTo>
                    <a:lnTo>
                      <a:pt x="288" y="184"/>
                    </a:lnTo>
                    <a:lnTo>
                      <a:pt x="304" y="160"/>
                    </a:lnTo>
                    <a:lnTo>
                      <a:pt x="320" y="144"/>
                    </a:lnTo>
                    <a:lnTo>
                      <a:pt x="320" y="128"/>
                    </a:lnTo>
                    <a:lnTo>
                      <a:pt x="328" y="120"/>
                    </a:lnTo>
                    <a:lnTo>
                      <a:pt x="328" y="112"/>
                    </a:lnTo>
                    <a:lnTo>
                      <a:pt x="312" y="104"/>
                    </a:lnTo>
                    <a:lnTo>
                      <a:pt x="304" y="80"/>
                    </a:lnTo>
                    <a:lnTo>
                      <a:pt x="312" y="56"/>
                    </a:lnTo>
                    <a:lnTo>
                      <a:pt x="304" y="8"/>
                    </a:lnTo>
                    <a:lnTo>
                      <a:pt x="272" y="0"/>
                    </a:lnTo>
                    <a:lnTo>
                      <a:pt x="256" y="8"/>
                    </a:lnTo>
                    <a:lnTo>
                      <a:pt x="248" y="8"/>
                    </a:lnTo>
                    <a:lnTo>
                      <a:pt x="224" y="24"/>
                    </a:lnTo>
                    <a:lnTo>
                      <a:pt x="216" y="32"/>
                    </a:lnTo>
                    <a:lnTo>
                      <a:pt x="192" y="40"/>
                    </a:lnTo>
                    <a:lnTo>
                      <a:pt x="192" y="64"/>
                    </a:lnTo>
                    <a:lnTo>
                      <a:pt x="176" y="80"/>
                    </a:lnTo>
                    <a:lnTo>
                      <a:pt x="160" y="88"/>
                    </a:lnTo>
                    <a:lnTo>
                      <a:pt x="152" y="80"/>
                    </a:lnTo>
                    <a:lnTo>
                      <a:pt x="136" y="80"/>
                    </a:lnTo>
                    <a:lnTo>
                      <a:pt x="112" y="104"/>
                    </a:lnTo>
                    <a:lnTo>
                      <a:pt x="96" y="104"/>
                    </a:lnTo>
                    <a:lnTo>
                      <a:pt x="88" y="72"/>
                    </a:lnTo>
                    <a:lnTo>
                      <a:pt x="72" y="56"/>
                    </a:lnTo>
                    <a:lnTo>
                      <a:pt x="72" y="152"/>
                    </a:lnTo>
                    <a:lnTo>
                      <a:pt x="48" y="160"/>
                    </a:lnTo>
                    <a:lnTo>
                      <a:pt x="32" y="152"/>
                    </a:lnTo>
                    <a:lnTo>
                      <a:pt x="24" y="144"/>
                    </a:lnTo>
                    <a:lnTo>
                      <a:pt x="16" y="144"/>
                    </a:lnTo>
                    <a:lnTo>
                      <a:pt x="8" y="144"/>
                    </a:lnTo>
                    <a:lnTo>
                      <a:pt x="0" y="152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1069" name="Freeform 302">
                <a:extLst>
                  <a:ext uri="{FF2B5EF4-FFF2-40B4-BE49-F238E27FC236}">
                    <a16:creationId xmlns:a16="http://schemas.microsoft.com/office/drawing/2014/main" id="{8B6F0C5D-E71F-AE80-67AE-D9D6A260E2F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468830" y="5251240"/>
                <a:ext cx="103870" cy="170523"/>
              </a:xfrm>
              <a:custGeom>
                <a:avLst/>
                <a:gdLst>
                  <a:gd name="T0" fmla="*/ 2147483647 w 32"/>
                  <a:gd name="T1" fmla="*/ 2147483647 h 48"/>
                  <a:gd name="T2" fmla="*/ 2147483647 w 32"/>
                  <a:gd name="T3" fmla="*/ 2147483647 h 48"/>
                  <a:gd name="T4" fmla="*/ 2147483647 w 32"/>
                  <a:gd name="T5" fmla="*/ 2147483647 h 48"/>
                  <a:gd name="T6" fmla="*/ 0 w 32"/>
                  <a:gd name="T7" fmla="*/ 2147483647 h 48"/>
                  <a:gd name="T8" fmla="*/ 2147483647 w 32"/>
                  <a:gd name="T9" fmla="*/ 0 h 48"/>
                  <a:gd name="T10" fmla="*/ 2147483647 w 32"/>
                  <a:gd name="T11" fmla="*/ 0 h 48"/>
                  <a:gd name="T12" fmla="*/ 2147483647 w 32"/>
                  <a:gd name="T13" fmla="*/ 0 h 48"/>
                  <a:gd name="T14" fmla="*/ 2147483647 w 32"/>
                  <a:gd name="T15" fmla="*/ 2147483647 h 4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2"/>
                  <a:gd name="T25" fmla="*/ 0 h 48"/>
                  <a:gd name="T26" fmla="*/ 32 w 32"/>
                  <a:gd name="T27" fmla="*/ 48 h 4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2" h="48">
                    <a:moveTo>
                      <a:pt x="32" y="24"/>
                    </a:moveTo>
                    <a:lnTo>
                      <a:pt x="24" y="48"/>
                    </a:lnTo>
                    <a:lnTo>
                      <a:pt x="8" y="48"/>
                    </a:lnTo>
                    <a:lnTo>
                      <a:pt x="0" y="32"/>
                    </a:lnTo>
                    <a:lnTo>
                      <a:pt x="8" y="0"/>
                    </a:lnTo>
                    <a:lnTo>
                      <a:pt x="16" y="0"/>
                    </a:lnTo>
                    <a:lnTo>
                      <a:pt x="24" y="0"/>
                    </a:lnTo>
                    <a:lnTo>
                      <a:pt x="32" y="24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1070" name="Freeform 303">
                <a:extLst>
                  <a:ext uri="{FF2B5EF4-FFF2-40B4-BE49-F238E27FC236}">
                    <a16:creationId xmlns:a16="http://schemas.microsoft.com/office/drawing/2014/main" id="{C17AC957-CDBB-580D-3D5A-3A5416920E8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243030" y="5504846"/>
                <a:ext cx="176127" cy="166156"/>
              </a:xfrm>
              <a:custGeom>
                <a:avLst/>
                <a:gdLst>
                  <a:gd name="T0" fmla="*/ 2147483647 w 56"/>
                  <a:gd name="T1" fmla="*/ 0 h 48"/>
                  <a:gd name="T2" fmla="*/ 2147483647 w 56"/>
                  <a:gd name="T3" fmla="*/ 2147483647 h 48"/>
                  <a:gd name="T4" fmla="*/ 2147483647 w 56"/>
                  <a:gd name="T5" fmla="*/ 2147483647 h 48"/>
                  <a:gd name="T6" fmla="*/ 2147483647 w 56"/>
                  <a:gd name="T7" fmla="*/ 2147483647 h 48"/>
                  <a:gd name="T8" fmla="*/ 2147483647 w 56"/>
                  <a:gd name="T9" fmla="*/ 2147483647 h 48"/>
                  <a:gd name="T10" fmla="*/ 0 w 56"/>
                  <a:gd name="T11" fmla="*/ 2147483647 h 48"/>
                  <a:gd name="T12" fmla="*/ 0 w 56"/>
                  <a:gd name="T13" fmla="*/ 2147483647 h 48"/>
                  <a:gd name="T14" fmla="*/ 2147483647 w 56"/>
                  <a:gd name="T15" fmla="*/ 0 h 48"/>
                  <a:gd name="T16" fmla="*/ 2147483647 w 56"/>
                  <a:gd name="T17" fmla="*/ 0 h 4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6"/>
                  <a:gd name="T28" fmla="*/ 0 h 48"/>
                  <a:gd name="T29" fmla="*/ 56 w 56"/>
                  <a:gd name="T30" fmla="*/ 48 h 4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6" h="48">
                    <a:moveTo>
                      <a:pt x="56" y="0"/>
                    </a:moveTo>
                    <a:lnTo>
                      <a:pt x="56" y="16"/>
                    </a:lnTo>
                    <a:lnTo>
                      <a:pt x="40" y="32"/>
                    </a:lnTo>
                    <a:lnTo>
                      <a:pt x="40" y="40"/>
                    </a:lnTo>
                    <a:lnTo>
                      <a:pt x="16" y="48"/>
                    </a:lnTo>
                    <a:lnTo>
                      <a:pt x="0" y="32"/>
                    </a:lnTo>
                    <a:lnTo>
                      <a:pt x="0" y="24"/>
                    </a:lnTo>
                    <a:lnTo>
                      <a:pt x="24" y="0"/>
                    </a:lnTo>
                    <a:lnTo>
                      <a:pt x="56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Light"/>
                  <a:ea typeface="MS PGothic" pitchFamily="34" charset="-128"/>
                  <a:cs typeface="+mn-cs"/>
                </a:endParaRPr>
              </a:p>
            </p:txBody>
          </p:sp>
        </p:grpSp>
        <p:grpSp>
          <p:nvGrpSpPr>
            <p:cNvPr id="7" name="Groupe 6">
              <a:extLst>
                <a:ext uri="{FF2B5EF4-FFF2-40B4-BE49-F238E27FC236}">
                  <a16:creationId xmlns:a16="http://schemas.microsoft.com/office/drawing/2014/main" id="{474B0F8F-2718-C870-2E5D-6C54D74A5987}"/>
                </a:ext>
              </a:extLst>
            </p:cNvPr>
            <p:cNvGrpSpPr/>
            <p:nvPr/>
          </p:nvGrpSpPr>
          <p:grpSpPr>
            <a:xfrm>
              <a:off x="3170973" y="2255361"/>
              <a:ext cx="2956058" cy="1591272"/>
              <a:chOff x="8417463" y="328375"/>
              <a:chExt cx="3339071" cy="1788377"/>
            </a:xfrm>
          </p:grpSpPr>
          <p:sp>
            <p:nvSpPr>
              <p:cNvPr id="10" name="ZoneTexte 9">
                <a:extLst>
                  <a:ext uri="{FF2B5EF4-FFF2-40B4-BE49-F238E27FC236}">
                    <a16:creationId xmlns:a16="http://schemas.microsoft.com/office/drawing/2014/main" id="{D058EF7E-5F5A-DC66-6CFB-F46BC304B0E9}"/>
                  </a:ext>
                </a:extLst>
              </p:cNvPr>
              <p:cNvSpPr txBox="1"/>
              <p:nvPr/>
            </p:nvSpPr>
            <p:spPr>
              <a:xfrm>
                <a:off x="8637288" y="870359"/>
                <a:ext cx="3119246" cy="1246393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marL="128270" marR="120650" lvl="0" indent="0" algn="ctr" defTabSz="914400" rtl="0" eaLnBrk="1" fontAlgn="auto" latinLnBrk="0" hangingPunct="1">
                  <a:lnSpc>
                    <a:spcPct val="1111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2000" b="1" spc="-75">
                    <a:latin typeface="Avenir Next LT Pro" panose="020B0504020202020204" pitchFamily="34" charset="0"/>
                    <a:cs typeface="Tahoma"/>
                  </a:rPr>
                  <a:t>H</a:t>
                </a:r>
                <a:r>
                  <a:rPr kumimoji="0" lang="en-US" sz="2000" b="1" i="0" u="none" strike="noStrike" kern="1200" cap="none" spc="-75" normalizeH="0" baseline="0" noProof="0" err="1">
                    <a:ln>
                      <a:noFill/>
                    </a:ln>
                    <a:effectLst/>
                    <a:uLnTx/>
                    <a:uFillTx/>
                    <a:latin typeface="Avenir Next LT Pro" panose="020B0504020202020204" pitchFamily="34" charset="0"/>
                    <a:cs typeface="Tahoma"/>
                  </a:rPr>
                  <a:t>igh</a:t>
                </a:r>
                <a:r>
                  <a:rPr kumimoji="0" lang="en-US" sz="2000" b="1" i="0" u="none" strike="noStrike" kern="1200" cap="none" spc="-75" normalizeH="0" baseline="0" noProof="0">
                    <a:ln>
                      <a:noFill/>
                    </a:ln>
                    <a:effectLst/>
                    <a:uLnTx/>
                    <a:uFillTx/>
                    <a:latin typeface="Avenir Next LT Pro" panose="020B0504020202020204" pitchFamily="34" charset="0"/>
                    <a:cs typeface="Tahoma"/>
                  </a:rPr>
                  <a:t> </a:t>
                </a:r>
                <a:r>
                  <a:rPr kumimoji="0" lang="en-US" sz="2000" b="1" i="0" u="none" strike="noStrike" kern="1200" cap="none" spc="-60" normalizeH="0" baseline="0" noProof="0">
                    <a:ln>
                      <a:noFill/>
                    </a:ln>
                    <a:effectLst/>
                    <a:uLnTx/>
                    <a:uFillTx/>
                    <a:latin typeface="Avenir Next LT Pro" panose="020B0504020202020204" pitchFamily="34" charset="0"/>
                    <a:cs typeface="Tahoma"/>
                  </a:rPr>
                  <a:t>speed</a:t>
                </a:r>
                <a:r>
                  <a:rPr kumimoji="0" lang="en-US" sz="2000" b="1" i="0" u="none" strike="noStrike" kern="1200" cap="none" spc="-75" normalizeH="0" baseline="0" noProof="0">
                    <a:ln>
                      <a:noFill/>
                    </a:ln>
                    <a:effectLst/>
                    <a:uLnTx/>
                    <a:uFillTx/>
                    <a:latin typeface="Avenir Next LT Pro" panose="020B0504020202020204" pitchFamily="34" charset="0"/>
                    <a:cs typeface="Tahoma"/>
                  </a:rPr>
                  <a:t> </a:t>
                </a:r>
                <a:r>
                  <a:rPr kumimoji="0" lang="en-US" sz="2000" b="1" i="0" u="none" strike="noStrike" kern="1200" cap="none" spc="-25" normalizeH="0" baseline="0" noProof="0">
                    <a:ln>
                      <a:noFill/>
                    </a:ln>
                    <a:effectLst/>
                    <a:uLnTx/>
                    <a:uFillTx/>
                    <a:latin typeface="Avenir Next LT Pro" panose="020B0504020202020204" pitchFamily="34" charset="0"/>
                    <a:cs typeface="Tahoma"/>
                  </a:rPr>
                  <a:t>t</a:t>
                </a:r>
                <a:r>
                  <a:rPr kumimoji="0" lang="en-US" sz="2000" b="1" i="0" u="none" strike="noStrike" kern="1200" cap="none" spc="-45" normalizeH="0" baseline="0" noProof="0">
                    <a:ln>
                      <a:noFill/>
                    </a:ln>
                    <a:effectLst/>
                    <a:uLnTx/>
                    <a:uFillTx/>
                    <a:latin typeface="Avenir Next LT Pro" panose="020B0504020202020204" pitchFamily="34" charset="0"/>
                    <a:cs typeface="Tahoma"/>
                  </a:rPr>
                  <a:t>r</a:t>
                </a:r>
                <a:r>
                  <a:rPr kumimoji="0" lang="en-US" sz="2000" b="1" i="0" u="none" strike="noStrike" kern="1200" cap="none" spc="-55" normalizeH="0" baseline="0" noProof="0">
                    <a:ln>
                      <a:noFill/>
                    </a:ln>
                    <a:effectLst/>
                    <a:uLnTx/>
                    <a:uFillTx/>
                    <a:latin typeface="Avenir Next LT Pro" panose="020B0504020202020204" pitchFamily="34" charset="0"/>
                    <a:cs typeface="Tahoma"/>
                  </a:rPr>
                  <a:t>ain  </a:t>
                </a:r>
                <a:r>
                  <a:rPr kumimoji="0" lang="en-US" sz="2000" b="1" i="0" u="none" strike="noStrike" kern="1200" cap="none" spc="-60" normalizeH="0" baseline="0" noProof="0">
                    <a:ln>
                      <a:noFill/>
                    </a:ln>
                    <a:effectLst/>
                    <a:uLnTx/>
                    <a:uFillTx/>
                    <a:latin typeface="Avenir Next LT Pro" panose="020B0504020202020204" pitchFamily="34" charset="0"/>
                    <a:cs typeface="Tahoma"/>
                  </a:rPr>
                  <a:t>in</a:t>
                </a:r>
                <a:r>
                  <a:rPr kumimoji="0" lang="en-US" sz="2000" b="1" i="0" u="none" strike="noStrike" kern="1200" cap="none" spc="-75" normalizeH="0" baseline="0" noProof="0">
                    <a:ln>
                      <a:noFill/>
                    </a:ln>
                    <a:effectLst/>
                    <a:uLnTx/>
                    <a:uFillTx/>
                    <a:latin typeface="Avenir Next LT Pro" panose="020B0504020202020204" pitchFamily="34" charset="0"/>
                    <a:cs typeface="Tahoma"/>
                  </a:rPr>
                  <a:t> </a:t>
                </a:r>
                <a:r>
                  <a:rPr kumimoji="0" lang="en-US" sz="2000" b="1" i="0" u="none" strike="noStrike" kern="1200" cap="none" spc="-35" normalizeH="0" baseline="0" noProof="0">
                    <a:ln>
                      <a:noFill/>
                    </a:ln>
                    <a:effectLst/>
                    <a:uLnTx/>
                    <a:uFillTx/>
                    <a:latin typeface="Avenir Next LT Pro" panose="020B0504020202020204" pitchFamily="34" charset="0"/>
                    <a:cs typeface="Tahoma"/>
                  </a:rPr>
                  <a:t>Afri</a:t>
                </a:r>
                <a:r>
                  <a:rPr kumimoji="0" lang="en-US" sz="2000" b="1" i="0" u="none" strike="noStrike" kern="1200" cap="none" spc="-45" normalizeH="0" baseline="0" noProof="0">
                    <a:ln>
                      <a:noFill/>
                    </a:ln>
                    <a:effectLst/>
                    <a:uLnTx/>
                    <a:uFillTx/>
                    <a:latin typeface="Avenir Next LT Pro" panose="020B0504020202020204" pitchFamily="34" charset="0"/>
                    <a:cs typeface="Tahoma"/>
                  </a:rPr>
                  <a:t>c</a:t>
                </a:r>
                <a:r>
                  <a:rPr kumimoji="0" lang="en-US" sz="2000" b="1" i="0" u="none" strike="noStrike" kern="1200" cap="none" spc="-80" normalizeH="0" baseline="0" noProof="0">
                    <a:ln>
                      <a:noFill/>
                    </a:ln>
                    <a:effectLst/>
                    <a:uLnTx/>
                    <a:uFillTx/>
                    <a:latin typeface="Avenir Next LT Pro" panose="020B0504020202020204" pitchFamily="34" charset="0"/>
                    <a:cs typeface="Tahoma"/>
                  </a:rPr>
                  <a:t>a</a:t>
                </a: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Avenir Next LT Pro" panose="020B0504020202020204" pitchFamily="34" charset="0"/>
                  <a:cs typeface="Tahoma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16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0" i="0" u="none" strike="noStrike" kern="1200" cap="none" spc="10" normalizeH="0" baseline="0" noProof="0">
                    <a:ln>
                      <a:noFill/>
                    </a:ln>
                    <a:effectLst/>
                    <a:uLnTx/>
                    <a:uFillTx/>
                    <a:latin typeface="Avenir Next LT Pro" panose="020B0504020202020204" pitchFamily="34" charset="0"/>
                    <a:cs typeface="Tahoma"/>
                  </a:rPr>
                  <a:t>Tangier-Casablanca</a:t>
                </a:r>
              </a:p>
            </p:txBody>
          </p:sp>
          <p:sp>
            <p:nvSpPr>
              <p:cNvPr id="11" name="ZoneTexte 10">
                <a:extLst>
                  <a:ext uri="{FF2B5EF4-FFF2-40B4-BE49-F238E27FC236}">
                    <a16:creationId xmlns:a16="http://schemas.microsoft.com/office/drawing/2014/main" id="{A15D5CC4-33D3-B533-412C-A2D81D95F1D3}"/>
                  </a:ext>
                </a:extLst>
              </p:cNvPr>
              <p:cNvSpPr txBox="1"/>
              <p:nvPr/>
            </p:nvSpPr>
            <p:spPr>
              <a:xfrm>
                <a:off x="8417463" y="328375"/>
                <a:ext cx="960147" cy="864749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r"/>
                <a:r>
                  <a:rPr lang="en-US" sz="4400" b="1">
                    <a:solidFill>
                      <a:srgbClr val="00B050"/>
                    </a:solidFill>
                    <a:latin typeface="Gotham"/>
                    <a:cs typeface="Arial" panose="020B0604020202020204" pitchFamily="34" charset="0"/>
                  </a:rPr>
                  <a:t>1</a:t>
                </a:r>
                <a:r>
                  <a:rPr lang="en-US" sz="4400" b="1" baseline="30000">
                    <a:solidFill>
                      <a:srgbClr val="00B050"/>
                    </a:solidFill>
                    <a:latin typeface="Gotham"/>
                    <a:cs typeface="Arial" panose="020B0604020202020204" pitchFamily="34" charset="0"/>
                  </a:rPr>
                  <a:t>st</a:t>
                </a:r>
                <a:endParaRPr lang="en-US" sz="4400" b="1">
                  <a:solidFill>
                    <a:srgbClr val="00B050"/>
                  </a:solidFill>
                  <a:latin typeface="Gotham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2" name="Groupe 11">
              <a:extLst>
                <a:ext uri="{FF2B5EF4-FFF2-40B4-BE49-F238E27FC236}">
                  <a16:creationId xmlns:a16="http://schemas.microsoft.com/office/drawing/2014/main" id="{E315CB25-6C55-A7BF-E06B-36D8DB742F4A}"/>
                </a:ext>
              </a:extLst>
            </p:cNvPr>
            <p:cNvGrpSpPr/>
            <p:nvPr/>
          </p:nvGrpSpPr>
          <p:grpSpPr>
            <a:xfrm>
              <a:off x="140965" y="3338996"/>
              <a:ext cx="2973492" cy="1606560"/>
              <a:chOff x="8650095" y="1771797"/>
              <a:chExt cx="3284921" cy="1654414"/>
            </a:xfrm>
          </p:grpSpPr>
          <p:sp>
            <p:nvSpPr>
              <p:cNvPr id="13" name="ZoneTexte 12">
                <a:extLst>
                  <a:ext uri="{FF2B5EF4-FFF2-40B4-BE49-F238E27FC236}">
                    <a16:creationId xmlns:a16="http://schemas.microsoft.com/office/drawing/2014/main" id="{7E6E6F15-45F1-1CF5-37BD-C21F18E6FFB2}"/>
                  </a:ext>
                </a:extLst>
              </p:cNvPr>
              <p:cNvSpPr txBox="1"/>
              <p:nvPr/>
            </p:nvSpPr>
            <p:spPr>
              <a:xfrm>
                <a:off x="8650095" y="2450352"/>
                <a:ext cx="3284921" cy="975859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ts val="1325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fr-FR" sz="2000" b="1">
                    <a:latin typeface="Avenir Next LT Pro" panose="020B0504020202020204" pitchFamily="34" charset="0"/>
                    <a:cs typeface="Tahoma"/>
                  </a:rPr>
                  <a:t>I</a:t>
                </a:r>
                <a:r>
                  <a:rPr kumimoji="0" lang="fr-FR" sz="2000" b="1" i="0" u="none" strike="noStrike" kern="1200" cap="none" normalizeH="0" baseline="0" noProof="0" err="1">
                    <a:ln>
                      <a:noFill/>
                    </a:ln>
                    <a:effectLst/>
                    <a:uLnTx/>
                    <a:uFillTx/>
                    <a:latin typeface="Avenir Next LT Pro" panose="020B0504020202020204" pitchFamily="34" charset="0"/>
                    <a:cs typeface="Tahoma"/>
                  </a:rPr>
                  <a:t>nternational</a:t>
                </a:r>
                <a:r>
                  <a:rPr kumimoji="0" lang="fr-FR" sz="2000" b="1" i="0" u="none" strike="noStrike" kern="1200" cap="none" normalizeH="0" baseline="0" noProof="0">
                    <a:ln>
                      <a:noFill/>
                    </a:ln>
                    <a:effectLst/>
                    <a:uLnTx/>
                    <a:uFillTx/>
                    <a:latin typeface="Avenir Next LT Pro" panose="020B0504020202020204" pitchFamily="34" charset="0"/>
                    <a:cs typeface="Tahoma"/>
                  </a:rPr>
                  <a:t> </a:t>
                </a:r>
                <a:r>
                  <a:rPr lang="fr-FR" sz="2000" b="1">
                    <a:latin typeface="Avenir Next LT Pro" panose="020B0504020202020204" pitchFamily="34" charset="0"/>
                    <a:cs typeface="Tahoma"/>
                  </a:rPr>
                  <a:t>a</a:t>
                </a:r>
                <a:r>
                  <a:rPr kumimoji="0" lang="fr-FR" sz="2000" b="1" i="0" u="none" strike="noStrike" kern="1200" cap="none" normalizeH="0" baseline="0" noProof="0" err="1">
                    <a:ln>
                      <a:noFill/>
                    </a:ln>
                    <a:effectLst/>
                    <a:uLnTx/>
                    <a:uFillTx/>
                    <a:latin typeface="Avenir Next LT Pro" panose="020B0504020202020204" pitchFamily="34" charset="0"/>
                    <a:cs typeface="Tahoma"/>
                  </a:rPr>
                  <a:t>irports</a:t>
                </a:r>
                <a:endParaRPr kumimoji="0" lang="fr-FR" sz="2000" b="1" i="0" u="none" strike="noStrike" kern="1200" cap="none" normalizeH="0" baseline="0" noProof="0">
                  <a:ln>
                    <a:noFill/>
                  </a:ln>
                  <a:effectLst/>
                  <a:uLnTx/>
                  <a:uFillTx/>
                  <a:latin typeface="Avenir Next LT Pro" panose="020B0504020202020204" pitchFamily="34" charset="0"/>
                  <a:cs typeface="Tahoma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ts val="1325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fr-FR" sz="2000" b="1" spc="-45">
                  <a:solidFill>
                    <a:srgbClr val="00B050"/>
                  </a:solidFill>
                  <a:latin typeface="Avenir Next LT Pro" panose="020B0504020202020204" pitchFamily="34" charset="0"/>
                  <a:cs typeface="Tahoma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ts val="1325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fr-FR" sz="2000" b="1" spc="-45">
                    <a:solidFill>
                      <a:srgbClr val="00B050"/>
                    </a:solidFill>
                    <a:latin typeface="Avenir Next LT Pro" panose="020B0504020202020204" pitchFamily="34" charset="0"/>
                    <a:cs typeface="Tahoma"/>
                  </a:rPr>
                  <a:t>130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ts val="1325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fr-FR" sz="2000" b="1" spc="-45">
                  <a:latin typeface="Avenir Next LT Pro" panose="020B0504020202020204" pitchFamily="34" charset="0"/>
                  <a:cs typeface="Tahoma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ts val="1325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fr-FR" sz="2000" b="1" spc="-45">
                    <a:latin typeface="Avenir Next LT Pro" panose="020B0504020202020204" pitchFamily="34" charset="0"/>
                    <a:cs typeface="Tahoma"/>
                  </a:rPr>
                  <a:t>destinations</a:t>
                </a:r>
                <a:endParaRPr kumimoji="0" lang="fr-FR" sz="20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Avenir Next LT Pro" panose="020B0504020202020204" pitchFamily="34" charset="0"/>
                  <a:cs typeface="Tahoma"/>
                </a:endParaRPr>
              </a:p>
            </p:txBody>
          </p:sp>
          <p:sp>
            <p:nvSpPr>
              <p:cNvPr id="14" name="ZoneTexte 13">
                <a:extLst>
                  <a:ext uri="{FF2B5EF4-FFF2-40B4-BE49-F238E27FC236}">
                    <a16:creationId xmlns:a16="http://schemas.microsoft.com/office/drawing/2014/main" id="{EBE41797-601E-70F6-9BED-1554BBD5E6BD}"/>
                  </a:ext>
                </a:extLst>
              </p:cNvPr>
              <p:cNvSpPr txBox="1"/>
              <p:nvPr/>
            </p:nvSpPr>
            <p:spPr>
              <a:xfrm>
                <a:off x="8746613" y="1771797"/>
                <a:ext cx="1030198" cy="79236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r"/>
                <a:r>
                  <a:rPr lang="en-US" sz="4400" b="1">
                    <a:solidFill>
                      <a:srgbClr val="00B050"/>
                    </a:solidFill>
                    <a:latin typeface="Gotham"/>
                    <a:cs typeface="Arial" panose="020B0604020202020204" pitchFamily="34" charset="0"/>
                  </a:rPr>
                  <a:t>18</a:t>
                </a:r>
              </a:p>
            </p:txBody>
          </p:sp>
        </p:grpSp>
        <p:sp>
          <p:nvSpPr>
            <p:cNvPr id="21" name="ZoneTexte 20">
              <a:extLst>
                <a:ext uri="{FF2B5EF4-FFF2-40B4-BE49-F238E27FC236}">
                  <a16:creationId xmlns:a16="http://schemas.microsoft.com/office/drawing/2014/main" id="{D5C7135B-FF4F-F03F-55A7-61E386C294D1}"/>
                </a:ext>
              </a:extLst>
            </p:cNvPr>
            <p:cNvSpPr txBox="1"/>
            <p:nvPr/>
          </p:nvSpPr>
          <p:spPr>
            <a:xfrm>
              <a:off x="2982793" y="5499381"/>
              <a:ext cx="3284921" cy="28078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ts val="1325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Avenir Next LT Pro" panose="020B0504020202020204" pitchFamily="34" charset="0"/>
                  <a:cs typeface="Tahoma"/>
                </a:rPr>
                <a:t>Km of highways </a:t>
              </a:r>
            </a:p>
          </p:txBody>
        </p:sp>
        <p:sp>
          <p:nvSpPr>
            <p:cNvPr id="5391" name="ZoneTexte 5390">
              <a:extLst>
                <a:ext uri="{FF2B5EF4-FFF2-40B4-BE49-F238E27FC236}">
                  <a16:creationId xmlns:a16="http://schemas.microsoft.com/office/drawing/2014/main" id="{2D67F869-4F79-BBAA-BCF5-ACC37FB4B43D}"/>
                </a:ext>
              </a:extLst>
            </p:cNvPr>
            <p:cNvSpPr txBox="1"/>
            <p:nvPr/>
          </p:nvSpPr>
          <p:spPr>
            <a:xfrm>
              <a:off x="3082270" y="4747496"/>
              <a:ext cx="1632994" cy="76944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r"/>
              <a:r>
                <a:rPr lang="en-US" sz="4400" b="1">
                  <a:solidFill>
                    <a:srgbClr val="00B050"/>
                  </a:solidFill>
                  <a:latin typeface="Gotham"/>
                  <a:cs typeface="Arial" panose="020B0604020202020204" pitchFamily="34" charset="0"/>
                </a:rPr>
                <a:t>1800</a:t>
              </a:r>
            </a:p>
          </p:txBody>
        </p:sp>
      </p:grpSp>
      <p:grpSp>
        <p:nvGrpSpPr>
          <p:cNvPr id="1074" name="Groupe 1073">
            <a:extLst>
              <a:ext uri="{FF2B5EF4-FFF2-40B4-BE49-F238E27FC236}">
                <a16:creationId xmlns:a16="http://schemas.microsoft.com/office/drawing/2014/main" id="{96543B90-E47B-68F1-B0DE-B67B632B1208}"/>
              </a:ext>
            </a:extLst>
          </p:cNvPr>
          <p:cNvGrpSpPr/>
          <p:nvPr/>
        </p:nvGrpSpPr>
        <p:grpSpPr>
          <a:xfrm>
            <a:off x="34211" y="436195"/>
            <a:ext cx="5358471" cy="6045537"/>
            <a:chOff x="6606818" y="475417"/>
            <a:chExt cx="5358471" cy="6045537"/>
          </a:xfrm>
        </p:grpSpPr>
        <p:grpSp>
          <p:nvGrpSpPr>
            <p:cNvPr id="1075" name="Groupe 1074">
              <a:extLst>
                <a:ext uri="{FF2B5EF4-FFF2-40B4-BE49-F238E27FC236}">
                  <a16:creationId xmlns:a16="http://schemas.microsoft.com/office/drawing/2014/main" id="{13301D57-59F2-B931-870E-C29333EB3F5F}"/>
                </a:ext>
              </a:extLst>
            </p:cNvPr>
            <p:cNvGrpSpPr/>
            <p:nvPr/>
          </p:nvGrpSpPr>
          <p:grpSpPr>
            <a:xfrm>
              <a:off x="6606818" y="3292122"/>
              <a:ext cx="5358470" cy="3228832"/>
              <a:chOff x="6606818" y="3292122"/>
              <a:chExt cx="5358470" cy="3228832"/>
            </a:xfrm>
          </p:grpSpPr>
          <p:sp>
            <p:nvSpPr>
              <p:cNvPr id="1078" name="Rectangle : avec coin arrondi 1077">
                <a:extLst>
                  <a:ext uri="{FF2B5EF4-FFF2-40B4-BE49-F238E27FC236}">
                    <a16:creationId xmlns:a16="http://schemas.microsoft.com/office/drawing/2014/main" id="{93181D44-2869-8A5B-6818-C3BD806FDC02}"/>
                  </a:ext>
                </a:extLst>
              </p:cNvPr>
              <p:cNvSpPr/>
              <p:nvPr/>
            </p:nvSpPr>
            <p:spPr>
              <a:xfrm rot="10800000">
                <a:off x="6606818" y="3292122"/>
                <a:ext cx="5358470" cy="3228832"/>
              </a:xfrm>
              <a:prstGeom prst="round1Rect">
                <a:avLst/>
              </a:prstGeom>
              <a:gradFill flip="none" rotWithShape="1">
                <a:gsLst>
                  <a:gs pos="0">
                    <a:srgbClr val="007635">
                      <a:shade val="30000"/>
                      <a:satMod val="115000"/>
                    </a:srgbClr>
                  </a:gs>
                  <a:gs pos="50000">
                    <a:srgbClr val="007635">
                      <a:shade val="67500"/>
                      <a:satMod val="115000"/>
                    </a:srgbClr>
                  </a:gs>
                  <a:gs pos="100000">
                    <a:srgbClr val="007635">
                      <a:shade val="100000"/>
                      <a:satMod val="115000"/>
                    </a:srgbClr>
                  </a:gs>
                </a:gsLst>
                <a:path path="circle">
                  <a:fillToRect r="100000" b="100000"/>
                </a:path>
                <a:tileRect l="-100000" t="-10000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MA">
                  <a:solidFill>
                    <a:srgbClr val="64105B"/>
                  </a:solidFill>
                </a:endParaRPr>
              </a:p>
            </p:txBody>
          </p:sp>
          <p:sp>
            <p:nvSpPr>
              <p:cNvPr id="1079" name="object 15">
                <a:extLst>
                  <a:ext uri="{FF2B5EF4-FFF2-40B4-BE49-F238E27FC236}">
                    <a16:creationId xmlns:a16="http://schemas.microsoft.com/office/drawing/2014/main" id="{C1993C1F-256C-2D2F-E885-CF0396B65EED}"/>
                  </a:ext>
                </a:extLst>
              </p:cNvPr>
              <p:cNvSpPr txBox="1"/>
              <p:nvPr/>
            </p:nvSpPr>
            <p:spPr>
              <a:xfrm>
                <a:off x="10113176" y="4649386"/>
                <a:ext cx="1612217" cy="1190711"/>
              </a:xfrm>
              <a:prstGeom prst="rect">
                <a:avLst/>
              </a:prstGeom>
            </p:spPr>
            <p:txBody>
              <a:bodyPr vert="horz" wrap="square" lIns="0" tIns="188595" rIns="0" bIns="0" rtlCol="0">
                <a:spAutoFit/>
              </a:bodyPr>
              <a:lstStyle/>
              <a:p>
                <a:pPr marR="30480" algn="ctr">
                  <a:spcBef>
                    <a:spcPts val="1485"/>
                  </a:spcBef>
                </a:pPr>
                <a:r>
                  <a:rPr sz="3200" b="1">
                    <a:solidFill>
                      <a:schemeClr val="bg1"/>
                    </a:solidFill>
                    <a:latin typeface="Avenir Next LT Pro Demi" panose="020B0704020202020204" pitchFamily="34" charset="0"/>
                    <a:cs typeface="Tahoma"/>
                  </a:rPr>
                  <a:t>9M</a:t>
                </a:r>
              </a:p>
              <a:p>
                <a:pPr marR="29845" algn="ctr">
                  <a:spcBef>
                    <a:spcPts val="555"/>
                  </a:spcBef>
                </a:pPr>
                <a:r>
                  <a:rPr sz="1400">
                    <a:solidFill>
                      <a:schemeClr val="bg1"/>
                    </a:solidFill>
                    <a:latin typeface="Avenir Next LT Pro Light" panose="020B0304020202020204" pitchFamily="34" charset="0"/>
                    <a:cs typeface="Tahoma"/>
                  </a:rPr>
                  <a:t>9 million containers per year</a:t>
                </a:r>
              </a:p>
            </p:txBody>
          </p:sp>
          <p:sp>
            <p:nvSpPr>
              <p:cNvPr id="1080" name="object 17">
                <a:extLst>
                  <a:ext uri="{FF2B5EF4-FFF2-40B4-BE49-F238E27FC236}">
                    <a16:creationId xmlns:a16="http://schemas.microsoft.com/office/drawing/2014/main" id="{1BB210FD-7E71-4D36-0C79-EBD6303D8822}"/>
                  </a:ext>
                </a:extLst>
              </p:cNvPr>
              <p:cNvSpPr txBox="1"/>
              <p:nvPr/>
            </p:nvSpPr>
            <p:spPr>
              <a:xfrm>
                <a:off x="8659463" y="4642731"/>
                <a:ext cx="1299279" cy="1113766"/>
              </a:xfrm>
              <a:prstGeom prst="rect">
                <a:avLst/>
              </a:prstGeom>
            </p:spPr>
            <p:txBody>
              <a:bodyPr vert="horz" wrap="square" lIns="0" tIns="188595" rIns="0" bIns="0" rtlCol="0">
                <a:spAutoFit/>
              </a:bodyPr>
              <a:lstStyle/>
              <a:p>
                <a:pPr marR="30480" algn="ctr">
                  <a:lnSpc>
                    <a:spcPct val="100000"/>
                  </a:lnSpc>
                  <a:spcBef>
                    <a:spcPts val="1485"/>
                  </a:spcBef>
                </a:pPr>
                <a:r>
                  <a:rPr lang="fr-FR" sz="3200" b="1">
                    <a:solidFill>
                      <a:schemeClr val="bg1"/>
                    </a:solidFill>
                    <a:latin typeface="Avenir Next LT Pro Demi" panose="020B0704020202020204" pitchFamily="34" charset="0"/>
                    <a:cs typeface="Tahoma"/>
                  </a:rPr>
                  <a:t>#</a:t>
                </a:r>
                <a:r>
                  <a:rPr sz="3200" b="1">
                    <a:solidFill>
                      <a:schemeClr val="bg1"/>
                    </a:solidFill>
                    <a:latin typeface="Avenir Next LT Pro Demi" panose="020B0704020202020204" pitchFamily="34" charset="0"/>
                    <a:cs typeface="Tahoma"/>
                  </a:rPr>
                  <a:t>4 </a:t>
                </a:r>
              </a:p>
              <a:p>
                <a:pPr marR="29845" algn="ctr"/>
                <a:r>
                  <a:rPr lang="fr-FR" sz="1400">
                    <a:solidFill>
                      <a:schemeClr val="bg1"/>
                    </a:solidFill>
                    <a:latin typeface="Avenir Next LT Pro Light" panose="020B0304020202020204" pitchFamily="34" charset="0"/>
                    <a:cs typeface="Tahoma"/>
                  </a:rPr>
                  <a:t>4th of 328 </a:t>
                </a:r>
              </a:p>
              <a:p>
                <a:pPr marR="29845" algn="ctr"/>
                <a:r>
                  <a:rPr lang="fr-FR" sz="1400">
                    <a:solidFill>
                      <a:schemeClr val="bg1"/>
                    </a:solidFill>
                    <a:latin typeface="Avenir Next LT Pro Light" panose="020B0304020202020204" pitchFamily="34" charset="0"/>
                    <a:cs typeface="Tahoma"/>
                  </a:rPr>
                  <a:t>port </a:t>
                </a:r>
                <a:r>
                  <a:rPr lang="fr-FR" sz="1400" err="1">
                    <a:solidFill>
                      <a:schemeClr val="bg1"/>
                    </a:solidFill>
                    <a:latin typeface="Avenir Next LT Pro Light" panose="020B0304020202020204" pitchFamily="34" charset="0"/>
                    <a:cs typeface="Tahoma"/>
                  </a:rPr>
                  <a:t>efficiency</a:t>
                </a:r>
                <a:endParaRPr lang="fr-FR" sz="1400">
                  <a:solidFill>
                    <a:schemeClr val="bg1"/>
                  </a:solidFill>
                  <a:latin typeface="Avenir Next LT Pro Light" panose="020B0304020202020204" pitchFamily="34" charset="0"/>
                  <a:cs typeface="Tahoma"/>
                </a:endParaRPr>
              </a:p>
            </p:txBody>
          </p:sp>
          <p:sp>
            <p:nvSpPr>
              <p:cNvPr id="1081" name="object 19">
                <a:extLst>
                  <a:ext uri="{FF2B5EF4-FFF2-40B4-BE49-F238E27FC236}">
                    <a16:creationId xmlns:a16="http://schemas.microsoft.com/office/drawing/2014/main" id="{7F855F55-4721-48F2-0378-469B00B1BDDC}"/>
                  </a:ext>
                </a:extLst>
              </p:cNvPr>
              <p:cNvSpPr txBox="1"/>
              <p:nvPr/>
            </p:nvSpPr>
            <p:spPr>
              <a:xfrm>
                <a:off x="6809602" y="4642731"/>
                <a:ext cx="1695427" cy="1483098"/>
              </a:xfrm>
              <a:prstGeom prst="rect">
                <a:avLst/>
              </a:prstGeom>
            </p:spPr>
            <p:txBody>
              <a:bodyPr vert="horz" wrap="square" lIns="0" tIns="188595" rIns="0" bIns="0" rtlCol="0">
                <a:spAutoFit/>
              </a:bodyPr>
              <a:lstStyle/>
              <a:p>
                <a:pPr marR="30480" algn="ctr">
                  <a:lnSpc>
                    <a:spcPct val="100000"/>
                  </a:lnSpc>
                  <a:spcBef>
                    <a:spcPts val="1485"/>
                  </a:spcBef>
                </a:pPr>
                <a:r>
                  <a:rPr lang="fr-FR" sz="3200" b="1" dirty="0">
                    <a:solidFill>
                      <a:schemeClr val="bg1"/>
                    </a:solidFill>
                    <a:latin typeface="Avenir Next LT Pro Demi" panose="020B0704020202020204" pitchFamily="34" charset="0"/>
                    <a:cs typeface="Tahoma"/>
                  </a:rPr>
                  <a:t>#19</a:t>
                </a:r>
                <a:endParaRPr lang="fr-MA" sz="3200" dirty="0">
                  <a:solidFill>
                    <a:schemeClr val="bg1"/>
                  </a:solidFill>
                  <a:latin typeface="Avenir Next LT Pro Demi" panose="020B0704020202020204" pitchFamily="34" charset="0"/>
                  <a:cs typeface="Tahoma"/>
                </a:endParaRPr>
              </a:p>
              <a:p>
                <a:pPr marR="29845" algn="ctr">
                  <a:spcBef>
                    <a:spcPts val="555"/>
                  </a:spcBef>
                </a:pPr>
                <a:r>
                  <a:rPr lang="en-US" sz="1400" dirty="0">
                    <a:solidFill>
                      <a:schemeClr val="bg1"/>
                    </a:solidFill>
                    <a:latin typeface="Avenir Next LT Pro Light" panose="020B0304020202020204" pitchFamily="34" charset="0"/>
                    <a:cs typeface="Tahoma"/>
                  </a:rPr>
                  <a:t>19 </a:t>
                </a:r>
                <a:r>
                  <a:rPr lang="en-US" sz="1400" dirty="0" err="1">
                    <a:solidFill>
                      <a:schemeClr val="bg1"/>
                    </a:solidFill>
                    <a:latin typeface="Avenir Next LT Pro Light" panose="020B0304020202020204" pitchFamily="34" charset="0"/>
                    <a:cs typeface="Tahoma"/>
                  </a:rPr>
                  <a:t>th</a:t>
                </a:r>
                <a:r>
                  <a:rPr lang="en-US" sz="1400" dirty="0">
                    <a:solidFill>
                      <a:schemeClr val="bg1"/>
                    </a:solidFill>
                    <a:latin typeface="Avenir Next LT Pro Light" panose="020B0304020202020204" pitchFamily="34" charset="0"/>
                    <a:cs typeface="Tahoma"/>
                  </a:rPr>
                  <a:t> of 500 </a:t>
                </a:r>
              </a:p>
              <a:p>
                <a:pPr marL="12700" marR="29845" algn="ctr"/>
                <a:r>
                  <a:rPr lang="en-US" sz="1400" dirty="0">
                    <a:solidFill>
                      <a:schemeClr val="bg1"/>
                    </a:solidFill>
                    <a:latin typeface="Avenir Next LT Pro Light" panose="020B0304020202020204" pitchFamily="34" charset="0"/>
                    <a:cs typeface="Tahoma"/>
                  </a:rPr>
                  <a:t>containers port </a:t>
                </a:r>
              </a:p>
              <a:p>
                <a:pPr marR="29845" algn="ctr">
                  <a:lnSpc>
                    <a:spcPct val="100000"/>
                  </a:lnSpc>
                  <a:spcBef>
                    <a:spcPts val="555"/>
                  </a:spcBef>
                </a:pPr>
                <a:endParaRPr lang="fr-MA" sz="1400" dirty="0">
                  <a:solidFill>
                    <a:schemeClr val="bg1"/>
                  </a:solidFill>
                  <a:latin typeface="Avenir Next LT Pro Light" panose="020B0304020202020204" pitchFamily="34" charset="0"/>
                  <a:cs typeface="Tahoma"/>
                </a:endParaRPr>
              </a:p>
            </p:txBody>
          </p:sp>
          <p:sp>
            <p:nvSpPr>
              <p:cNvPr id="1082" name="ZoneTexte 1081">
                <a:extLst>
                  <a:ext uri="{FF2B5EF4-FFF2-40B4-BE49-F238E27FC236}">
                    <a16:creationId xmlns:a16="http://schemas.microsoft.com/office/drawing/2014/main" id="{DCC7088D-EEED-2E29-47CA-A61BBFBE2001}"/>
                  </a:ext>
                </a:extLst>
              </p:cNvPr>
              <p:cNvSpPr txBox="1"/>
              <p:nvPr/>
            </p:nvSpPr>
            <p:spPr>
              <a:xfrm>
                <a:off x="6948663" y="3691449"/>
                <a:ext cx="4704187" cy="830997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US" sz="1600">
                    <a:solidFill>
                      <a:schemeClr val="bg1"/>
                    </a:solidFill>
                    <a:latin typeface="Avenir Next LT Pro Demi" panose="020B0704020202020204" pitchFamily="34" charset="0"/>
                    <a:cs typeface="Arial" panose="020B0604020202020204" pitchFamily="34" charset="0"/>
                  </a:rPr>
                  <a:t>TANGER MED PORT, </a:t>
                </a:r>
              </a:p>
              <a:p>
                <a:pPr algn="ctr"/>
                <a:r>
                  <a:rPr lang="en-US" sz="1600" b="1">
                    <a:solidFill>
                      <a:schemeClr val="bg1"/>
                    </a:solidFill>
                    <a:latin typeface="Avenir Next LT Pro Demi" panose="020B0704020202020204" pitchFamily="34" charset="0"/>
                    <a:cs typeface="Arial" panose="020B0604020202020204" pitchFamily="34" charset="0"/>
                  </a:rPr>
                  <a:t>#1 TRANSSHIPMENT PLATFORM IN THE MEDITERRANEAN AND AFRICA</a:t>
                </a:r>
              </a:p>
            </p:txBody>
          </p:sp>
        </p:grpSp>
        <p:pic>
          <p:nvPicPr>
            <p:cNvPr id="1076" name="Picture 2" descr="Tanger Med Port Authority : De nouveaux records battus en 2021 |  Aujourd'hui le Maroc">
              <a:extLst>
                <a:ext uri="{FF2B5EF4-FFF2-40B4-BE49-F238E27FC236}">
                  <a16:creationId xmlns:a16="http://schemas.microsoft.com/office/drawing/2014/main" id="{BB17CCC8-4550-4CA5-3999-763238FEB8F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105" y="475417"/>
              <a:ext cx="5352184" cy="2825225"/>
            </a:xfrm>
            <a:prstGeom prst="round1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77" name="Triangle isocèle 1076">
              <a:extLst>
                <a:ext uri="{FF2B5EF4-FFF2-40B4-BE49-F238E27FC236}">
                  <a16:creationId xmlns:a16="http://schemas.microsoft.com/office/drawing/2014/main" id="{1D99AFD4-5FF4-14E8-9769-B2C670790524}"/>
                </a:ext>
              </a:extLst>
            </p:cNvPr>
            <p:cNvSpPr/>
            <p:nvPr/>
          </p:nvSpPr>
          <p:spPr>
            <a:xfrm rot="10800000">
              <a:off x="9131074" y="3189018"/>
              <a:ext cx="309958" cy="247966"/>
            </a:xfrm>
            <a:prstGeom prst="triangl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MA"/>
            </a:p>
          </p:txBody>
        </p:sp>
      </p:grpSp>
    </p:spTree>
    <p:extLst>
      <p:ext uri="{BB962C8B-B14F-4D97-AF65-F5344CB8AC3E}">
        <p14:creationId xmlns:p14="http://schemas.microsoft.com/office/powerpoint/2010/main" val="15185344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 : avec coins arrondis en diagonale 15">
            <a:extLst>
              <a:ext uri="{FF2B5EF4-FFF2-40B4-BE49-F238E27FC236}">
                <a16:creationId xmlns:a16="http://schemas.microsoft.com/office/drawing/2014/main" id="{A803D87F-0518-D485-75C6-CA3CF8877646}"/>
              </a:ext>
            </a:extLst>
          </p:cNvPr>
          <p:cNvSpPr/>
          <p:nvPr/>
        </p:nvSpPr>
        <p:spPr>
          <a:xfrm rot="5400000">
            <a:off x="3429384" y="-1904615"/>
            <a:ext cx="5506997" cy="12018237"/>
          </a:xfrm>
          <a:prstGeom prst="round2DiagRect">
            <a:avLst>
              <a:gd name="adj1" fmla="val 0"/>
              <a:gd name="adj2" fmla="val 6932"/>
            </a:avLst>
          </a:prstGeom>
          <a:gradFill flip="none" rotWithShape="1">
            <a:gsLst>
              <a:gs pos="0">
                <a:schemeClr val="bg1"/>
              </a:gs>
              <a:gs pos="79000">
                <a:schemeClr val="bg1">
                  <a:lumMod val="9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15" name="Rectangle : avec coins arrondis en diagonale 14">
            <a:extLst>
              <a:ext uri="{FF2B5EF4-FFF2-40B4-BE49-F238E27FC236}">
                <a16:creationId xmlns:a16="http://schemas.microsoft.com/office/drawing/2014/main" id="{25FCBF9A-E3D9-A0DA-630F-2EF0C55A7259}"/>
              </a:ext>
            </a:extLst>
          </p:cNvPr>
          <p:cNvSpPr/>
          <p:nvPr/>
        </p:nvSpPr>
        <p:spPr>
          <a:xfrm>
            <a:off x="9336680" y="3614416"/>
            <a:ext cx="2778993" cy="3027245"/>
          </a:xfrm>
          <a:prstGeom prst="round2DiagRect">
            <a:avLst/>
          </a:prstGeom>
          <a:gradFill flip="none" rotWithShape="1">
            <a:gsLst>
              <a:gs pos="0">
                <a:srgbClr val="007635">
                  <a:shade val="30000"/>
                  <a:satMod val="115000"/>
                </a:srgbClr>
              </a:gs>
              <a:gs pos="50000">
                <a:srgbClr val="007635">
                  <a:shade val="67500"/>
                  <a:satMod val="115000"/>
                </a:srgbClr>
              </a:gs>
              <a:gs pos="100000">
                <a:srgbClr val="007635">
                  <a:shade val="100000"/>
                  <a:satMod val="11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Rectangle : avec coins arrondis en diagonale 13">
            <a:extLst>
              <a:ext uri="{FF2B5EF4-FFF2-40B4-BE49-F238E27FC236}">
                <a16:creationId xmlns:a16="http://schemas.microsoft.com/office/drawing/2014/main" id="{6649851D-4DC4-506A-EBE2-8880F405E5E2}"/>
              </a:ext>
            </a:extLst>
          </p:cNvPr>
          <p:cNvSpPr/>
          <p:nvPr/>
        </p:nvSpPr>
        <p:spPr>
          <a:xfrm>
            <a:off x="6264166" y="3632752"/>
            <a:ext cx="2847527" cy="3027245"/>
          </a:xfrm>
          <a:prstGeom prst="round2DiagRect">
            <a:avLst/>
          </a:prstGeom>
          <a:gradFill flip="none" rotWithShape="1">
            <a:gsLst>
              <a:gs pos="0">
                <a:srgbClr val="007635">
                  <a:shade val="30000"/>
                  <a:satMod val="115000"/>
                </a:srgbClr>
              </a:gs>
              <a:gs pos="50000">
                <a:srgbClr val="007635">
                  <a:shade val="67500"/>
                  <a:satMod val="115000"/>
                </a:srgbClr>
              </a:gs>
              <a:gs pos="100000">
                <a:srgbClr val="007635">
                  <a:shade val="100000"/>
                  <a:satMod val="11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 : avec coins arrondis en diagonale 12">
            <a:extLst>
              <a:ext uri="{FF2B5EF4-FFF2-40B4-BE49-F238E27FC236}">
                <a16:creationId xmlns:a16="http://schemas.microsoft.com/office/drawing/2014/main" id="{14FFE39B-7092-BBEC-5F91-C58E77133512}"/>
              </a:ext>
            </a:extLst>
          </p:cNvPr>
          <p:cNvSpPr/>
          <p:nvPr/>
        </p:nvSpPr>
        <p:spPr>
          <a:xfrm>
            <a:off x="3289255" y="3394350"/>
            <a:ext cx="2770960" cy="3265647"/>
          </a:xfrm>
          <a:prstGeom prst="round2DiagRect">
            <a:avLst/>
          </a:prstGeom>
          <a:gradFill flip="none" rotWithShape="1">
            <a:gsLst>
              <a:gs pos="0">
                <a:srgbClr val="007635">
                  <a:shade val="30000"/>
                  <a:satMod val="115000"/>
                </a:srgbClr>
              </a:gs>
              <a:gs pos="50000">
                <a:srgbClr val="007635">
                  <a:shade val="67500"/>
                  <a:satMod val="115000"/>
                </a:srgbClr>
              </a:gs>
              <a:gs pos="100000">
                <a:srgbClr val="007635">
                  <a:shade val="100000"/>
                  <a:satMod val="11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8100"/>
            <a:endParaRPr lang="en-US" sz="1600" dirty="0">
              <a:solidFill>
                <a:schemeClr val="bg1"/>
              </a:solidFill>
              <a:latin typeface="Avenir Next LT Pro" panose="020B0504020202020204" pitchFamily="34" charset="0"/>
              <a:cs typeface="Arial" panose="020B0604020202020204" pitchFamily="34" charset="0"/>
            </a:endParaRPr>
          </a:p>
          <a:p>
            <a:pPr marL="38100"/>
            <a:endParaRPr lang="en-US" sz="1600" dirty="0">
              <a:solidFill>
                <a:schemeClr val="bg1"/>
              </a:solidFill>
              <a:latin typeface="Avenir Next LT Pro" panose="020B0504020202020204" pitchFamily="34" charset="0"/>
              <a:cs typeface="Arial" panose="020B0604020202020204" pitchFamily="34" charset="0"/>
            </a:endParaRPr>
          </a:p>
          <a:p>
            <a:pPr marL="38100"/>
            <a:endParaRPr lang="en-US" sz="1600" dirty="0">
              <a:solidFill>
                <a:schemeClr val="bg1"/>
              </a:solidFill>
              <a:latin typeface="Avenir Next LT Pro" panose="020B0504020202020204" pitchFamily="34" charset="0"/>
              <a:cs typeface="Arial" panose="020B0604020202020204" pitchFamily="34" charset="0"/>
            </a:endParaRPr>
          </a:p>
          <a:p>
            <a:pPr marL="38100"/>
            <a:endParaRPr lang="en-US" sz="1600" dirty="0">
              <a:solidFill>
                <a:schemeClr val="bg1"/>
              </a:solidFill>
              <a:latin typeface="Avenir Next LT Pro" panose="020B0504020202020204" pitchFamily="34" charset="0"/>
              <a:cs typeface="Arial" panose="020B0604020202020204" pitchFamily="34" charset="0"/>
            </a:endParaRPr>
          </a:p>
          <a:p>
            <a:pPr marL="38100"/>
            <a:endParaRPr lang="en-US" sz="1600" dirty="0">
              <a:solidFill>
                <a:schemeClr val="bg1"/>
              </a:solidFill>
              <a:latin typeface="Avenir Next LT Pro" panose="020B0504020202020204" pitchFamily="34" charset="0"/>
              <a:cs typeface="Arial" panose="020B0604020202020204" pitchFamily="34" charset="0"/>
            </a:endParaRPr>
          </a:p>
          <a:p>
            <a:pPr marL="38100"/>
            <a:endParaRPr lang="en-US" sz="1600" dirty="0">
              <a:solidFill>
                <a:schemeClr val="bg1"/>
              </a:solidFill>
              <a:latin typeface="Avenir Next LT Pro" panose="020B0504020202020204" pitchFamily="34" charset="0"/>
              <a:cs typeface="Arial" panose="020B0604020202020204" pitchFamily="34" charset="0"/>
            </a:endParaRPr>
          </a:p>
          <a:p>
            <a:pPr marL="38100"/>
            <a:r>
              <a:rPr lang="en-US" sz="1600" dirty="0">
                <a:solidFill>
                  <a:schemeClr val="bg1"/>
                </a:solidFill>
                <a:latin typeface="Avenir Next LT Pro" panose="020B0504020202020204" pitchFamily="34" charset="0"/>
                <a:cs typeface="Arial" panose="020B0604020202020204" pitchFamily="34" charset="0"/>
              </a:rPr>
              <a:t>Sub-assemblies for aircrafts and engines for OEMs including Airbus and Boeing</a:t>
            </a:r>
            <a:endParaRPr lang="en-US" sz="1600" dirty="0">
              <a:solidFill>
                <a:schemeClr val="bg1"/>
              </a:solidFill>
              <a:latin typeface="Avenir Next LT Pro" panose="020B0504020202020204" pitchFamily="34" charset="0"/>
              <a:cs typeface="Tahoma"/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190E53F5-A1B2-6483-4514-8FAF200A6B0D}"/>
              </a:ext>
            </a:extLst>
          </p:cNvPr>
          <p:cNvSpPr txBox="1"/>
          <p:nvPr/>
        </p:nvSpPr>
        <p:spPr>
          <a:xfrm>
            <a:off x="348759" y="336228"/>
            <a:ext cx="7300276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ts val="4800"/>
              </a:lnSpc>
            </a:pPr>
            <a:r>
              <a:rPr lang="en-US" sz="4000" b="1">
                <a:latin typeface="Avenir Next LT Pro" panose="020B0504020202020204" pitchFamily="34" charset="0"/>
                <a:cs typeface="Times New Roman" panose="02020603050405020304" pitchFamily="18" charset="0"/>
              </a:rPr>
              <a:t>A World Class Hub</a:t>
            </a:r>
          </a:p>
        </p:txBody>
      </p:sp>
      <p:sp>
        <p:nvSpPr>
          <p:cNvPr id="7199" name="ZoneTexte 7198">
            <a:extLst>
              <a:ext uri="{FF2B5EF4-FFF2-40B4-BE49-F238E27FC236}">
                <a16:creationId xmlns:a16="http://schemas.microsoft.com/office/drawing/2014/main" id="{AD900136-A037-947C-BFA4-938C1C33ED2B}"/>
              </a:ext>
            </a:extLst>
          </p:cNvPr>
          <p:cNvSpPr txBox="1"/>
          <p:nvPr/>
        </p:nvSpPr>
        <p:spPr>
          <a:xfrm>
            <a:off x="3409717" y="3989265"/>
            <a:ext cx="2741956" cy="113877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38100"/>
            <a:r>
              <a:rPr lang="en-US" sz="3600" b="1">
                <a:solidFill>
                  <a:schemeClr val="bg1"/>
                </a:solidFill>
                <a:latin typeface="Avenir Next LT Pro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#1 </a:t>
            </a:r>
            <a:r>
              <a:rPr lang="en-US" sz="1600" b="1">
                <a:solidFill>
                  <a:schemeClr val="bg1"/>
                </a:solidFill>
                <a:latin typeface="Avenir Next LT Pro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dustrial </a:t>
            </a:r>
            <a:r>
              <a:rPr lang="en-US" sz="1600" b="1">
                <a:solidFill>
                  <a:schemeClr val="bg1"/>
                </a:solidFill>
                <a:latin typeface="Avenir Next LT Pro" panose="020B0504020202020204" pitchFamily="34" charset="0"/>
                <a:cs typeface="Arial" panose="020B0604020202020204" pitchFamily="34" charset="0"/>
              </a:rPr>
              <a:t>aerospace hub in Africa, </a:t>
            </a:r>
          </a:p>
          <a:p>
            <a:pPr marL="38100"/>
            <a:endParaRPr lang="en-US" sz="1600" b="1">
              <a:solidFill>
                <a:schemeClr val="bg1"/>
              </a:solidFill>
              <a:latin typeface="Avenir Next LT Pro" panose="020B05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06" name="ZoneTexte 7205">
            <a:extLst>
              <a:ext uri="{FF2B5EF4-FFF2-40B4-BE49-F238E27FC236}">
                <a16:creationId xmlns:a16="http://schemas.microsoft.com/office/drawing/2014/main" id="{5203E419-67D9-7FD1-875E-20137E280CBC}"/>
              </a:ext>
            </a:extLst>
          </p:cNvPr>
          <p:cNvSpPr txBox="1"/>
          <p:nvPr/>
        </p:nvSpPr>
        <p:spPr>
          <a:xfrm>
            <a:off x="6288651" y="4074968"/>
            <a:ext cx="2556554" cy="187743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just"/>
            <a:r>
              <a:rPr lang="en-US" sz="3600" b="1">
                <a:solidFill>
                  <a:schemeClr val="bg1"/>
                </a:solidFill>
                <a:latin typeface="Avenir Next LT Pro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#2 </a:t>
            </a:r>
            <a:r>
              <a:rPr lang="en-US" sz="1600" b="1">
                <a:solidFill>
                  <a:schemeClr val="bg1"/>
                </a:solidFill>
                <a:latin typeface="Avenir Next LT Pro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harmaceutical producer in Africa</a:t>
            </a:r>
            <a:r>
              <a:rPr lang="en-US" sz="1600">
                <a:solidFill>
                  <a:schemeClr val="bg1"/>
                </a:solidFill>
                <a:latin typeface="Avenir Next LT Pro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</a:t>
            </a:r>
          </a:p>
          <a:p>
            <a:pPr lvl="0" algn="just"/>
            <a:endParaRPr lang="en-US" sz="1600">
              <a:solidFill>
                <a:schemeClr val="bg1"/>
              </a:solidFill>
              <a:latin typeface="Avenir Next LT Pro" panose="020B05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 algn="just"/>
            <a:r>
              <a:rPr lang="en-US" sz="1600">
                <a:solidFill>
                  <a:schemeClr val="bg1"/>
                </a:solidFill>
                <a:latin typeface="Avenir Next LT Pro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lassified a</a:t>
            </a:r>
            <a:r>
              <a:rPr lang="en-US" sz="1600">
                <a:solidFill>
                  <a:schemeClr val="bg1"/>
                </a:solidFill>
                <a:latin typeface="Avenir Next LT Pro" panose="020B0504020202020204" pitchFamily="34" charset="0"/>
                <a:cs typeface="Arial" panose="020B0604020202020204" pitchFamily="34" charset="0"/>
              </a:rPr>
              <a:t>s</a:t>
            </a:r>
            <a:r>
              <a:rPr lang="en-US" sz="1600">
                <a:solidFill>
                  <a:schemeClr val="bg1"/>
                </a:solidFill>
                <a:latin typeface="Avenir Next LT Pro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 European Zone by World Health Organization</a:t>
            </a:r>
          </a:p>
        </p:txBody>
      </p:sp>
      <p:sp>
        <p:nvSpPr>
          <p:cNvPr id="7213" name="ZoneTexte 7212">
            <a:extLst>
              <a:ext uri="{FF2B5EF4-FFF2-40B4-BE49-F238E27FC236}">
                <a16:creationId xmlns:a16="http://schemas.microsoft.com/office/drawing/2014/main" id="{E83DCD1B-DD20-ED14-3EB1-C76C0FBDF334}"/>
              </a:ext>
            </a:extLst>
          </p:cNvPr>
          <p:cNvSpPr txBox="1"/>
          <p:nvPr/>
        </p:nvSpPr>
        <p:spPr>
          <a:xfrm>
            <a:off x="9461681" y="4503243"/>
            <a:ext cx="2556554" cy="107721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just"/>
            <a:r>
              <a:rPr lang="fr-FR" sz="1600" b="1" dirty="0">
                <a:solidFill>
                  <a:schemeClr val="bg1"/>
                </a:solidFill>
                <a:latin typeface="Avenir Next LT Pro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eading </a:t>
            </a:r>
            <a:r>
              <a:rPr lang="fr-FR" sz="1600" b="1" dirty="0" err="1">
                <a:solidFill>
                  <a:schemeClr val="bg1"/>
                </a:solidFill>
                <a:latin typeface="Avenir Next LT Pro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ngeneering</a:t>
            </a:r>
            <a:r>
              <a:rPr lang="fr-FR" sz="1600" b="1" dirty="0">
                <a:solidFill>
                  <a:schemeClr val="bg1"/>
                </a:solidFill>
                <a:latin typeface="Avenir Next LT Pro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latform, </a:t>
            </a:r>
            <a:r>
              <a:rPr lang="fr-FR" sz="1600" dirty="0" err="1">
                <a:solidFill>
                  <a:schemeClr val="bg1"/>
                </a:solidFill>
                <a:latin typeface="Avenir Next LT Pro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ith</a:t>
            </a:r>
            <a:r>
              <a:rPr lang="fr-FR" sz="1600" dirty="0">
                <a:solidFill>
                  <a:schemeClr val="bg1"/>
                </a:solidFill>
                <a:latin typeface="Avenir Next LT Pro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sz="1600" dirty="0" err="1">
                <a:solidFill>
                  <a:schemeClr val="bg1"/>
                </a:solidFill>
                <a:latin typeface="Avenir Next LT Pro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rowing</a:t>
            </a:r>
            <a:r>
              <a:rPr lang="fr-FR" sz="1600" dirty="0">
                <a:solidFill>
                  <a:schemeClr val="bg1"/>
                </a:solidFill>
                <a:latin typeface="Avenir Next LT Pro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sign and engineering </a:t>
            </a:r>
            <a:r>
              <a:rPr lang="fr-FR" sz="1600" dirty="0" err="1">
                <a:solidFill>
                  <a:schemeClr val="bg1"/>
                </a:solidFill>
                <a:latin typeface="Avenir Next LT Pro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apabilities</a:t>
            </a:r>
            <a:endParaRPr lang="fr-FR" sz="1600" dirty="0">
              <a:solidFill>
                <a:schemeClr val="bg1"/>
              </a:solidFill>
              <a:latin typeface="Avenir Next LT Pro" panose="020B05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7222" name="Picture 16" descr="Un take-off immédiat de l'industrie aéronautique">
            <a:extLst>
              <a:ext uri="{FF2B5EF4-FFF2-40B4-BE49-F238E27FC236}">
                <a16:creationId xmlns:a16="http://schemas.microsoft.com/office/drawing/2014/main" id="{8B74155A-DF3F-8FFD-929C-8568E50B711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36" r="10174"/>
          <a:stretch/>
        </p:blipFill>
        <p:spPr bwMode="auto">
          <a:xfrm>
            <a:off x="3291861" y="1689558"/>
            <a:ext cx="2768354" cy="2261445"/>
          </a:xfrm>
          <a:prstGeom prst="round2Diag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225" name="ZoneTexte 7224">
            <a:extLst>
              <a:ext uri="{FF2B5EF4-FFF2-40B4-BE49-F238E27FC236}">
                <a16:creationId xmlns:a16="http://schemas.microsoft.com/office/drawing/2014/main" id="{6EF50C40-0DB8-3961-5587-B7C613E3E43C}"/>
              </a:ext>
            </a:extLst>
          </p:cNvPr>
          <p:cNvSpPr txBox="1"/>
          <p:nvPr/>
        </p:nvSpPr>
        <p:spPr>
          <a:xfrm>
            <a:off x="11751013" y="6611779"/>
            <a:ext cx="364661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000">
                <a:solidFill>
                  <a:schemeClr val="bg1">
                    <a:lumMod val="65000"/>
                  </a:schemeClr>
                </a:solidFill>
                <a:latin typeface="Avenir Next LT Pro Light" panose="020B0304020202020204" pitchFamily="34" charset="0"/>
                <a:cs typeface="Arial" panose="020B0604020202020204" pitchFamily="34" charset="0"/>
              </a:rPr>
              <a:t>9</a:t>
            </a:r>
          </a:p>
        </p:txBody>
      </p:sp>
      <p:sp>
        <p:nvSpPr>
          <p:cNvPr id="5" name="TextBox 55">
            <a:extLst>
              <a:ext uri="{FF2B5EF4-FFF2-40B4-BE49-F238E27FC236}">
                <a16:creationId xmlns:a16="http://schemas.microsoft.com/office/drawing/2014/main" id="{112245D9-9328-9AD1-8149-FF6425AC633F}"/>
              </a:ext>
            </a:extLst>
          </p:cNvPr>
          <p:cNvSpPr txBox="1"/>
          <p:nvPr/>
        </p:nvSpPr>
        <p:spPr>
          <a:xfrm>
            <a:off x="356861" y="981672"/>
            <a:ext cx="799055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>
                <a:latin typeface="Avenir Next LT Pro Demi" panose="020B0704020202020204" pitchFamily="34" charset="0"/>
                <a:cs typeface="Arial" panose="020B0604020202020204" pitchFamily="34" charset="0"/>
              </a:rPr>
              <a:t>Innovative ecosystems in cutting-edge sectors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AF9D69A8-3B8D-44DA-E798-3783527CAF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03693" y="1664256"/>
            <a:ext cx="2808000" cy="2261445"/>
          </a:xfrm>
          <a:prstGeom prst="round2Diag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36F56114-A60C-0C85-2209-800D6D53238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55172" y="1663420"/>
            <a:ext cx="2760502" cy="2287583"/>
          </a:xfrm>
          <a:prstGeom prst="round2DiagRect">
            <a:avLst/>
          </a:prstGeom>
        </p:spPr>
      </p:pic>
      <p:grpSp>
        <p:nvGrpSpPr>
          <p:cNvPr id="2" name="Groupe 1">
            <a:extLst>
              <a:ext uri="{FF2B5EF4-FFF2-40B4-BE49-F238E27FC236}">
                <a16:creationId xmlns:a16="http://schemas.microsoft.com/office/drawing/2014/main" id="{E20E6866-816D-4464-7215-E4D20E94FD25}"/>
              </a:ext>
            </a:extLst>
          </p:cNvPr>
          <p:cNvGrpSpPr/>
          <p:nvPr/>
        </p:nvGrpSpPr>
        <p:grpSpPr>
          <a:xfrm>
            <a:off x="173764" y="1722342"/>
            <a:ext cx="2890503" cy="4937656"/>
            <a:chOff x="173764" y="1722342"/>
            <a:chExt cx="2890503" cy="4937656"/>
          </a:xfrm>
        </p:grpSpPr>
        <p:sp>
          <p:nvSpPr>
            <p:cNvPr id="9" name="Rectangle : avec coins arrondis en diagonale 8">
              <a:extLst>
                <a:ext uri="{FF2B5EF4-FFF2-40B4-BE49-F238E27FC236}">
                  <a16:creationId xmlns:a16="http://schemas.microsoft.com/office/drawing/2014/main" id="{B89B412E-BE75-3149-6FCD-82C1BFF72ED4}"/>
                </a:ext>
              </a:extLst>
            </p:cNvPr>
            <p:cNvSpPr/>
            <p:nvPr/>
          </p:nvSpPr>
          <p:spPr>
            <a:xfrm>
              <a:off x="173765" y="3535798"/>
              <a:ext cx="2856970" cy="3124200"/>
            </a:xfrm>
            <a:prstGeom prst="round2DiagRect">
              <a:avLst/>
            </a:prstGeom>
            <a:gradFill flip="none" rotWithShape="1">
              <a:gsLst>
                <a:gs pos="0">
                  <a:srgbClr val="007635">
                    <a:shade val="30000"/>
                    <a:satMod val="115000"/>
                  </a:srgbClr>
                </a:gs>
                <a:gs pos="50000">
                  <a:srgbClr val="007635">
                    <a:shade val="67500"/>
                    <a:satMod val="115000"/>
                  </a:srgbClr>
                </a:gs>
                <a:gs pos="100000">
                  <a:srgbClr val="007635">
                    <a:shade val="100000"/>
                    <a:satMod val="115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134" name="ZoneTexte 5133">
              <a:extLst>
                <a:ext uri="{FF2B5EF4-FFF2-40B4-BE49-F238E27FC236}">
                  <a16:creationId xmlns:a16="http://schemas.microsoft.com/office/drawing/2014/main" id="{F08D8BCC-09E9-7F2E-1059-3B36FF3C9396}"/>
                </a:ext>
              </a:extLst>
            </p:cNvPr>
            <p:cNvSpPr txBox="1"/>
            <p:nvPr/>
          </p:nvSpPr>
          <p:spPr>
            <a:xfrm>
              <a:off x="227087" y="3983787"/>
              <a:ext cx="2556554" cy="138499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38100" algn="just"/>
              <a:r>
                <a:rPr lang="en-US" sz="3600" b="1">
                  <a:solidFill>
                    <a:schemeClr val="bg1"/>
                  </a:solidFill>
                  <a:latin typeface="Avenir Next LT Pro" panose="020B05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#1 </a:t>
              </a:r>
              <a:r>
                <a:rPr lang="en-US" sz="1600" b="1">
                  <a:solidFill>
                    <a:schemeClr val="bg1"/>
                  </a:solidFill>
                  <a:latin typeface="Avenir Next LT Pro" panose="020B05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passenger car producer in Africa </a:t>
              </a:r>
            </a:p>
            <a:p>
              <a:pPr marL="38100" algn="just"/>
              <a:endParaRPr lang="en-US" sz="1600" b="1">
                <a:solidFill>
                  <a:schemeClr val="bg1"/>
                </a:solidFill>
                <a:latin typeface="Avenir Next LT Pro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38100" algn="just"/>
              <a:endParaRPr lang="en-US" sz="1600">
                <a:solidFill>
                  <a:schemeClr val="bg1"/>
                </a:solidFill>
                <a:latin typeface="Avenir Next LT Pro" panose="020B0504020202020204" pitchFamily="34" charset="0"/>
                <a:cs typeface="Tahoma"/>
              </a:endParaRPr>
            </a:p>
          </p:txBody>
        </p:sp>
        <p:pic>
          <p:nvPicPr>
            <p:cNvPr id="3" name="Image 2">
              <a:extLst>
                <a:ext uri="{FF2B5EF4-FFF2-40B4-BE49-F238E27FC236}">
                  <a16:creationId xmlns:a16="http://schemas.microsoft.com/office/drawing/2014/main" id="{2A195802-E4A7-3DC0-65AB-C4E292FEE29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73764" y="1722342"/>
              <a:ext cx="2890503" cy="2261445"/>
            </a:xfrm>
            <a:prstGeom prst="round2DiagRect">
              <a:avLst/>
            </a:prstGeom>
          </p:spPr>
        </p:pic>
        <p:sp>
          <p:nvSpPr>
            <p:cNvPr id="17" name="ZoneTexte 16">
              <a:extLst>
                <a:ext uri="{FF2B5EF4-FFF2-40B4-BE49-F238E27FC236}">
                  <a16:creationId xmlns:a16="http://schemas.microsoft.com/office/drawing/2014/main" id="{9425681D-738C-8BF7-5754-230A1A959212}"/>
                </a:ext>
              </a:extLst>
            </p:cNvPr>
            <p:cNvSpPr txBox="1"/>
            <p:nvPr/>
          </p:nvSpPr>
          <p:spPr>
            <a:xfrm>
              <a:off x="248167" y="4890842"/>
              <a:ext cx="2556554" cy="156966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38100" algn="just"/>
              <a:endParaRPr lang="en-US" sz="1600" b="1">
                <a:solidFill>
                  <a:schemeClr val="bg1"/>
                </a:solidFill>
                <a:latin typeface="Avenir Next LT Pro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38100" algn="just"/>
              <a:r>
                <a:rPr lang="en-US" sz="1600">
                  <a:solidFill>
                    <a:schemeClr val="bg1"/>
                  </a:solidFill>
                  <a:latin typeface="Avenir Next LT Pro" panose="020B05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2 global manufacturers, </a:t>
              </a:r>
            </a:p>
            <a:p>
              <a:pPr marL="38100" algn="just"/>
              <a:r>
                <a:rPr lang="en-US" sz="1600">
                  <a:solidFill>
                    <a:schemeClr val="bg1"/>
                  </a:solidFill>
                  <a:latin typeface="Avenir Next LT Pro" panose="020B05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250 tier 1 and 2 subcontractors, </a:t>
              </a:r>
            </a:p>
            <a:p>
              <a:pPr marL="38100" algn="just"/>
              <a:r>
                <a:rPr lang="en-US" sz="1600">
                  <a:solidFill>
                    <a:schemeClr val="bg1"/>
                  </a:solidFill>
                  <a:latin typeface="Avenir Next LT Pro" panose="020B05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integration in the EV value chain</a:t>
              </a:r>
              <a:endParaRPr lang="en-US" sz="1600">
                <a:solidFill>
                  <a:schemeClr val="bg1"/>
                </a:solidFill>
                <a:latin typeface="Avenir Next LT Pro" panose="020B0504020202020204" pitchFamily="34" charset="0"/>
                <a:cs typeface="Tahom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074562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 : avec coins arrondis en diagonale 9">
            <a:extLst>
              <a:ext uri="{FF2B5EF4-FFF2-40B4-BE49-F238E27FC236}">
                <a16:creationId xmlns:a16="http://schemas.microsoft.com/office/drawing/2014/main" id="{1875850B-C1E1-74CC-D234-2D209F9393D4}"/>
              </a:ext>
            </a:extLst>
          </p:cNvPr>
          <p:cNvSpPr/>
          <p:nvPr/>
        </p:nvSpPr>
        <p:spPr>
          <a:xfrm rot="16200000">
            <a:off x="6716129" y="1456040"/>
            <a:ext cx="5420824" cy="5118377"/>
          </a:xfrm>
          <a:prstGeom prst="round2DiagRect">
            <a:avLst>
              <a:gd name="adj1" fmla="val 0"/>
              <a:gd name="adj2" fmla="val 23842"/>
            </a:avLst>
          </a:prstGeom>
          <a:solidFill>
            <a:srgbClr val="00206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1D61BB2B-36A4-A197-CD4F-733BF07E73F6}"/>
              </a:ext>
            </a:extLst>
          </p:cNvPr>
          <p:cNvSpPr txBox="1"/>
          <p:nvPr/>
        </p:nvSpPr>
        <p:spPr>
          <a:xfrm>
            <a:off x="245908" y="141282"/>
            <a:ext cx="11630635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/>
            <a:r>
              <a:rPr lang="en-US" sz="4000" b="1">
                <a:effectLst/>
                <a:latin typeface="Avenir Next LT Pro "/>
                <a:ea typeface="Calibri" panose="020F0502020204030204" pitchFamily="34" charset="0"/>
                <a:cs typeface="Arial" panose="020B0604020202020204" pitchFamily="34" charset="0"/>
              </a:rPr>
              <a:t>Swift </a:t>
            </a:r>
            <a:r>
              <a:rPr lang="en-US" sz="3600" b="1">
                <a:effectLst/>
                <a:latin typeface="Avenir Next LT Pro "/>
                <a:ea typeface="Calibri" panose="020F0502020204030204" pitchFamily="34" charset="0"/>
                <a:cs typeface="Arial" panose="020B0604020202020204" pitchFamily="34" charset="0"/>
              </a:rPr>
              <a:t>Access</a:t>
            </a:r>
            <a:r>
              <a:rPr lang="en-US" sz="4000" b="1">
                <a:effectLst/>
                <a:latin typeface="Avenir Next LT Pro "/>
                <a:ea typeface="Calibri" panose="020F0502020204030204" pitchFamily="34" charset="0"/>
                <a:cs typeface="Arial" panose="020B0604020202020204" pitchFamily="34" charset="0"/>
              </a:rPr>
              <a:t> to a 2,5 Billion </a:t>
            </a:r>
            <a:r>
              <a:rPr lang="en-US" sz="4000" b="1">
                <a:latin typeface="Avenir Next LT Pro "/>
                <a:ea typeface="Calibri" panose="020F0502020204030204" pitchFamily="34" charset="0"/>
                <a:cs typeface="Arial" panose="020B0604020202020204" pitchFamily="34" charset="0"/>
              </a:rPr>
              <a:t>C</a:t>
            </a:r>
            <a:r>
              <a:rPr lang="en-US" sz="4000" b="1">
                <a:effectLst/>
                <a:latin typeface="Avenir Next LT Pro "/>
                <a:ea typeface="Calibri" panose="020F0502020204030204" pitchFamily="34" charset="0"/>
                <a:cs typeface="Arial" panose="020B0604020202020204" pitchFamily="34" charset="0"/>
              </a:rPr>
              <a:t>onsumer </a:t>
            </a:r>
            <a:r>
              <a:rPr lang="en-US" sz="4000" b="1">
                <a:latin typeface="Avenir Next LT Pro "/>
                <a:ea typeface="Calibri" panose="020F0502020204030204" pitchFamily="34" charset="0"/>
                <a:cs typeface="Arial" panose="020B0604020202020204" pitchFamily="34" charset="0"/>
              </a:rPr>
              <a:t>M</a:t>
            </a:r>
            <a:r>
              <a:rPr lang="en-US" sz="4000" b="1">
                <a:effectLst/>
                <a:latin typeface="Avenir Next LT Pro "/>
                <a:ea typeface="Calibri" panose="020F0502020204030204" pitchFamily="34" charset="0"/>
                <a:cs typeface="Arial" panose="020B0604020202020204" pitchFamily="34" charset="0"/>
              </a:rPr>
              <a:t>arket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24F05044-AA4C-65F3-A87A-C33C86E2BFC8}"/>
              </a:ext>
            </a:extLst>
          </p:cNvPr>
          <p:cNvSpPr txBox="1"/>
          <p:nvPr/>
        </p:nvSpPr>
        <p:spPr>
          <a:xfrm>
            <a:off x="11815395" y="6614820"/>
            <a:ext cx="364661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000" b="1">
                <a:solidFill>
                  <a:schemeClr val="bg1">
                    <a:lumMod val="50000"/>
                  </a:schemeClr>
                </a:solidFill>
                <a:latin typeface="Avenir Next LT Pro Light" panose="020B0304020202020204" pitchFamily="34" charset="0"/>
                <a:cs typeface="Arial" panose="020B0604020202020204" pitchFamily="34" charset="0"/>
              </a:rPr>
              <a:t>6</a:t>
            </a:r>
          </a:p>
        </p:txBody>
      </p:sp>
      <p:graphicFrame>
        <p:nvGraphicFramePr>
          <p:cNvPr id="6" name="Object 9">
            <a:extLst>
              <a:ext uri="{FF2B5EF4-FFF2-40B4-BE49-F238E27FC236}">
                <a16:creationId xmlns:a16="http://schemas.microsoft.com/office/drawing/2014/main" id="{B175971A-9CB7-3A2F-9077-DAA25B43C0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563671" y="0"/>
          <a:ext cx="1575" cy="1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5" imgW="38100" imgH="38100" progId="">
                  <p:embed/>
                </p:oleObj>
              </mc:Choice>
              <mc:Fallback>
                <p:oleObj name="think-cell Slide" r:id="rId315" imgW="38100" imgH="38100" progId="">
                  <p:embed/>
                  <p:pic>
                    <p:nvPicPr>
                      <p:cNvPr id="6" name="Object 9">
                        <a:extLst>
                          <a:ext uri="{FF2B5EF4-FFF2-40B4-BE49-F238E27FC236}">
                            <a16:creationId xmlns:a16="http://schemas.microsoft.com/office/drawing/2014/main" id="{B175971A-9CB7-3A2F-9077-DAA25B43C00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563671" y="0"/>
                        <a:ext cx="1575" cy="166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ee4pFootnotes">
            <a:extLst>
              <a:ext uri="{FF2B5EF4-FFF2-40B4-BE49-F238E27FC236}">
                <a16:creationId xmlns:a16="http://schemas.microsoft.com/office/drawing/2014/main" id="{A6338921-D5E4-6421-2524-42A4774094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9358" y="6536550"/>
            <a:ext cx="7884000" cy="15234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rPr>
              <a:t>Source: Institutional websites</a:t>
            </a:r>
          </a:p>
        </p:txBody>
      </p:sp>
      <p:grpSp>
        <p:nvGrpSpPr>
          <p:cNvPr id="379" name="Groupe 378">
            <a:extLst>
              <a:ext uri="{FF2B5EF4-FFF2-40B4-BE49-F238E27FC236}">
                <a16:creationId xmlns:a16="http://schemas.microsoft.com/office/drawing/2014/main" id="{BAE6C8CC-73B6-5527-4EC2-E20A8BD55081}"/>
              </a:ext>
            </a:extLst>
          </p:cNvPr>
          <p:cNvGrpSpPr/>
          <p:nvPr/>
        </p:nvGrpSpPr>
        <p:grpSpPr>
          <a:xfrm>
            <a:off x="-1" y="1185470"/>
            <a:ext cx="12531665" cy="5287845"/>
            <a:chOff x="505394" y="1570301"/>
            <a:chExt cx="11029890" cy="4672699"/>
          </a:xfrm>
        </p:grpSpPr>
        <p:sp>
          <p:nvSpPr>
            <p:cNvPr id="16" name="Line 42">
              <a:extLst>
                <a:ext uri="{FF2B5EF4-FFF2-40B4-BE49-F238E27FC236}">
                  <a16:creationId xmlns:a16="http://schemas.microsoft.com/office/drawing/2014/main" id="{775152E9-DE66-A5C5-18F4-6960CC986669}"/>
                </a:ext>
              </a:extLst>
            </p:cNvPr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 flipV="1">
              <a:off x="1910089" y="3518556"/>
              <a:ext cx="14179" cy="51658"/>
            </a:xfrm>
            <a:prstGeom prst="line">
              <a:avLst/>
            </a:pr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7" name="Line 256">
              <a:extLst>
                <a:ext uri="{FF2B5EF4-FFF2-40B4-BE49-F238E27FC236}">
                  <a16:creationId xmlns:a16="http://schemas.microsoft.com/office/drawing/2014/main" id="{A067524F-06E4-0F78-3294-ADDF400AF616}"/>
                </a:ext>
              </a:extLst>
            </p:cNvPr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>
              <a:off x="5324078" y="3326920"/>
              <a:ext cx="14180" cy="13331"/>
            </a:xfrm>
            <a:prstGeom prst="line">
              <a:avLst/>
            </a:pr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8" name="Freeform 79">
              <a:extLst>
                <a:ext uri="{FF2B5EF4-FFF2-40B4-BE49-F238E27FC236}">
                  <a16:creationId xmlns:a16="http://schemas.microsoft.com/office/drawing/2014/main" id="{F920EC58-A321-0A98-8C33-0A2BB57B5FAF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866792" y="4693362"/>
              <a:ext cx="809779" cy="818199"/>
            </a:xfrm>
            <a:custGeom>
              <a:avLst/>
              <a:gdLst>
                <a:gd name="T0" fmla="*/ 122917 w 1073"/>
                <a:gd name="T1" fmla="*/ 6362 h 1022"/>
                <a:gd name="T2" fmla="*/ 112607 w 1073"/>
                <a:gd name="T3" fmla="*/ 12725 h 1022"/>
                <a:gd name="T4" fmla="*/ 105470 w 1073"/>
                <a:gd name="T5" fmla="*/ 12725 h 1022"/>
                <a:gd name="T6" fmla="*/ 95161 w 1073"/>
                <a:gd name="T7" fmla="*/ 15906 h 1022"/>
                <a:gd name="T8" fmla="*/ 81680 w 1073"/>
                <a:gd name="T9" fmla="*/ 19087 h 1022"/>
                <a:gd name="T10" fmla="*/ 75336 w 1073"/>
                <a:gd name="T11" fmla="*/ 12725 h 1022"/>
                <a:gd name="T12" fmla="*/ 75336 w 1073"/>
                <a:gd name="T13" fmla="*/ 0 h 1022"/>
                <a:gd name="T14" fmla="*/ 68199 w 1073"/>
                <a:gd name="T15" fmla="*/ 3181 h 1022"/>
                <a:gd name="T16" fmla="*/ 47581 w 1073"/>
                <a:gd name="T17" fmla="*/ 3181 h 1022"/>
                <a:gd name="T18" fmla="*/ 50753 w 1073"/>
                <a:gd name="T19" fmla="*/ 12725 h 1022"/>
                <a:gd name="T20" fmla="*/ 44409 w 1073"/>
                <a:gd name="T21" fmla="*/ 22268 h 1022"/>
                <a:gd name="T22" fmla="*/ 37271 w 1073"/>
                <a:gd name="T23" fmla="*/ 19087 h 1022"/>
                <a:gd name="T24" fmla="*/ 19825 w 1073"/>
                <a:gd name="T25" fmla="*/ 15906 h 1022"/>
                <a:gd name="T26" fmla="*/ 23790 w 1073"/>
                <a:gd name="T27" fmla="*/ 22268 h 1022"/>
                <a:gd name="T28" fmla="*/ 23790 w 1073"/>
                <a:gd name="T29" fmla="*/ 31812 h 1022"/>
                <a:gd name="T30" fmla="*/ 6344 w 1073"/>
                <a:gd name="T31" fmla="*/ 50899 h 1022"/>
                <a:gd name="T32" fmla="*/ 3172 w 1073"/>
                <a:gd name="T33" fmla="*/ 73168 h 1022"/>
                <a:gd name="T34" fmla="*/ 16653 w 1073"/>
                <a:gd name="T35" fmla="*/ 73168 h 1022"/>
                <a:gd name="T36" fmla="*/ 23790 w 1073"/>
                <a:gd name="T37" fmla="*/ 79530 h 1022"/>
                <a:gd name="T38" fmla="*/ 37271 w 1073"/>
                <a:gd name="T39" fmla="*/ 73168 h 1022"/>
                <a:gd name="T40" fmla="*/ 44409 w 1073"/>
                <a:gd name="T41" fmla="*/ 82712 h 1022"/>
                <a:gd name="T42" fmla="*/ 68199 w 1073"/>
                <a:gd name="T43" fmla="*/ 92255 h 1022"/>
                <a:gd name="T44" fmla="*/ 71371 w 1073"/>
                <a:gd name="T45" fmla="*/ 101799 h 1022"/>
                <a:gd name="T46" fmla="*/ 81680 w 1073"/>
                <a:gd name="T47" fmla="*/ 108161 h 1022"/>
                <a:gd name="T48" fmla="*/ 84852 w 1073"/>
                <a:gd name="T49" fmla="*/ 117705 h 1022"/>
                <a:gd name="T50" fmla="*/ 84852 w 1073"/>
                <a:gd name="T51" fmla="*/ 136792 h 1022"/>
                <a:gd name="T52" fmla="*/ 99126 w 1073"/>
                <a:gd name="T53" fmla="*/ 139973 h 1022"/>
                <a:gd name="T54" fmla="*/ 105470 w 1073"/>
                <a:gd name="T55" fmla="*/ 149517 h 1022"/>
                <a:gd name="T56" fmla="*/ 105470 w 1073"/>
                <a:gd name="T57" fmla="*/ 155879 h 1022"/>
                <a:gd name="T58" fmla="*/ 102298 w 1073"/>
                <a:gd name="T59" fmla="*/ 168604 h 1022"/>
                <a:gd name="T60" fmla="*/ 91989 w 1073"/>
                <a:gd name="T61" fmla="*/ 184510 h 1022"/>
                <a:gd name="T62" fmla="*/ 99126 w 1073"/>
                <a:gd name="T63" fmla="*/ 187692 h 1022"/>
                <a:gd name="T64" fmla="*/ 112607 w 1073"/>
                <a:gd name="T65" fmla="*/ 197235 h 1022"/>
                <a:gd name="T66" fmla="*/ 115779 w 1073"/>
                <a:gd name="T67" fmla="*/ 197235 h 1022"/>
                <a:gd name="T68" fmla="*/ 130054 w 1073"/>
                <a:gd name="T69" fmla="*/ 178148 h 1022"/>
                <a:gd name="T70" fmla="*/ 137191 w 1073"/>
                <a:gd name="T71" fmla="*/ 159061 h 1022"/>
                <a:gd name="T72" fmla="*/ 147500 w 1073"/>
                <a:gd name="T73" fmla="*/ 149517 h 1022"/>
                <a:gd name="T74" fmla="*/ 171290 w 1073"/>
                <a:gd name="T75" fmla="*/ 143155 h 1022"/>
                <a:gd name="T76" fmla="*/ 178427 w 1073"/>
                <a:gd name="T77" fmla="*/ 136792 h 1022"/>
                <a:gd name="T78" fmla="*/ 184771 w 1073"/>
                <a:gd name="T79" fmla="*/ 124067 h 1022"/>
                <a:gd name="T80" fmla="*/ 188736 w 1073"/>
                <a:gd name="T81" fmla="*/ 114524 h 1022"/>
                <a:gd name="T82" fmla="*/ 205390 w 1073"/>
                <a:gd name="T83" fmla="*/ 73168 h 1022"/>
                <a:gd name="T84" fmla="*/ 208562 w 1073"/>
                <a:gd name="T85" fmla="*/ 50899 h 1022"/>
                <a:gd name="T86" fmla="*/ 181599 w 1073"/>
                <a:gd name="T87" fmla="*/ 38175 h 1022"/>
                <a:gd name="T88" fmla="*/ 164153 w 1073"/>
                <a:gd name="T89" fmla="*/ 38175 h 1022"/>
                <a:gd name="T90" fmla="*/ 157809 w 1073"/>
                <a:gd name="T91" fmla="*/ 34993 h 1022"/>
                <a:gd name="T92" fmla="*/ 153844 w 1073"/>
                <a:gd name="T93" fmla="*/ 31812 h 1022"/>
                <a:gd name="T94" fmla="*/ 137191 w 1073"/>
                <a:gd name="T95" fmla="*/ 31812 h 1022"/>
                <a:gd name="T96" fmla="*/ 133226 w 1073"/>
                <a:gd name="T97" fmla="*/ 25450 h 1022"/>
                <a:gd name="T98" fmla="*/ 126882 w 1073"/>
                <a:gd name="T99" fmla="*/ 31812 h 1022"/>
                <a:gd name="T100" fmla="*/ 119745 w 1073"/>
                <a:gd name="T101" fmla="*/ 31812 h 1022"/>
                <a:gd name="T102" fmla="*/ 130054 w 1073"/>
                <a:gd name="T103" fmla="*/ 19087 h 1022"/>
                <a:gd name="T104" fmla="*/ 126882 w 1073"/>
                <a:gd name="T105" fmla="*/ 15906 h 102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073"/>
                <a:gd name="T160" fmla="*/ 0 h 1022"/>
                <a:gd name="T161" fmla="*/ 1073 w 1073"/>
                <a:gd name="T162" fmla="*/ 1022 h 102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073" h="1022">
                  <a:moveTo>
                    <a:pt x="623" y="30"/>
                  </a:moveTo>
                  <a:lnTo>
                    <a:pt x="623" y="30"/>
                  </a:lnTo>
                  <a:lnTo>
                    <a:pt x="606" y="30"/>
                  </a:lnTo>
                  <a:lnTo>
                    <a:pt x="570" y="63"/>
                  </a:lnTo>
                  <a:lnTo>
                    <a:pt x="552" y="78"/>
                  </a:lnTo>
                  <a:lnTo>
                    <a:pt x="535" y="63"/>
                  </a:lnTo>
                  <a:lnTo>
                    <a:pt x="501" y="63"/>
                  </a:lnTo>
                  <a:lnTo>
                    <a:pt x="483" y="78"/>
                  </a:lnTo>
                  <a:lnTo>
                    <a:pt x="466" y="78"/>
                  </a:lnTo>
                  <a:lnTo>
                    <a:pt x="414" y="96"/>
                  </a:lnTo>
                  <a:lnTo>
                    <a:pt x="397" y="96"/>
                  </a:lnTo>
                  <a:lnTo>
                    <a:pt x="380" y="63"/>
                  </a:lnTo>
                  <a:lnTo>
                    <a:pt x="380" y="15"/>
                  </a:lnTo>
                  <a:lnTo>
                    <a:pt x="380" y="0"/>
                  </a:lnTo>
                  <a:lnTo>
                    <a:pt x="362" y="0"/>
                  </a:lnTo>
                  <a:lnTo>
                    <a:pt x="345" y="15"/>
                  </a:lnTo>
                  <a:lnTo>
                    <a:pt x="293" y="30"/>
                  </a:lnTo>
                  <a:lnTo>
                    <a:pt x="241" y="15"/>
                  </a:lnTo>
                  <a:lnTo>
                    <a:pt x="259" y="30"/>
                  </a:lnTo>
                  <a:lnTo>
                    <a:pt x="259" y="63"/>
                  </a:lnTo>
                  <a:lnTo>
                    <a:pt x="276" y="78"/>
                  </a:lnTo>
                  <a:lnTo>
                    <a:pt x="224" y="111"/>
                  </a:lnTo>
                  <a:lnTo>
                    <a:pt x="207" y="111"/>
                  </a:lnTo>
                  <a:lnTo>
                    <a:pt x="190" y="96"/>
                  </a:lnTo>
                  <a:lnTo>
                    <a:pt x="172" y="78"/>
                  </a:lnTo>
                  <a:lnTo>
                    <a:pt x="103" y="78"/>
                  </a:lnTo>
                  <a:lnTo>
                    <a:pt x="103" y="96"/>
                  </a:lnTo>
                  <a:lnTo>
                    <a:pt x="120" y="111"/>
                  </a:lnTo>
                  <a:lnTo>
                    <a:pt x="103" y="111"/>
                  </a:lnTo>
                  <a:lnTo>
                    <a:pt x="120" y="159"/>
                  </a:lnTo>
                  <a:lnTo>
                    <a:pt x="103" y="222"/>
                  </a:lnTo>
                  <a:lnTo>
                    <a:pt x="34" y="255"/>
                  </a:lnTo>
                  <a:lnTo>
                    <a:pt x="0" y="318"/>
                  </a:lnTo>
                  <a:lnTo>
                    <a:pt x="17" y="366"/>
                  </a:lnTo>
                  <a:lnTo>
                    <a:pt x="51" y="383"/>
                  </a:lnTo>
                  <a:lnTo>
                    <a:pt x="86" y="366"/>
                  </a:lnTo>
                  <a:lnTo>
                    <a:pt x="86" y="399"/>
                  </a:lnTo>
                  <a:lnTo>
                    <a:pt x="120" y="399"/>
                  </a:lnTo>
                  <a:lnTo>
                    <a:pt x="155" y="399"/>
                  </a:lnTo>
                  <a:lnTo>
                    <a:pt x="190" y="366"/>
                  </a:lnTo>
                  <a:lnTo>
                    <a:pt x="224" y="366"/>
                  </a:lnTo>
                  <a:lnTo>
                    <a:pt x="224" y="414"/>
                  </a:lnTo>
                  <a:lnTo>
                    <a:pt x="241" y="431"/>
                  </a:lnTo>
                  <a:lnTo>
                    <a:pt x="345" y="462"/>
                  </a:lnTo>
                  <a:lnTo>
                    <a:pt x="362" y="495"/>
                  </a:lnTo>
                  <a:lnTo>
                    <a:pt x="362" y="510"/>
                  </a:lnTo>
                  <a:lnTo>
                    <a:pt x="380" y="543"/>
                  </a:lnTo>
                  <a:lnTo>
                    <a:pt x="414" y="543"/>
                  </a:lnTo>
                  <a:lnTo>
                    <a:pt x="414" y="558"/>
                  </a:lnTo>
                  <a:lnTo>
                    <a:pt x="431" y="591"/>
                  </a:lnTo>
                  <a:lnTo>
                    <a:pt x="431" y="639"/>
                  </a:lnTo>
                  <a:lnTo>
                    <a:pt x="431" y="687"/>
                  </a:lnTo>
                  <a:lnTo>
                    <a:pt x="483" y="702"/>
                  </a:lnTo>
                  <a:lnTo>
                    <a:pt x="501" y="702"/>
                  </a:lnTo>
                  <a:lnTo>
                    <a:pt x="501" y="735"/>
                  </a:lnTo>
                  <a:lnTo>
                    <a:pt x="535" y="750"/>
                  </a:lnTo>
                  <a:lnTo>
                    <a:pt x="518" y="783"/>
                  </a:lnTo>
                  <a:lnTo>
                    <a:pt x="535" y="783"/>
                  </a:lnTo>
                  <a:lnTo>
                    <a:pt x="552" y="830"/>
                  </a:lnTo>
                  <a:lnTo>
                    <a:pt x="518" y="846"/>
                  </a:lnTo>
                  <a:lnTo>
                    <a:pt x="449" y="926"/>
                  </a:lnTo>
                  <a:lnTo>
                    <a:pt x="466" y="926"/>
                  </a:lnTo>
                  <a:lnTo>
                    <a:pt x="483" y="942"/>
                  </a:lnTo>
                  <a:lnTo>
                    <a:pt x="501" y="942"/>
                  </a:lnTo>
                  <a:lnTo>
                    <a:pt x="552" y="974"/>
                  </a:lnTo>
                  <a:lnTo>
                    <a:pt x="570" y="990"/>
                  </a:lnTo>
                  <a:lnTo>
                    <a:pt x="552" y="1022"/>
                  </a:lnTo>
                  <a:lnTo>
                    <a:pt x="587" y="990"/>
                  </a:lnTo>
                  <a:lnTo>
                    <a:pt x="623" y="959"/>
                  </a:lnTo>
                  <a:lnTo>
                    <a:pt x="658" y="894"/>
                  </a:lnTo>
                  <a:lnTo>
                    <a:pt x="693" y="863"/>
                  </a:lnTo>
                  <a:lnTo>
                    <a:pt x="693" y="798"/>
                  </a:lnTo>
                  <a:lnTo>
                    <a:pt x="710" y="767"/>
                  </a:lnTo>
                  <a:lnTo>
                    <a:pt x="744" y="750"/>
                  </a:lnTo>
                  <a:lnTo>
                    <a:pt x="796" y="719"/>
                  </a:lnTo>
                  <a:lnTo>
                    <a:pt x="865" y="719"/>
                  </a:lnTo>
                  <a:lnTo>
                    <a:pt x="865" y="702"/>
                  </a:lnTo>
                  <a:lnTo>
                    <a:pt x="900" y="687"/>
                  </a:lnTo>
                  <a:lnTo>
                    <a:pt x="900" y="671"/>
                  </a:lnTo>
                  <a:lnTo>
                    <a:pt x="934" y="623"/>
                  </a:lnTo>
                  <a:lnTo>
                    <a:pt x="934" y="591"/>
                  </a:lnTo>
                  <a:lnTo>
                    <a:pt x="952" y="575"/>
                  </a:lnTo>
                  <a:lnTo>
                    <a:pt x="952" y="462"/>
                  </a:lnTo>
                  <a:lnTo>
                    <a:pt x="1038" y="366"/>
                  </a:lnTo>
                  <a:lnTo>
                    <a:pt x="1073" y="318"/>
                  </a:lnTo>
                  <a:lnTo>
                    <a:pt x="1055" y="255"/>
                  </a:lnTo>
                  <a:lnTo>
                    <a:pt x="1004" y="255"/>
                  </a:lnTo>
                  <a:lnTo>
                    <a:pt x="917" y="191"/>
                  </a:lnTo>
                  <a:lnTo>
                    <a:pt x="883" y="207"/>
                  </a:lnTo>
                  <a:lnTo>
                    <a:pt x="831" y="191"/>
                  </a:lnTo>
                  <a:lnTo>
                    <a:pt x="796" y="191"/>
                  </a:lnTo>
                  <a:lnTo>
                    <a:pt x="796" y="174"/>
                  </a:lnTo>
                  <a:lnTo>
                    <a:pt x="796" y="159"/>
                  </a:lnTo>
                  <a:lnTo>
                    <a:pt x="779" y="159"/>
                  </a:lnTo>
                  <a:lnTo>
                    <a:pt x="710" y="144"/>
                  </a:lnTo>
                  <a:lnTo>
                    <a:pt x="693" y="159"/>
                  </a:lnTo>
                  <a:lnTo>
                    <a:pt x="693" y="126"/>
                  </a:lnTo>
                  <a:lnTo>
                    <a:pt x="675" y="126"/>
                  </a:lnTo>
                  <a:lnTo>
                    <a:pt x="641" y="126"/>
                  </a:lnTo>
                  <a:lnTo>
                    <a:pt x="641" y="159"/>
                  </a:lnTo>
                  <a:lnTo>
                    <a:pt x="623" y="144"/>
                  </a:lnTo>
                  <a:lnTo>
                    <a:pt x="606" y="159"/>
                  </a:lnTo>
                  <a:lnTo>
                    <a:pt x="623" y="126"/>
                  </a:lnTo>
                  <a:lnTo>
                    <a:pt x="658" y="96"/>
                  </a:lnTo>
                  <a:lnTo>
                    <a:pt x="658" y="78"/>
                  </a:lnTo>
                  <a:lnTo>
                    <a:pt x="641" y="78"/>
                  </a:lnTo>
                  <a:lnTo>
                    <a:pt x="623" y="30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9" name="Freeform 84">
              <a:extLst>
                <a:ext uri="{FF2B5EF4-FFF2-40B4-BE49-F238E27FC236}">
                  <a16:creationId xmlns:a16="http://schemas.microsoft.com/office/drawing/2014/main" id="{03EA8ACF-4D44-6A2F-EE5E-A60B6901BC42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2976665" y="4096793"/>
              <a:ext cx="616000" cy="396601"/>
            </a:xfrm>
            <a:custGeom>
              <a:avLst/>
              <a:gdLst>
                <a:gd name="T0" fmla="*/ 107156 w 814"/>
                <a:gd name="T1" fmla="*/ 38023 h 497"/>
                <a:gd name="T2" fmla="*/ 103188 w 814"/>
                <a:gd name="T3" fmla="*/ 57035 h 497"/>
                <a:gd name="T4" fmla="*/ 107156 w 814"/>
                <a:gd name="T5" fmla="*/ 63372 h 497"/>
                <a:gd name="T6" fmla="*/ 123825 w 814"/>
                <a:gd name="T7" fmla="*/ 79215 h 497"/>
                <a:gd name="T8" fmla="*/ 141288 w 814"/>
                <a:gd name="T9" fmla="*/ 76047 h 497"/>
                <a:gd name="T10" fmla="*/ 141288 w 814"/>
                <a:gd name="T11" fmla="*/ 72878 h 497"/>
                <a:gd name="T12" fmla="*/ 148431 w 814"/>
                <a:gd name="T13" fmla="*/ 63372 h 497"/>
                <a:gd name="T14" fmla="*/ 161925 w 814"/>
                <a:gd name="T15" fmla="*/ 63372 h 497"/>
                <a:gd name="T16" fmla="*/ 157956 w 814"/>
                <a:gd name="T17" fmla="*/ 79215 h 497"/>
                <a:gd name="T18" fmla="*/ 151606 w 814"/>
                <a:gd name="T19" fmla="*/ 79215 h 497"/>
                <a:gd name="T20" fmla="*/ 138113 w 814"/>
                <a:gd name="T21" fmla="*/ 82384 h 497"/>
                <a:gd name="T22" fmla="*/ 138113 w 814"/>
                <a:gd name="T23" fmla="*/ 88721 h 497"/>
                <a:gd name="T24" fmla="*/ 123825 w 814"/>
                <a:gd name="T25" fmla="*/ 88721 h 497"/>
                <a:gd name="T26" fmla="*/ 113506 w 814"/>
                <a:gd name="T27" fmla="*/ 91890 h 497"/>
                <a:gd name="T28" fmla="*/ 85725 w 814"/>
                <a:gd name="T29" fmla="*/ 82384 h 497"/>
                <a:gd name="T30" fmla="*/ 73025 w 814"/>
                <a:gd name="T31" fmla="*/ 79215 h 497"/>
                <a:gd name="T32" fmla="*/ 62706 w 814"/>
                <a:gd name="T33" fmla="*/ 66541 h 497"/>
                <a:gd name="T34" fmla="*/ 62706 w 814"/>
                <a:gd name="T35" fmla="*/ 57035 h 497"/>
                <a:gd name="T36" fmla="*/ 40481 w 814"/>
                <a:gd name="T37" fmla="*/ 38023 h 497"/>
                <a:gd name="T38" fmla="*/ 34925 w 814"/>
                <a:gd name="T39" fmla="*/ 28518 h 497"/>
                <a:gd name="T40" fmla="*/ 30956 w 814"/>
                <a:gd name="T41" fmla="*/ 25349 h 497"/>
                <a:gd name="T42" fmla="*/ 19844 w 814"/>
                <a:gd name="T43" fmla="*/ 6337 h 497"/>
                <a:gd name="T44" fmla="*/ 10319 w 814"/>
                <a:gd name="T45" fmla="*/ 3169 h 497"/>
                <a:gd name="T46" fmla="*/ 30956 w 814"/>
                <a:gd name="T47" fmla="*/ 34855 h 497"/>
                <a:gd name="T48" fmla="*/ 38100 w 814"/>
                <a:gd name="T49" fmla="*/ 47529 h 497"/>
                <a:gd name="T50" fmla="*/ 38100 w 814"/>
                <a:gd name="T51" fmla="*/ 53866 h 497"/>
                <a:gd name="T52" fmla="*/ 23813 w 814"/>
                <a:gd name="T53" fmla="*/ 44361 h 497"/>
                <a:gd name="T54" fmla="*/ 23813 w 814"/>
                <a:gd name="T55" fmla="*/ 34855 h 497"/>
                <a:gd name="T56" fmla="*/ 10319 w 814"/>
                <a:gd name="T57" fmla="*/ 25349 h 497"/>
                <a:gd name="T58" fmla="*/ 17463 w 814"/>
                <a:gd name="T59" fmla="*/ 22180 h 497"/>
                <a:gd name="T60" fmla="*/ 0 w 814"/>
                <a:gd name="T61" fmla="*/ 0 h 497"/>
                <a:gd name="T62" fmla="*/ 30956 w 814"/>
                <a:gd name="T63" fmla="*/ 6337 h 497"/>
                <a:gd name="T64" fmla="*/ 65881 w 814"/>
                <a:gd name="T65" fmla="*/ 9506 h 497"/>
                <a:gd name="T66" fmla="*/ 73025 w 814"/>
                <a:gd name="T67" fmla="*/ 19012 h 497"/>
                <a:gd name="T68" fmla="*/ 79375 w 814"/>
                <a:gd name="T69" fmla="*/ 15843 h 497"/>
                <a:gd name="T70" fmla="*/ 96044 w 814"/>
                <a:gd name="T71" fmla="*/ 34855 h 49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814"/>
                <a:gd name="T109" fmla="*/ 0 h 497"/>
                <a:gd name="T110" fmla="*/ 814 w 814"/>
                <a:gd name="T111" fmla="*/ 497 h 497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814" h="497">
                  <a:moveTo>
                    <a:pt x="537" y="192"/>
                  </a:moveTo>
                  <a:lnTo>
                    <a:pt x="537" y="192"/>
                  </a:lnTo>
                  <a:lnTo>
                    <a:pt x="520" y="224"/>
                  </a:lnTo>
                  <a:lnTo>
                    <a:pt x="520" y="288"/>
                  </a:lnTo>
                  <a:lnTo>
                    <a:pt x="537" y="305"/>
                  </a:lnTo>
                  <a:lnTo>
                    <a:pt x="537" y="320"/>
                  </a:lnTo>
                  <a:lnTo>
                    <a:pt x="572" y="384"/>
                  </a:lnTo>
                  <a:lnTo>
                    <a:pt x="624" y="401"/>
                  </a:lnTo>
                  <a:lnTo>
                    <a:pt x="676" y="384"/>
                  </a:lnTo>
                  <a:lnTo>
                    <a:pt x="710" y="384"/>
                  </a:lnTo>
                  <a:lnTo>
                    <a:pt x="693" y="384"/>
                  </a:lnTo>
                  <a:lnTo>
                    <a:pt x="710" y="368"/>
                  </a:lnTo>
                  <a:lnTo>
                    <a:pt x="727" y="320"/>
                  </a:lnTo>
                  <a:lnTo>
                    <a:pt x="745" y="320"/>
                  </a:lnTo>
                  <a:lnTo>
                    <a:pt x="796" y="305"/>
                  </a:lnTo>
                  <a:lnTo>
                    <a:pt x="814" y="320"/>
                  </a:lnTo>
                  <a:lnTo>
                    <a:pt x="796" y="384"/>
                  </a:lnTo>
                  <a:lnTo>
                    <a:pt x="796" y="401"/>
                  </a:lnTo>
                  <a:lnTo>
                    <a:pt x="779" y="384"/>
                  </a:lnTo>
                  <a:lnTo>
                    <a:pt x="762" y="401"/>
                  </a:lnTo>
                  <a:lnTo>
                    <a:pt x="710" y="401"/>
                  </a:lnTo>
                  <a:lnTo>
                    <a:pt x="693" y="416"/>
                  </a:lnTo>
                  <a:lnTo>
                    <a:pt x="727" y="449"/>
                  </a:lnTo>
                  <a:lnTo>
                    <a:pt x="693" y="449"/>
                  </a:lnTo>
                  <a:lnTo>
                    <a:pt x="676" y="497"/>
                  </a:lnTo>
                  <a:lnTo>
                    <a:pt x="624" y="449"/>
                  </a:lnTo>
                  <a:lnTo>
                    <a:pt x="589" y="449"/>
                  </a:lnTo>
                  <a:lnTo>
                    <a:pt x="572" y="464"/>
                  </a:lnTo>
                  <a:lnTo>
                    <a:pt x="520" y="449"/>
                  </a:lnTo>
                  <a:lnTo>
                    <a:pt x="434" y="416"/>
                  </a:lnTo>
                  <a:lnTo>
                    <a:pt x="416" y="401"/>
                  </a:lnTo>
                  <a:lnTo>
                    <a:pt x="365" y="401"/>
                  </a:lnTo>
                  <a:lnTo>
                    <a:pt x="330" y="368"/>
                  </a:lnTo>
                  <a:lnTo>
                    <a:pt x="313" y="336"/>
                  </a:lnTo>
                  <a:lnTo>
                    <a:pt x="330" y="320"/>
                  </a:lnTo>
                  <a:lnTo>
                    <a:pt x="313" y="288"/>
                  </a:lnTo>
                  <a:lnTo>
                    <a:pt x="244" y="209"/>
                  </a:lnTo>
                  <a:lnTo>
                    <a:pt x="207" y="192"/>
                  </a:lnTo>
                  <a:lnTo>
                    <a:pt x="207" y="176"/>
                  </a:lnTo>
                  <a:lnTo>
                    <a:pt x="173" y="144"/>
                  </a:lnTo>
                  <a:lnTo>
                    <a:pt x="173" y="128"/>
                  </a:lnTo>
                  <a:lnTo>
                    <a:pt x="155" y="128"/>
                  </a:lnTo>
                  <a:lnTo>
                    <a:pt x="138" y="96"/>
                  </a:lnTo>
                  <a:lnTo>
                    <a:pt x="103" y="32"/>
                  </a:lnTo>
                  <a:lnTo>
                    <a:pt x="86" y="32"/>
                  </a:lnTo>
                  <a:lnTo>
                    <a:pt x="52" y="17"/>
                  </a:lnTo>
                  <a:lnTo>
                    <a:pt x="69" y="65"/>
                  </a:lnTo>
                  <a:lnTo>
                    <a:pt x="155" y="176"/>
                  </a:lnTo>
                  <a:lnTo>
                    <a:pt x="173" y="240"/>
                  </a:lnTo>
                  <a:lnTo>
                    <a:pt x="190" y="240"/>
                  </a:lnTo>
                  <a:lnTo>
                    <a:pt x="207" y="257"/>
                  </a:lnTo>
                  <a:lnTo>
                    <a:pt x="190" y="272"/>
                  </a:lnTo>
                  <a:lnTo>
                    <a:pt x="173" y="257"/>
                  </a:lnTo>
                  <a:lnTo>
                    <a:pt x="121" y="224"/>
                  </a:lnTo>
                  <a:lnTo>
                    <a:pt x="138" y="209"/>
                  </a:lnTo>
                  <a:lnTo>
                    <a:pt x="121" y="176"/>
                  </a:lnTo>
                  <a:lnTo>
                    <a:pt x="69" y="161"/>
                  </a:lnTo>
                  <a:lnTo>
                    <a:pt x="52" y="128"/>
                  </a:lnTo>
                  <a:lnTo>
                    <a:pt x="69" y="144"/>
                  </a:lnTo>
                  <a:lnTo>
                    <a:pt x="86" y="113"/>
                  </a:lnTo>
                  <a:lnTo>
                    <a:pt x="34" y="80"/>
                  </a:lnTo>
                  <a:lnTo>
                    <a:pt x="0" y="0"/>
                  </a:lnTo>
                  <a:lnTo>
                    <a:pt x="52" y="0"/>
                  </a:lnTo>
                  <a:lnTo>
                    <a:pt x="155" y="32"/>
                  </a:lnTo>
                  <a:lnTo>
                    <a:pt x="295" y="17"/>
                  </a:lnTo>
                  <a:lnTo>
                    <a:pt x="330" y="48"/>
                  </a:lnTo>
                  <a:lnTo>
                    <a:pt x="330" y="80"/>
                  </a:lnTo>
                  <a:lnTo>
                    <a:pt x="365" y="96"/>
                  </a:lnTo>
                  <a:lnTo>
                    <a:pt x="382" y="96"/>
                  </a:lnTo>
                  <a:lnTo>
                    <a:pt x="399" y="80"/>
                  </a:lnTo>
                  <a:lnTo>
                    <a:pt x="416" y="80"/>
                  </a:lnTo>
                  <a:lnTo>
                    <a:pt x="485" y="176"/>
                  </a:lnTo>
                  <a:lnTo>
                    <a:pt x="537" y="192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0" name="Freeform 152">
              <a:extLst>
                <a:ext uri="{FF2B5EF4-FFF2-40B4-BE49-F238E27FC236}">
                  <a16:creationId xmlns:a16="http://schemas.microsoft.com/office/drawing/2014/main" id="{9C56BBC9-8051-00F0-EDA3-D89142F6A056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7466684" y="4650036"/>
              <a:ext cx="78772" cy="114982"/>
            </a:xfrm>
            <a:custGeom>
              <a:avLst/>
              <a:gdLst>
                <a:gd name="T0" fmla="*/ 10319 w 104"/>
                <a:gd name="T1" fmla="*/ 2381 h 144"/>
                <a:gd name="T2" fmla="*/ 10319 w 104"/>
                <a:gd name="T3" fmla="*/ 2381 h 144"/>
                <a:gd name="T4" fmla="*/ 7144 w 104"/>
                <a:gd name="T5" fmla="*/ 5556 h 144"/>
                <a:gd name="T6" fmla="*/ 3969 w 104"/>
                <a:gd name="T7" fmla="*/ 2381 h 144"/>
                <a:gd name="T8" fmla="*/ 0 w 104"/>
                <a:gd name="T9" fmla="*/ 0 h 144"/>
                <a:gd name="T10" fmla="*/ 0 w 104"/>
                <a:gd name="T11" fmla="*/ 2381 h 144"/>
                <a:gd name="T12" fmla="*/ 0 w 104"/>
                <a:gd name="T13" fmla="*/ 11906 h 144"/>
                <a:gd name="T14" fmla="*/ 7144 w 104"/>
                <a:gd name="T15" fmla="*/ 19050 h 144"/>
                <a:gd name="T16" fmla="*/ 17463 w 104"/>
                <a:gd name="T17" fmla="*/ 28575 h 144"/>
                <a:gd name="T18" fmla="*/ 20638 w 104"/>
                <a:gd name="T19" fmla="*/ 28575 h 144"/>
                <a:gd name="T20" fmla="*/ 17463 w 104"/>
                <a:gd name="T21" fmla="*/ 19050 h 144"/>
                <a:gd name="T22" fmla="*/ 17463 w 104"/>
                <a:gd name="T23" fmla="*/ 9525 h 144"/>
                <a:gd name="T24" fmla="*/ 10319 w 104"/>
                <a:gd name="T25" fmla="*/ 2381 h 14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04"/>
                <a:gd name="T40" fmla="*/ 0 h 144"/>
                <a:gd name="T41" fmla="*/ 104 w 104"/>
                <a:gd name="T42" fmla="*/ 144 h 14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04" h="144">
                  <a:moveTo>
                    <a:pt x="52" y="15"/>
                  </a:moveTo>
                  <a:lnTo>
                    <a:pt x="52" y="15"/>
                  </a:lnTo>
                  <a:lnTo>
                    <a:pt x="35" y="30"/>
                  </a:lnTo>
                  <a:lnTo>
                    <a:pt x="18" y="15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63"/>
                  </a:lnTo>
                  <a:lnTo>
                    <a:pt x="35" y="96"/>
                  </a:lnTo>
                  <a:lnTo>
                    <a:pt x="87" y="144"/>
                  </a:lnTo>
                  <a:lnTo>
                    <a:pt x="104" y="144"/>
                  </a:lnTo>
                  <a:lnTo>
                    <a:pt x="87" y="96"/>
                  </a:lnTo>
                  <a:lnTo>
                    <a:pt x="87" y="48"/>
                  </a:lnTo>
                  <a:lnTo>
                    <a:pt x="52" y="15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1" name="Freeform 156">
              <a:extLst>
                <a:ext uri="{FF2B5EF4-FFF2-40B4-BE49-F238E27FC236}">
                  <a16:creationId xmlns:a16="http://schemas.microsoft.com/office/drawing/2014/main" id="{F8650529-99C3-4975-9914-E13B72C2011C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8002335" y="3946818"/>
              <a:ext cx="66169" cy="101650"/>
            </a:xfrm>
            <a:custGeom>
              <a:avLst/>
              <a:gdLst>
                <a:gd name="T0" fmla="*/ 0 w 86"/>
                <a:gd name="T1" fmla="*/ 6350 h 128"/>
                <a:gd name="T2" fmla="*/ 0 w 86"/>
                <a:gd name="T3" fmla="*/ 6350 h 128"/>
                <a:gd name="T4" fmla="*/ 9525 w 86"/>
                <a:gd name="T5" fmla="*/ 0 h 128"/>
                <a:gd name="T6" fmla="*/ 14288 w 86"/>
                <a:gd name="T7" fmla="*/ 6350 h 128"/>
                <a:gd name="T8" fmla="*/ 17463 w 86"/>
                <a:gd name="T9" fmla="*/ 15875 h 128"/>
                <a:gd name="T10" fmla="*/ 14288 w 86"/>
                <a:gd name="T11" fmla="*/ 22225 h 128"/>
                <a:gd name="T12" fmla="*/ 0 w 86"/>
                <a:gd name="T13" fmla="*/ 25400 h 128"/>
                <a:gd name="T14" fmla="*/ 0 w 86"/>
                <a:gd name="T15" fmla="*/ 22225 h 128"/>
                <a:gd name="T16" fmla="*/ 0 w 86"/>
                <a:gd name="T17" fmla="*/ 19050 h 128"/>
                <a:gd name="T18" fmla="*/ 0 w 86"/>
                <a:gd name="T19" fmla="*/ 9525 h 128"/>
                <a:gd name="T20" fmla="*/ 0 w 86"/>
                <a:gd name="T21" fmla="*/ 6350 h 12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6"/>
                <a:gd name="T34" fmla="*/ 0 h 128"/>
                <a:gd name="T35" fmla="*/ 86 w 86"/>
                <a:gd name="T36" fmla="*/ 128 h 12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6" h="128">
                  <a:moveTo>
                    <a:pt x="0" y="32"/>
                  </a:moveTo>
                  <a:lnTo>
                    <a:pt x="0" y="32"/>
                  </a:lnTo>
                  <a:lnTo>
                    <a:pt x="51" y="0"/>
                  </a:lnTo>
                  <a:lnTo>
                    <a:pt x="69" y="32"/>
                  </a:lnTo>
                  <a:lnTo>
                    <a:pt x="86" y="80"/>
                  </a:lnTo>
                  <a:lnTo>
                    <a:pt x="69" y="113"/>
                  </a:lnTo>
                  <a:lnTo>
                    <a:pt x="0" y="128"/>
                  </a:lnTo>
                  <a:lnTo>
                    <a:pt x="0" y="113"/>
                  </a:lnTo>
                  <a:lnTo>
                    <a:pt x="0" y="96"/>
                  </a:lnTo>
                  <a:lnTo>
                    <a:pt x="0" y="48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2" name="Freeform 203">
              <a:extLst>
                <a:ext uri="{FF2B5EF4-FFF2-40B4-BE49-F238E27FC236}">
                  <a16:creationId xmlns:a16="http://schemas.microsoft.com/office/drawing/2014/main" id="{497DDB5D-8F5D-96F6-23B1-5DD8A213FA90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5921172" y="3856833"/>
              <a:ext cx="392285" cy="153308"/>
            </a:xfrm>
            <a:custGeom>
              <a:avLst/>
              <a:gdLst>
                <a:gd name="T0" fmla="*/ 103188 w 520"/>
                <a:gd name="T1" fmla="*/ 12766 h 191"/>
                <a:gd name="T2" fmla="*/ 103188 w 520"/>
                <a:gd name="T3" fmla="*/ 12766 h 191"/>
                <a:gd name="T4" fmla="*/ 99219 w 520"/>
                <a:gd name="T5" fmla="*/ 12766 h 191"/>
                <a:gd name="T6" fmla="*/ 96044 w 520"/>
                <a:gd name="T7" fmla="*/ 3192 h 191"/>
                <a:gd name="T8" fmla="*/ 85725 w 520"/>
                <a:gd name="T9" fmla="*/ 3192 h 191"/>
                <a:gd name="T10" fmla="*/ 75406 w 520"/>
                <a:gd name="T11" fmla="*/ 6383 h 191"/>
                <a:gd name="T12" fmla="*/ 61912 w 520"/>
                <a:gd name="T13" fmla="*/ 6383 h 191"/>
                <a:gd name="T14" fmla="*/ 51594 w 520"/>
                <a:gd name="T15" fmla="*/ 0 h 191"/>
                <a:gd name="T16" fmla="*/ 41275 w 520"/>
                <a:gd name="T17" fmla="*/ 0 h 191"/>
                <a:gd name="T18" fmla="*/ 30956 w 520"/>
                <a:gd name="T19" fmla="*/ 6383 h 191"/>
                <a:gd name="T20" fmla="*/ 23812 w 520"/>
                <a:gd name="T21" fmla="*/ 6383 h 191"/>
                <a:gd name="T22" fmla="*/ 17462 w 520"/>
                <a:gd name="T23" fmla="*/ 6383 h 191"/>
                <a:gd name="T24" fmla="*/ 13494 w 520"/>
                <a:gd name="T25" fmla="*/ 0 h 191"/>
                <a:gd name="T26" fmla="*/ 7144 w 520"/>
                <a:gd name="T27" fmla="*/ 0 h 191"/>
                <a:gd name="T28" fmla="*/ 3175 w 520"/>
                <a:gd name="T29" fmla="*/ 3192 h 191"/>
                <a:gd name="T30" fmla="*/ 0 w 520"/>
                <a:gd name="T31" fmla="*/ 9575 h 191"/>
                <a:gd name="T32" fmla="*/ 3175 w 520"/>
                <a:gd name="T33" fmla="*/ 9575 h 191"/>
                <a:gd name="T34" fmla="*/ 3175 w 520"/>
                <a:gd name="T35" fmla="*/ 12766 h 191"/>
                <a:gd name="T36" fmla="*/ 10319 w 520"/>
                <a:gd name="T37" fmla="*/ 6383 h 191"/>
                <a:gd name="T38" fmla="*/ 17462 w 520"/>
                <a:gd name="T39" fmla="*/ 6383 h 191"/>
                <a:gd name="T40" fmla="*/ 20637 w 520"/>
                <a:gd name="T41" fmla="*/ 9575 h 191"/>
                <a:gd name="T42" fmla="*/ 17462 w 520"/>
                <a:gd name="T43" fmla="*/ 9575 h 191"/>
                <a:gd name="T44" fmla="*/ 17462 w 520"/>
                <a:gd name="T45" fmla="*/ 12766 h 191"/>
                <a:gd name="T46" fmla="*/ 7144 w 520"/>
                <a:gd name="T47" fmla="*/ 12766 h 191"/>
                <a:gd name="T48" fmla="*/ 3175 w 520"/>
                <a:gd name="T49" fmla="*/ 12766 h 191"/>
                <a:gd name="T50" fmla="*/ 3175 w 520"/>
                <a:gd name="T51" fmla="*/ 19150 h 191"/>
                <a:gd name="T52" fmla="*/ 7144 w 520"/>
                <a:gd name="T53" fmla="*/ 15958 h 191"/>
                <a:gd name="T54" fmla="*/ 7144 w 520"/>
                <a:gd name="T55" fmla="*/ 22341 h 191"/>
                <a:gd name="T56" fmla="*/ 3175 w 520"/>
                <a:gd name="T57" fmla="*/ 22341 h 191"/>
                <a:gd name="T58" fmla="*/ 3175 w 520"/>
                <a:gd name="T59" fmla="*/ 25533 h 191"/>
                <a:gd name="T60" fmla="*/ 7144 w 520"/>
                <a:gd name="T61" fmla="*/ 25533 h 191"/>
                <a:gd name="T62" fmla="*/ 7144 w 520"/>
                <a:gd name="T63" fmla="*/ 28725 h 191"/>
                <a:gd name="T64" fmla="*/ 10319 w 520"/>
                <a:gd name="T65" fmla="*/ 31916 h 191"/>
                <a:gd name="T66" fmla="*/ 7144 w 520"/>
                <a:gd name="T67" fmla="*/ 31916 h 191"/>
                <a:gd name="T68" fmla="*/ 13494 w 520"/>
                <a:gd name="T69" fmla="*/ 31916 h 191"/>
                <a:gd name="T70" fmla="*/ 13494 w 520"/>
                <a:gd name="T71" fmla="*/ 35108 h 191"/>
                <a:gd name="T72" fmla="*/ 20637 w 520"/>
                <a:gd name="T73" fmla="*/ 38299 h 191"/>
                <a:gd name="T74" fmla="*/ 27781 w 520"/>
                <a:gd name="T75" fmla="*/ 35108 h 191"/>
                <a:gd name="T76" fmla="*/ 30956 w 520"/>
                <a:gd name="T77" fmla="*/ 35108 h 191"/>
                <a:gd name="T78" fmla="*/ 38100 w 520"/>
                <a:gd name="T79" fmla="*/ 38299 h 191"/>
                <a:gd name="T80" fmla="*/ 41275 w 520"/>
                <a:gd name="T81" fmla="*/ 38299 h 191"/>
                <a:gd name="T82" fmla="*/ 48419 w 520"/>
                <a:gd name="T83" fmla="*/ 35108 h 191"/>
                <a:gd name="T84" fmla="*/ 54769 w 520"/>
                <a:gd name="T85" fmla="*/ 35108 h 191"/>
                <a:gd name="T86" fmla="*/ 54769 w 520"/>
                <a:gd name="T87" fmla="*/ 31916 h 191"/>
                <a:gd name="T88" fmla="*/ 54769 w 520"/>
                <a:gd name="T89" fmla="*/ 38299 h 191"/>
                <a:gd name="T90" fmla="*/ 57944 w 520"/>
                <a:gd name="T91" fmla="*/ 38299 h 191"/>
                <a:gd name="T92" fmla="*/ 57944 w 520"/>
                <a:gd name="T93" fmla="*/ 35108 h 191"/>
                <a:gd name="T94" fmla="*/ 68262 w 520"/>
                <a:gd name="T95" fmla="*/ 31916 h 191"/>
                <a:gd name="T96" fmla="*/ 72231 w 520"/>
                <a:gd name="T97" fmla="*/ 35108 h 191"/>
                <a:gd name="T98" fmla="*/ 82550 w 520"/>
                <a:gd name="T99" fmla="*/ 31916 h 191"/>
                <a:gd name="T100" fmla="*/ 92869 w 520"/>
                <a:gd name="T101" fmla="*/ 31916 h 191"/>
                <a:gd name="T102" fmla="*/ 92869 w 520"/>
                <a:gd name="T103" fmla="*/ 28725 h 191"/>
                <a:gd name="T104" fmla="*/ 103188 w 520"/>
                <a:gd name="T105" fmla="*/ 31916 h 191"/>
                <a:gd name="T106" fmla="*/ 99219 w 520"/>
                <a:gd name="T107" fmla="*/ 15958 h 191"/>
                <a:gd name="T108" fmla="*/ 103188 w 520"/>
                <a:gd name="T109" fmla="*/ 12766 h 19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20"/>
                <a:gd name="T166" fmla="*/ 0 h 191"/>
                <a:gd name="T167" fmla="*/ 520 w 520"/>
                <a:gd name="T168" fmla="*/ 191 h 191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20" h="191">
                  <a:moveTo>
                    <a:pt x="520" y="63"/>
                  </a:moveTo>
                  <a:lnTo>
                    <a:pt x="520" y="63"/>
                  </a:lnTo>
                  <a:lnTo>
                    <a:pt x="503" y="63"/>
                  </a:lnTo>
                  <a:lnTo>
                    <a:pt x="485" y="15"/>
                  </a:lnTo>
                  <a:lnTo>
                    <a:pt x="434" y="15"/>
                  </a:lnTo>
                  <a:lnTo>
                    <a:pt x="382" y="32"/>
                  </a:lnTo>
                  <a:lnTo>
                    <a:pt x="313" y="32"/>
                  </a:lnTo>
                  <a:lnTo>
                    <a:pt x="261" y="0"/>
                  </a:lnTo>
                  <a:lnTo>
                    <a:pt x="209" y="0"/>
                  </a:lnTo>
                  <a:lnTo>
                    <a:pt x="157" y="32"/>
                  </a:lnTo>
                  <a:lnTo>
                    <a:pt x="123" y="32"/>
                  </a:lnTo>
                  <a:lnTo>
                    <a:pt x="88" y="32"/>
                  </a:lnTo>
                  <a:lnTo>
                    <a:pt x="71" y="0"/>
                  </a:lnTo>
                  <a:lnTo>
                    <a:pt x="36" y="0"/>
                  </a:lnTo>
                  <a:lnTo>
                    <a:pt x="19" y="15"/>
                  </a:lnTo>
                  <a:lnTo>
                    <a:pt x="0" y="48"/>
                  </a:lnTo>
                  <a:lnTo>
                    <a:pt x="19" y="48"/>
                  </a:lnTo>
                  <a:lnTo>
                    <a:pt x="19" y="63"/>
                  </a:lnTo>
                  <a:lnTo>
                    <a:pt x="54" y="32"/>
                  </a:lnTo>
                  <a:lnTo>
                    <a:pt x="88" y="32"/>
                  </a:lnTo>
                  <a:lnTo>
                    <a:pt x="105" y="48"/>
                  </a:lnTo>
                  <a:lnTo>
                    <a:pt x="88" y="48"/>
                  </a:lnTo>
                  <a:lnTo>
                    <a:pt x="88" y="63"/>
                  </a:lnTo>
                  <a:lnTo>
                    <a:pt x="36" y="63"/>
                  </a:lnTo>
                  <a:lnTo>
                    <a:pt x="19" y="63"/>
                  </a:lnTo>
                  <a:lnTo>
                    <a:pt x="19" y="96"/>
                  </a:lnTo>
                  <a:lnTo>
                    <a:pt x="36" y="80"/>
                  </a:lnTo>
                  <a:lnTo>
                    <a:pt x="36" y="111"/>
                  </a:lnTo>
                  <a:lnTo>
                    <a:pt x="19" y="111"/>
                  </a:lnTo>
                  <a:lnTo>
                    <a:pt x="19" y="128"/>
                  </a:lnTo>
                  <a:lnTo>
                    <a:pt x="36" y="128"/>
                  </a:lnTo>
                  <a:lnTo>
                    <a:pt x="36" y="143"/>
                  </a:lnTo>
                  <a:lnTo>
                    <a:pt x="54" y="159"/>
                  </a:lnTo>
                  <a:lnTo>
                    <a:pt x="36" y="159"/>
                  </a:lnTo>
                  <a:lnTo>
                    <a:pt x="71" y="159"/>
                  </a:lnTo>
                  <a:lnTo>
                    <a:pt x="71" y="176"/>
                  </a:lnTo>
                  <a:lnTo>
                    <a:pt x="105" y="191"/>
                  </a:lnTo>
                  <a:lnTo>
                    <a:pt x="140" y="176"/>
                  </a:lnTo>
                  <a:lnTo>
                    <a:pt x="157" y="176"/>
                  </a:lnTo>
                  <a:lnTo>
                    <a:pt x="192" y="191"/>
                  </a:lnTo>
                  <a:lnTo>
                    <a:pt x="209" y="191"/>
                  </a:lnTo>
                  <a:lnTo>
                    <a:pt x="244" y="176"/>
                  </a:lnTo>
                  <a:lnTo>
                    <a:pt x="278" y="176"/>
                  </a:lnTo>
                  <a:lnTo>
                    <a:pt x="278" y="159"/>
                  </a:lnTo>
                  <a:lnTo>
                    <a:pt x="278" y="191"/>
                  </a:lnTo>
                  <a:lnTo>
                    <a:pt x="295" y="191"/>
                  </a:lnTo>
                  <a:lnTo>
                    <a:pt x="295" y="176"/>
                  </a:lnTo>
                  <a:lnTo>
                    <a:pt x="347" y="159"/>
                  </a:lnTo>
                  <a:lnTo>
                    <a:pt x="365" y="176"/>
                  </a:lnTo>
                  <a:lnTo>
                    <a:pt x="416" y="159"/>
                  </a:lnTo>
                  <a:lnTo>
                    <a:pt x="468" y="159"/>
                  </a:lnTo>
                  <a:lnTo>
                    <a:pt x="468" y="143"/>
                  </a:lnTo>
                  <a:lnTo>
                    <a:pt x="520" y="159"/>
                  </a:lnTo>
                  <a:lnTo>
                    <a:pt x="503" y="80"/>
                  </a:lnTo>
                  <a:lnTo>
                    <a:pt x="520" y="63"/>
                  </a:lnTo>
                </a:path>
              </a:pathLst>
            </a:custGeom>
            <a:solidFill>
              <a:schemeClr val="accent2">
                <a:lumMod val="75000"/>
              </a:schemeClr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3" name="Freeform 230">
              <a:extLst>
                <a:ext uri="{FF2B5EF4-FFF2-40B4-BE49-F238E27FC236}">
                  <a16:creationId xmlns:a16="http://schemas.microsoft.com/office/drawing/2014/main" id="{AF3121D9-873C-3DB1-5E60-CDFC0EEF0404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686431" y="3461898"/>
              <a:ext cx="195355" cy="193302"/>
            </a:xfrm>
            <a:custGeom>
              <a:avLst/>
              <a:gdLst>
                <a:gd name="T0" fmla="*/ 44622 w 259"/>
                <a:gd name="T1" fmla="*/ 47824 h 239"/>
                <a:gd name="T2" fmla="*/ 44622 w 259"/>
                <a:gd name="T3" fmla="*/ 47824 h 239"/>
                <a:gd name="T4" fmla="*/ 48606 w 259"/>
                <a:gd name="T5" fmla="*/ 41448 h 239"/>
                <a:gd name="T6" fmla="*/ 51793 w 259"/>
                <a:gd name="T7" fmla="*/ 38259 h 239"/>
                <a:gd name="T8" fmla="*/ 48606 w 259"/>
                <a:gd name="T9" fmla="*/ 28695 h 239"/>
                <a:gd name="T10" fmla="*/ 48606 w 259"/>
                <a:gd name="T11" fmla="*/ 22318 h 239"/>
                <a:gd name="T12" fmla="*/ 51793 w 259"/>
                <a:gd name="T13" fmla="*/ 15941 h 239"/>
                <a:gd name="T14" fmla="*/ 48606 w 259"/>
                <a:gd name="T15" fmla="*/ 9565 h 239"/>
                <a:gd name="T16" fmla="*/ 44622 w 259"/>
                <a:gd name="T17" fmla="*/ 6377 h 239"/>
                <a:gd name="T18" fmla="*/ 38247 w 259"/>
                <a:gd name="T19" fmla="*/ 6377 h 239"/>
                <a:gd name="T20" fmla="*/ 27889 w 259"/>
                <a:gd name="T21" fmla="*/ 3188 h 239"/>
                <a:gd name="T22" fmla="*/ 27889 w 259"/>
                <a:gd name="T23" fmla="*/ 6377 h 239"/>
                <a:gd name="T24" fmla="*/ 24701 w 259"/>
                <a:gd name="T25" fmla="*/ 6377 h 239"/>
                <a:gd name="T26" fmla="*/ 20717 w 259"/>
                <a:gd name="T27" fmla="*/ 0 h 239"/>
                <a:gd name="T28" fmla="*/ 0 w 259"/>
                <a:gd name="T29" fmla="*/ 9565 h 239"/>
                <a:gd name="T30" fmla="*/ 3984 w 259"/>
                <a:gd name="T31" fmla="*/ 35071 h 239"/>
                <a:gd name="T32" fmla="*/ 3984 w 259"/>
                <a:gd name="T33" fmla="*/ 31883 h 239"/>
                <a:gd name="T34" fmla="*/ 7171 w 259"/>
                <a:gd name="T35" fmla="*/ 35071 h 239"/>
                <a:gd name="T36" fmla="*/ 14343 w 259"/>
                <a:gd name="T37" fmla="*/ 38259 h 239"/>
                <a:gd name="T38" fmla="*/ 17530 w 259"/>
                <a:gd name="T39" fmla="*/ 38259 h 239"/>
                <a:gd name="T40" fmla="*/ 24701 w 259"/>
                <a:gd name="T41" fmla="*/ 44636 h 239"/>
                <a:gd name="T42" fmla="*/ 27889 w 259"/>
                <a:gd name="T43" fmla="*/ 44636 h 239"/>
                <a:gd name="T44" fmla="*/ 31076 w 259"/>
                <a:gd name="T45" fmla="*/ 47824 h 239"/>
                <a:gd name="T46" fmla="*/ 38247 w 259"/>
                <a:gd name="T47" fmla="*/ 44636 h 239"/>
                <a:gd name="T48" fmla="*/ 44622 w 259"/>
                <a:gd name="T49" fmla="*/ 47824 h 23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59"/>
                <a:gd name="T76" fmla="*/ 0 h 239"/>
                <a:gd name="T77" fmla="*/ 259 w 259"/>
                <a:gd name="T78" fmla="*/ 239 h 23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59" h="239">
                  <a:moveTo>
                    <a:pt x="224" y="239"/>
                  </a:moveTo>
                  <a:lnTo>
                    <a:pt x="224" y="239"/>
                  </a:lnTo>
                  <a:lnTo>
                    <a:pt x="242" y="207"/>
                  </a:lnTo>
                  <a:lnTo>
                    <a:pt x="259" y="191"/>
                  </a:lnTo>
                  <a:lnTo>
                    <a:pt x="242" y="143"/>
                  </a:lnTo>
                  <a:lnTo>
                    <a:pt x="242" y="111"/>
                  </a:lnTo>
                  <a:lnTo>
                    <a:pt x="259" y="78"/>
                  </a:lnTo>
                  <a:lnTo>
                    <a:pt x="242" y="47"/>
                  </a:lnTo>
                  <a:lnTo>
                    <a:pt x="224" y="30"/>
                  </a:lnTo>
                  <a:lnTo>
                    <a:pt x="190" y="30"/>
                  </a:lnTo>
                  <a:lnTo>
                    <a:pt x="138" y="15"/>
                  </a:lnTo>
                  <a:lnTo>
                    <a:pt x="138" y="30"/>
                  </a:lnTo>
                  <a:lnTo>
                    <a:pt x="121" y="30"/>
                  </a:lnTo>
                  <a:lnTo>
                    <a:pt x="103" y="0"/>
                  </a:lnTo>
                  <a:lnTo>
                    <a:pt x="0" y="47"/>
                  </a:lnTo>
                  <a:lnTo>
                    <a:pt x="17" y="174"/>
                  </a:lnTo>
                  <a:lnTo>
                    <a:pt x="17" y="159"/>
                  </a:lnTo>
                  <a:lnTo>
                    <a:pt x="34" y="174"/>
                  </a:lnTo>
                  <a:lnTo>
                    <a:pt x="69" y="191"/>
                  </a:lnTo>
                  <a:lnTo>
                    <a:pt x="86" y="191"/>
                  </a:lnTo>
                  <a:lnTo>
                    <a:pt x="121" y="222"/>
                  </a:lnTo>
                  <a:lnTo>
                    <a:pt x="138" y="222"/>
                  </a:lnTo>
                  <a:lnTo>
                    <a:pt x="155" y="239"/>
                  </a:lnTo>
                  <a:lnTo>
                    <a:pt x="190" y="222"/>
                  </a:lnTo>
                  <a:lnTo>
                    <a:pt x="224" y="239"/>
                  </a:lnTo>
                  <a:close/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4" name="Freeform 242">
              <a:extLst>
                <a:ext uri="{FF2B5EF4-FFF2-40B4-BE49-F238E27FC236}">
                  <a16:creationId xmlns:a16="http://schemas.microsoft.com/office/drawing/2014/main" id="{37E3710D-42E5-3D51-0BA3-7E92496AFE69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5202769" y="3808508"/>
              <a:ext cx="247344" cy="201633"/>
            </a:xfrm>
            <a:custGeom>
              <a:avLst/>
              <a:gdLst>
                <a:gd name="T0" fmla="*/ 3969 w 328"/>
                <a:gd name="T1" fmla="*/ 12650 h 255"/>
                <a:gd name="T2" fmla="*/ 3969 w 328"/>
                <a:gd name="T3" fmla="*/ 12650 h 255"/>
                <a:gd name="T4" fmla="*/ 16669 w 328"/>
                <a:gd name="T5" fmla="*/ 12650 h 255"/>
                <a:gd name="T6" fmla="*/ 16669 w 328"/>
                <a:gd name="T7" fmla="*/ 15022 h 255"/>
                <a:gd name="T8" fmla="*/ 14288 w 328"/>
                <a:gd name="T9" fmla="*/ 18975 h 255"/>
                <a:gd name="T10" fmla="*/ 14288 w 328"/>
                <a:gd name="T11" fmla="*/ 24510 h 255"/>
                <a:gd name="T12" fmla="*/ 9525 w 328"/>
                <a:gd name="T13" fmla="*/ 28463 h 255"/>
                <a:gd name="T14" fmla="*/ 14288 w 328"/>
                <a:gd name="T15" fmla="*/ 37951 h 255"/>
                <a:gd name="T16" fmla="*/ 9525 w 328"/>
                <a:gd name="T17" fmla="*/ 43485 h 255"/>
                <a:gd name="T18" fmla="*/ 19844 w 328"/>
                <a:gd name="T19" fmla="*/ 49810 h 255"/>
                <a:gd name="T20" fmla="*/ 23812 w 328"/>
                <a:gd name="T21" fmla="*/ 47438 h 255"/>
                <a:gd name="T22" fmla="*/ 37306 w 328"/>
                <a:gd name="T23" fmla="*/ 47438 h 255"/>
                <a:gd name="T24" fmla="*/ 51594 w 328"/>
                <a:gd name="T25" fmla="*/ 33997 h 255"/>
                <a:gd name="T26" fmla="*/ 47625 w 328"/>
                <a:gd name="T27" fmla="*/ 28463 h 255"/>
                <a:gd name="T28" fmla="*/ 54769 w 328"/>
                <a:gd name="T29" fmla="*/ 18975 h 255"/>
                <a:gd name="T30" fmla="*/ 65088 w 328"/>
                <a:gd name="T31" fmla="*/ 12650 h 255"/>
                <a:gd name="T32" fmla="*/ 65088 w 328"/>
                <a:gd name="T33" fmla="*/ 9488 h 255"/>
                <a:gd name="T34" fmla="*/ 47625 w 328"/>
                <a:gd name="T35" fmla="*/ 5534 h 255"/>
                <a:gd name="T36" fmla="*/ 40481 w 328"/>
                <a:gd name="T37" fmla="*/ 3163 h 255"/>
                <a:gd name="T38" fmla="*/ 37306 w 328"/>
                <a:gd name="T39" fmla="*/ 3163 h 255"/>
                <a:gd name="T40" fmla="*/ 30956 w 328"/>
                <a:gd name="T41" fmla="*/ 3163 h 255"/>
                <a:gd name="T42" fmla="*/ 27781 w 328"/>
                <a:gd name="T43" fmla="*/ 3163 h 255"/>
                <a:gd name="T44" fmla="*/ 7144 w 328"/>
                <a:gd name="T45" fmla="*/ 0 h 255"/>
                <a:gd name="T46" fmla="*/ 3969 w 328"/>
                <a:gd name="T47" fmla="*/ 3163 h 255"/>
                <a:gd name="T48" fmla="*/ 0 w 328"/>
                <a:gd name="T49" fmla="*/ 3163 h 255"/>
                <a:gd name="T50" fmla="*/ 0 w 328"/>
                <a:gd name="T51" fmla="*/ 5534 h 255"/>
                <a:gd name="T52" fmla="*/ 3969 w 328"/>
                <a:gd name="T53" fmla="*/ 12650 h 25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328"/>
                <a:gd name="T82" fmla="*/ 0 h 255"/>
                <a:gd name="T83" fmla="*/ 328 w 328"/>
                <a:gd name="T84" fmla="*/ 255 h 255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328" h="255">
                  <a:moveTo>
                    <a:pt x="17" y="64"/>
                  </a:moveTo>
                  <a:lnTo>
                    <a:pt x="17" y="64"/>
                  </a:lnTo>
                  <a:lnTo>
                    <a:pt x="86" y="64"/>
                  </a:lnTo>
                  <a:lnTo>
                    <a:pt x="86" y="79"/>
                  </a:lnTo>
                  <a:lnTo>
                    <a:pt x="69" y="96"/>
                  </a:lnTo>
                  <a:lnTo>
                    <a:pt x="69" y="127"/>
                  </a:lnTo>
                  <a:lnTo>
                    <a:pt x="51" y="144"/>
                  </a:lnTo>
                  <a:lnTo>
                    <a:pt x="69" y="192"/>
                  </a:lnTo>
                  <a:lnTo>
                    <a:pt x="51" y="223"/>
                  </a:lnTo>
                  <a:lnTo>
                    <a:pt x="103" y="255"/>
                  </a:lnTo>
                  <a:lnTo>
                    <a:pt x="121" y="240"/>
                  </a:lnTo>
                  <a:lnTo>
                    <a:pt x="190" y="240"/>
                  </a:lnTo>
                  <a:lnTo>
                    <a:pt x="259" y="175"/>
                  </a:lnTo>
                  <a:lnTo>
                    <a:pt x="241" y="144"/>
                  </a:lnTo>
                  <a:lnTo>
                    <a:pt x="276" y="96"/>
                  </a:lnTo>
                  <a:lnTo>
                    <a:pt x="328" y="64"/>
                  </a:lnTo>
                  <a:lnTo>
                    <a:pt x="328" y="48"/>
                  </a:lnTo>
                  <a:lnTo>
                    <a:pt x="241" y="31"/>
                  </a:lnTo>
                  <a:lnTo>
                    <a:pt x="207" y="16"/>
                  </a:lnTo>
                  <a:lnTo>
                    <a:pt x="190" y="16"/>
                  </a:lnTo>
                  <a:lnTo>
                    <a:pt x="155" y="16"/>
                  </a:lnTo>
                  <a:lnTo>
                    <a:pt x="138" y="16"/>
                  </a:lnTo>
                  <a:lnTo>
                    <a:pt x="34" y="0"/>
                  </a:lnTo>
                  <a:lnTo>
                    <a:pt x="17" y="16"/>
                  </a:lnTo>
                  <a:lnTo>
                    <a:pt x="0" y="16"/>
                  </a:lnTo>
                  <a:lnTo>
                    <a:pt x="0" y="31"/>
                  </a:lnTo>
                  <a:lnTo>
                    <a:pt x="17" y="64"/>
                  </a:lnTo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5" name="Freeform 247">
              <a:extLst>
                <a:ext uri="{FF2B5EF4-FFF2-40B4-BE49-F238E27FC236}">
                  <a16:creationId xmlns:a16="http://schemas.microsoft.com/office/drawing/2014/main" id="{7DBB6C03-5B5E-5CEB-2AB2-847B6D5AC112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5292569" y="3588544"/>
              <a:ext cx="261524" cy="258290"/>
            </a:xfrm>
            <a:custGeom>
              <a:avLst/>
              <a:gdLst>
                <a:gd name="T0" fmla="*/ 41395 w 345"/>
                <a:gd name="T1" fmla="*/ 0 h 320"/>
                <a:gd name="T2" fmla="*/ 41395 w 345"/>
                <a:gd name="T3" fmla="*/ 0 h 320"/>
                <a:gd name="T4" fmla="*/ 34230 w 345"/>
                <a:gd name="T5" fmla="*/ 3195 h 320"/>
                <a:gd name="T6" fmla="*/ 34230 w 345"/>
                <a:gd name="T7" fmla="*/ 9585 h 320"/>
                <a:gd name="T8" fmla="*/ 27862 w 345"/>
                <a:gd name="T9" fmla="*/ 12779 h 320"/>
                <a:gd name="T10" fmla="*/ 23882 w 345"/>
                <a:gd name="T11" fmla="*/ 15974 h 320"/>
                <a:gd name="T12" fmla="*/ 20697 w 345"/>
                <a:gd name="T13" fmla="*/ 15974 h 320"/>
                <a:gd name="T14" fmla="*/ 17513 w 345"/>
                <a:gd name="T15" fmla="*/ 12779 h 320"/>
                <a:gd name="T16" fmla="*/ 14329 w 345"/>
                <a:gd name="T17" fmla="*/ 12779 h 320"/>
                <a:gd name="T18" fmla="*/ 17513 w 345"/>
                <a:gd name="T19" fmla="*/ 19169 h 320"/>
                <a:gd name="T20" fmla="*/ 10349 w 345"/>
                <a:gd name="T21" fmla="*/ 22364 h 320"/>
                <a:gd name="T22" fmla="*/ 10349 w 345"/>
                <a:gd name="T23" fmla="*/ 19169 h 320"/>
                <a:gd name="T24" fmla="*/ 0 w 345"/>
                <a:gd name="T25" fmla="*/ 22364 h 320"/>
                <a:gd name="T26" fmla="*/ 0 w 345"/>
                <a:gd name="T27" fmla="*/ 25559 h 320"/>
                <a:gd name="T28" fmla="*/ 14329 w 345"/>
                <a:gd name="T29" fmla="*/ 28754 h 320"/>
                <a:gd name="T30" fmla="*/ 20697 w 345"/>
                <a:gd name="T31" fmla="*/ 39137 h 320"/>
                <a:gd name="T32" fmla="*/ 20697 w 345"/>
                <a:gd name="T33" fmla="*/ 41533 h 320"/>
                <a:gd name="T34" fmla="*/ 17513 w 345"/>
                <a:gd name="T35" fmla="*/ 58306 h 320"/>
                <a:gd name="T36" fmla="*/ 23882 w 345"/>
                <a:gd name="T37" fmla="*/ 60702 h 320"/>
                <a:gd name="T38" fmla="*/ 41395 w 345"/>
                <a:gd name="T39" fmla="*/ 64696 h 320"/>
                <a:gd name="T40" fmla="*/ 41395 w 345"/>
                <a:gd name="T41" fmla="*/ 60702 h 320"/>
                <a:gd name="T42" fmla="*/ 48559 w 345"/>
                <a:gd name="T43" fmla="*/ 58306 h 320"/>
                <a:gd name="T44" fmla="*/ 58908 w 345"/>
                <a:gd name="T45" fmla="*/ 60702 h 320"/>
                <a:gd name="T46" fmla="*/ 62092 w 345"/>
                <a:gd name="T47" fmla="*/ 60702 h 320"/>
                <a:gd name="T48" fmla="*/ 65276 w 345"/>
                <a:gd name="T49" fmla="*/ 55111 h 320"/>
                <a:gd name="T50" fmla="*/ 62092 w 345"/>
                <a:gd name="T51" fmla="*/ 48721 h 320"/>
                <a:gd name="T52" fmla="*/ 62092 w 345"/>
                <a:gd name="T53" fmla="*/ 41533 h 320"/>
                <a:gd name="T54" fmla="*/ 62092 w 345"/>
                <a:gd name="T55" fmla="*/ 35942 h 320"/>
                <a:gd name="T56" fmla="*/ 58908 w 345"/>
                <a:gd name="T57" fmla="*/ 39137 h 320"/>
                <a:gd name="T58" fmla="*/ 58908 w 345"/>
                <a:gd name="T59" fmla="*/ 35942 h 320"/>
                <a:gd name="T60" fmla="*/ 62092 w 345"/>
                <a:gd name="T61" fmla="*/ 28754 h 320"/>
                <a:gd name="T62" fmla="*/ 65276 w 345"/>
                <a:gd name="T63" fmla="*/ 28754 h 320"/>
                <a:gd name="T64" fmla="*/ 69257 w 345"/>
                <a:gd name="T65" fmla="*/ 19169 h 320"/>
                <a:gd name="T66" fmla="*/ 58908 w 345"/>
                <a:gd name="T67" fmla="*/ 12779 h 320"/>
                <a:gd name="T68" fmla="*/ 54928 w 345"/>
                <a:gd name="T69" fmla="*/ 12779 h 320"/>
                <a:gd name="T70" fmla="*/ 51743 w 345"/>
                <a:gd name="T71" fmla="*/ 12779 h 320"/>
                <a:gd name="T72" fmla="*/ 51743 w 345"/>
                <a:gd name="T73" fmla="*/ 9585 h 320"/>
                <a:gd name="T74" fmla="*/ 48559 w 345"/>
                <a:gd name="T75" fmla="*/ 9585 h 320"/>
                <a:gd name="T76" fmla="*/ 48559 w 345"/>
                <a:gd name="T77" fmla="*/ 6390 h 320"/>
                <a:gd name="T78" fmla="*/ 41395 w 345"/>
                <a:gd name="T79" fmla="*/ 3195 h 320"/>
                <a:gd name="T80" fmla="*/ 41395 w 345"/>
                <a:gd name="T81" fmla="*/ 0 h 32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45"/>
                <a:gd name="T124" fmla="*/ 0 h 320"/>
                <a:gd name="T125" fmla="*/ 345 w 345"/>
                <a:gd name="T126" fmla="*/ 320 h 32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45" h="320">
                  <a:moveTo>
                    <a:pt x="207" y="0"/>
                  </a:moveTo>
                  <a:lnTo>
                    <a:pt x="207" y="0"/>
                  </a:lnTo>
                  <a:lnTo>
                    <a:pt x="172" y="15"/>
                  </a:lnTo>
                  <a:lnTo>
                    <a:pt x="172" y="48"/>
                  </a:lnTo>
                  <a:lnTo>
                    <a:pt x="138" y="63"/>
                  </a:lnTo>
                  <a:lnTo>
                    <a:pt x="120" y="80"/>
                  </a:lnTo>
                  <a:lnTo>
                    <a:pt x="103" y="80"/>
                  </a:lnTo>
                  <a:lnTo>
                    <a:pt x="86" y="63"/>
                  </a:lnTo>
                  <a:lnTo>
                    <a:pt x="69" y="63"/>
                  </a:lnTo>
                  <a:lnTo>
                    <a:pt x="86" y="96"/>
                  </a:lnTo>
                  <a:lnTo>
                    <a:pt x="51" y="111"/>
                  </a:lnTo>
                  <a:lnTo>
                    <a:pt x="51" y="96"/>
                  </a:lnTo>
                  <a:lnTo>
                    <a:pt x="0" y="111"/>
                  </a:lnTo>
                  <a:lnTo>
                    <a:pt x="0" y="128"/>
                  </a:lnTo>
                  <a:lnTo>
                    <a:pt x="69" y="144"/>
                  </a:lnTo>
                  <a:lnTo>
                    <a:pt x="103" y="192"/>
                  </a:lnTo>
                  <a:lnTo>
                    <a:pt x="103" y="207"/>
                  </a:lnTo>
                  <a:lnTo>
                    <a:pt x="86" y="288"/>
                  </a:lnTo>
                  <a:lnTo>
                    <a:pt x="120" y="303"/>
                  </a:lnTo>
                  <a:lnTo>
                    <a:pt x="207" y="320"/>
                  </a:lnTo>
                  <a:lnTo>
                    <a:pt x="207" y="303"/>
                  </a:lnTo>
                  <a:lnTo>
                    <a:pt x="241" y="288"/>
                  </a:lnTo>
                  <a:lnTo>
                    <a:pt x="293" y="303"/>
                  </a:lnTo>
                  <a:lnTo>
                    <a:pt x="311" y="303"/>
                  </a:lnTo>
                  <a:lnTo>
                    <a:pt x="328" y="272"/>
                  </a:lnTo>
                  <a:lnTo>
                    <a:pt x="311" y="240"/>
                  </a:lnTo>
                  <a:lnTo>
                    <a:pt x="311" y="207"/>
                  </a:lnTo>
                  <a:lnTo>
                    <a:pt x="311" y="176"/>
                  </a:lnTo>
                  <a:lnTo>
                    <a:pt x="293" y="192"/>
                  </a:lnTo>
                  <a:lnTo>
                    <a:pt x="293" y="176"/>
                  </a:lnTo>
                  <a:lnTo>
                    <a:pt x="311" y="144"/>
                  </a:lnTo>
                  <a:lnTo>
                    <a:pt x="328" y="144"/>
                  </a:lnTo>
                  <a:lnTo>
                    <a:pt x="345" y="96"/>
                  </a:lnTo>
                  <a:lnTo>
                    <a:pt x="293" y="63"/>
                  </a:lnTo>
                  <a:lnTo>
                    <a:pt x="276" y="63"/>
                  </a:lnTo>
                  <a:lnTo>
                    <a:pt x="259" y="63"/>
                  </a:lnTo>
                  <a:lnTo>
                    <a:pt x="259" y="48"/>
                  </a:lnTo>
                  <a:lnTo>
                    <a:pt x="241" y="48"/>
                  </a:lnTo>
                  <a:lnTo>
                    <a:pt x="241" y="32"/>
                  </a:lnTo>
                  <a:lnTo>
                    <a:pt x="207" y="15"/>
                  </a:lnTo>
                  <a:lnTo>
                    <a:pt x="207" y="0"/>
                  </a:lnTo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6" name="Freeform 282">
              <a:extLst>
                <a:ext uri="{FF2B5EF4-FFF2-40B4-BE49-F238E27FC236}">
                  <a16:creationId xmlns:a16="http://schemas.microsoft.com/office/drawing/2014/main" id="{F79299AD-F9DF-B60B-E9EF-2E95A2AB934B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5897540" y="4115124"/>
              <a:ext cx="233166" cy="228295"/>
            </a:xfrm>
            <a:custGeom>
              <a:avLst/>
              <a:gdLst>
                <a:gd name="T0" fmla="*/ 60922 w 311"/>
                <a:gd name="T1" fmla="*/ 49659 h 288"/>
                <a:gd name="T2" fmla="*/ 60922 w 311"/>
                <a:gd name="T3" fmla="*/ 49659 h 288"/>
                <a:gd name="T4" fmla="*/ 50637 w 311"/>
                <a:gd name="T5" fmla="*/ 55965 h 288"/>
                <a:gd name="T6" fmla="*/ 47472 w 311"/>
                <a:gd name="T7" fmla="*/ 52812 h 288"/>
                <a:gd name="T8" fmla="*/ 3165 w 311"/>
                <a:gd name="T9" fmla="*/ 52812 h 288"/>
                <a:gd name="T10" fmla="*/ 3165 w 311"/>
                <a:gd name="T11" fmla="*/ 18918 h 288"/>
                <a:gd name="T12" fmla="*/ 0 w 311"/>
                <a:gd name="T13" fmla="*/ 11824 h 288"/>
                <a:gd name="T14" fmla="*/ 3165 w 311"/>
                <a:gd name="T15" fmla="*/ 0 h 288"/>
                <a:gd name="T16" fmla="*/ 3165 w 311"/>
                <a:gd name="T17" fmla="*/ 2365 h 288"/>
                <a:gd name="T18" fmla="*/ 13450 w 311"/>
                <a:gd name="T19" fmla="*/ 2365 h 288"/>
                <a:gd name="T20" fmla="*/ 23736 w 311"/>
                <a:gd name="T21" fmla="*/ 5518 h 288"/>
                <a:gd name="T22" fmla="*/ 37186 w 311"/>
                <a:gd name="T23" fmla="*/ 2365 h 288"/>
                <a:gd name="T24" fmla="*/ 40351 w 311"/>
                <a:gd name="T25" fmla="*/ 2365 h 288"/>
                <a:gd name="T26" fmla="*/ 40351 w 311"/>
                <a:gd name="T27" fmla="*/ 5518 h 288"/>
                <a:gd name="T28" fmla="*/ 44307 w 311"/>
                <a:gd name="T29" fmla="*/ 2365 h 288"/>
                <a:gd name="T30" fmla="*/ 44307 w 311"/>
                <a:gd name="T31" fmla="*/ 5518 h 288"/>
                <a:gd name="T32" fmla="*/ 50637 w 311"/>
                <a:gd name="T33" fmla="*/ 2365 h 288"/>
                <a:gd name="T34" fmla="*/ 54593 w 311"/>
                <a:gd name="T35" fmla="*/ 14977 h 288"/>
                <a:gd name="T36" fmla="*/ 50637 w 311"/>
                <a:gd name="T37" fmla="*/ 24435 h 288"/>
                <a:gd name="T38" fmla="*/ 47472 w 311"/>
                <a:gd name="T39" fmla="*/ 18918 h 288"/>
                <a:gd name="T40" fmla="*/ 44307 w 311"/>
                <a:gd name="T41" fmla="*/ 9459 h 288"/>
                <a:gd name="T42" fmla="*/ 44307 w 311"/>
                <a:gd name="T43" fmla="*/ 11824 h 288"/>
                <a:gd name="T44" fmla="*/ 44307 w 311"/>
                <a:gd name="T45" fmla="*/ 14977 h 288"/>
                <a:gd name="T46" fmla="*/ 60922 w 311"/>
                <a:gd name="T47" fmla="*/ 49659 h 28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311"/>
                <a:gd name="T73" fmla="*/ 0 h 288"/>
                <a:gd name="T74" fmla="*/ 311 w 311"/>
                <a:gd name="T75" fmla="*/ 288 h 288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311" h="288">
                  <a:moveTo>
                    <a:pt x="311" y="255"/>
                  </a:moveTo>
                  <a:lnTo>
                    <a:pt x="311" y="255"/>
                  </a:lnTo>
                  <a:lnTo>
                    <a:pt x="259" y="288"/>
                  </a:lnTo>
                  <a:lnTo>
                    <a:pt x="242" y="271"/>
                  </a:lnTo>
                  <a:lnTo>
                    <a:pt x="17" y="271"/>
                  </a:lnTo>
                  <a:lnTo>
                    <a:pt x="17" y="96"/>
                  </a:lnTo>
                  <a:lnTo>
                    <a:pt x="0" y="63"/>
                  </a:lnTo>
                  <a:lnTo>
                    <a:pt x="17" y="0"/>
                  </a:lnTo>
                  <a:lnTo>
                    <a:pt x="17" y="15"/>
                  </a:lnTo>
                  <a:lnTo>
                    <a:pt x="69" y="15"/>
                  </a:lnTo>
                  <a:lnTo>
                    <a:pt x="121" y="31"/>
                  </a:lnTo>
                  <a:lnTo>
                    <a:pt x="190" y="15"/>
                  </a:lnTo>
                  <a:lnTo>
                    <a:pt x="207" y="15"/>
                  </a:lnTo>
                  <a:lnTo>
                    <a:pt x="207" y="31"/>
                  </a:lnTo>
                  <a:lnTo>
                    <a:pt x="225" y="15"/>
                  </a:lnTo>
                  <a:lnTo>
                    <a:pt x="225" y="31"/>
                  </a:lnTo>
                  <a:lnTo>
                    <a:pt x="259" y="15"/>
                  </a:lnTo>
                  <a:lnTo>
                    <a:pt x="277" y="79"/>
                  </a:lnTo>
                  <a:lnTo>
                    <a:pt x="259" y="127"/>
                  </a:lnTo>
                  <a:lnTo>
                    <a:pt x="242" y="96"/>
                  </a:lnTo>
                  <a:lnTo>
                    <a:pt x="225" y="48"/>
                  </a:lnTo>
                  <a:lnTo>
                    <a:pt x="225" y="63"/>
                  </a:lnTo>
                  <a:lnTo>
                    <a:pt x="225" y="79"/>
                  </a:lnTo>
                  <a:lnTo>
                    <a:pt x="311" y="255"/>
                  </a:lnTo>
                  <a:close/>
                </a:path>
              </a:pathLst>
            </a:custGeom>
            <a:solidFill>
              <a:srgbClr val="FFC000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7" name="Freeform 296">
              <a:extLst>
                <a:ext uri="{FF2B5EF4-FFF2-40B4-BE49-F238E27FC236}">
                  <a16:creationId xmlns:a16="http://schemas.microsoft.com/office/drawing/2014/main" id="{68A2D721-256A-F7A4-391B-81352D3A7EC6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5122421" y="4025139"/>
              <a:ext cx="248920" cy="191635"/>
            </a:xfrm>
            <a:custGeom>
              <a:avLst/>
              <a:gdLst>
                <a:gd name="T0" fmla="*/ 58738 w 330"/>
                <a:gd name="T1" fmla="*/ 3969 h 240"/>
                <a:gd name="T2" fmla="*/ 58738 w 330"/>
                <a:gd name="T3" fmla="*/ 3969 h 240"/>
                <a:gd name="T4" fmla="*/ 62706 w 330"/>
                <a:gd name="T5" fmla="*/ 3969 h 240"/>
                <a:gd name="T6" fmla="*/ 65881 w 330"/>
                <a:gd name="T7" fmla="*/ 19050 h 240"/>
                <a:gd name="T8" fmla="*/ 52388 w 330"/>
                <a:gd name="T9" fmla="*/ 23019 h 240"/>
                <a:gd name="T10" fmla="*/ 52388 w 330"/>
                <a:gd name="T11" fmla="*/ 25400 h 240"/>
                <a:gd name="T12" fmla="*/ 41275 w 330"/>
                <a:gd name="T13" fmla="*/ 32544 h 240"/>
                <a:gd name="T14" fmla="*/ 27781 w 330"/>
                <a:gd name="T15" fmla="*/ 38100 h 240"/>
                <a:gd name="T16" fmla="*/ 23813 w 330"/>
                <a:gd name="T17" fmla="*/ 42069 h 240"/>
                <a:gd name="T18" fmla="*/ 23813 w 330"/>
                <a:gd name="T19" fmla="*/ 47625 h 240"/>
                <a:gd name="T20" fmla="*/ 0 w 330"/>
                <a:gd name="T21" fmla="*/ 44450 h 240"/>
                <a:gd name="T22" fmla="*/ 7144 w 330"/>
                <a:gd name="T23" fmla="*/ 44450 h 240"/>
                <a:gd name="T24" fmla="*/ 14288 w 330"/>
                <a:gd name="T25" fmla="*/ 38100 h 240"/>
                <a:gd name="T26" fmla="*/ 17463 w 330"/>
                <a:gd name="T27" fmla="*/ 32544 h 240"/>
                <a:gd name="T28" fmla="*/ 17463 w 330"/>
                <a:gd name="T29" fmla="*/ 25400 h 240"/>
                <a:gd name="T30" fmla="*/ 20638 w 330"/>
                <a:gd name="T31" fmla="*/ 19050 h 240"/>
                <a:gd name="T32" fmla="*/ 23813 w 330"/>
                <a:gd name="T33" fmla="*/ 13494 h 240"/>
                <a:gd name="T34" fmla="*/ 34131 w 330"/>
                <a:gd name="T35" fmla="*/ 9525 h 240"/>
                <a:gd name="T36" fmla="*/ 38100 w 330"/>
                <a:gd name="T37" fmla="*/ 0 h 240"/>
                <a:gd name="T38" fmla="*/ 41275 w 330"/>
                <a:gd name="T39" fmla="*/ 0 h 240"/>
                <a:gd name="T40" fmla="*/ 44450 w 330"/>
                <a:gd name="T41" fmla="*/ 3969 h 240"/>
                <a:gd name="T42" fmla="*/ 55563 w 330"/>
                <a:gd name="T43" fmla="*/ 3969 h 240"/>
                <a:gd name="T44" fmla="*/ 58738 w 330"/>
                <a:gd name="T45" fmla="*/ 3969 h 24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330"/>
                <a:gd name="T70" fmla="*/ 0 h 240"/>
                <a:gd name="T71" fmla="*/ 330 w 330"/>
                <a:gd name="T72" fmla="*/ 240 h 24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330" h="240">
                  <a:moveTo>
                    <a:pt x="296" y="17"/>
                  </a:moveTo>
                  <a:lnTo>
                    <a:pt x="296" y="17"/>
                  </a:lnTo>
                  <a:lnTo>
                    <a:pt x="313" y="17"/>
                  </a:lnTo>
                  <a:lnTo>
                    <a:pt x="330" y="96"/>
                  </a:lnTo>
                  <a:lnTo>
                    <a:pt x="261" y="113"/>
                  </a:lnTo>
                  <a:lnTo>
                    <a:pt x="261" y="128"/>
                  </a:lnTo>
                  <a:lnTo>
                    <a:pt x="209" y="161"/>
                  </a:lnTo>
                  <a:lnTo>
                    <a:pt x="140" y="192"/>
                  </a:lnTo>
                  <a:lnTo>
                    <a:pt x="123" y="209"/>
                  </a:lnTo>
                  <a:lnTo>
                    <a:pt x="123" y="240"/>
                  </a:lnTo>
                  <a:lnTo>
                    <a:pt x="0" y="224"/>
                  </a:lnTo>
                  <a:lnTo>
                    <a:pt x="36" y="224"/>
                  </a:lnTo>
                  <a:lnTo>
                    <a:pt x="71" y="192"/>
                  </a:lnTo>
                  <a:lnTo>
                    <a:pt x="88" y="161"/>
                  </a:lnTo>
                  <a:lnTo>
                    <a:pt x="88" y="128"/>
                  </a:lnTo>
                  <a:lnTo>
                    <a:pt x="106" y="96"/>
                  </a:lnTo>
                  <a:lnTo>
                    <a:pt x="123" y="65"/>
                  </a:lnTo>
                  <a:lnTo>
                    <a:pt x="175" y="48"/>
                  </a:lnTo>
                  <a:lnTo>
                    <a:pt x="192" y="0"/>
                  </a:lnTo>
                  <a:lnTo>
                    <a:pt x="209" y="0"/>
                  </a:lnTo>
                  <a:lnTo>
                    <a:pt x="227" y="17"/>
                  </a:lnTo>
                  <a:lnTo>
                    <a:pt x="278" y="17"/>
                  </a:lnTo>
                  <a:lnTo>
                    <a:pt x="296" y="17"/>
                  </a:lnTo>
                </a:path>
              </a:pathLst>
            </a:custGeom>
            <a:solidFill>
              <a:srgbClr val="C00000"/>
            </a:solidFill>
            <a:ln w="9525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8" name="Freeform 298">
              <a:extLst>
                <a:ext uri="{FF2B5EF4-FFF2-40B4-BE49-F238E27FC236}">
                  <a16:creationId xmlns:a16="http://schemas.microsoft.com/office/drawing/2014/main" id="{9C74BBA7-13CA-F063-ED52-F705060B6169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5539915" y="3986811"/>
              <a:ext cx="80347" cy="168306"/>
            </a:xfrm>
            <a:custGeom>
              <a:avLst/>
              <a:gdLst>
                <a:gd name="T0" fmla="*/ 21635 w 105"/>
                <a:gd name="T1" fmla="*/ 25522 h 209"/>
                <a:gd name="T2" fmla="*/ 21635 w 105"/>
                <a:gd name="T3" fmla="*/ 25522 h 209"/>
                <a:gd name="T4" fmla="*/ 21635 w 105"/>
                <a:gd name="T5" fmla="*/ 28712 h 209"/>
                <a:gd name="T6" fmla="*/ 14424 w 105"/>
                <a:gd name="T7" fmla="*/ 35092 h 209"/>
                <a:gd name="T8" fmla="*/ 14424 w 105"/>
                <a:gd name="T9" fmla="*/ 38282 h 209"/>
                <a:gd name="T10" fmla="*/ 11218 w 105"/>
                <a:gd name="T11" fmla="*/ 42270 h 209"/>
                <a:gd name="T12" fmla="*/ 11218 w 105"/>
                <a:gd name="T13" fmla="*/ 32700 h 209"/>
                <a:gd name="T14" fmla="*/ 4007 w 105"/>
                <a:gd name="T15" fmla="*/ 28712 h 209"/>
                <a:gd name="T16" fmla="*/ 0 w 105"/>
                <a:gd name="T17" fmla="*/ 23129 h 209"/>
                <a:gd name="T18" fmla="*/ 7212 w 105"/>
                <a:gd name="T19" fmla="*/ 15951 h 209"/>
                <a:gd name="T20" fmla="*/ 4007 w 105"/>
                <a:gd name="T21" fmla="*/ 3988 h 209"/>
                <a:gd name="T22" fmla="*/ 7212 w 105"/>
                <a:gd name="T23" fmla="*/ 0 h 209"/>
                <a:gd name="T24" fmla="*/ 14424 w 105"/>
                <a:gd name="T25" fmla="*/ 0 h 209"/>
                <a:gd name="T26" fmla="*/ 17629 w 105"/>
                <a:gd name="T27" fmla="*/ 3988 h 209"/>
                <a:gd name="T28" fmla="*/ 21635 w 105"/>
                <a:gd name="T29" fmla="*/ 0 h 209"/>
                <a:gd name="T30" fmla="*/ 17629 w 105"/>
                <a:gd name="T31" fmla="*/ 6380 h 209"/>
                <a:gd name="T32" fmla="*/ 21635 w 105"/>
                <a:gd name="T33" fmla="*/ 13558 h 209"/>
                <a:gd name="T34" fmla="*/ 14424 w 105"/>
                <a:gd name="T35" fmla="*/ 19141 h 209"/>
                <a:gd name="T36" fmla="*/ 14424 w 105"/>
                <a:gd name="T37" fmla="*/ 23129 h 209"/>
                <a:gd name="T38" fmla="*/ 21635 w 105"/>
                <a:gd name="T39" fmla="*/ 23129 h 209"/>
                <a:gd name="T40" fmla="*/ 21635 w 105"/>
                <a:gd name="T41" fmla="*/ 25522 h 20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05"/>
                <a:gd name="T64" fmla="*/ 0 h 209"/>
                <a:gd name="T65" fmla="*/ 105 w 105"/>
                <a:gd name="T66" fmla="*/ 209 h 20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05" h="209">
                  <a:moveTo>
                    <a:pt x="105" y="128"/>
                  </a:moveTo>
                  <a:lnTo>
                    <a:pt x="105" y="128"/>
                  </a:lnTo>
                  <a:lnTo>
                    <a:pt x="105" y="144"/>
                  </a:lnTo>
                  <a:lnTo>
                    <a:pt x="71" y="176"/>
                  </a:lnTo>
                  <a:lnTo>
                    <a:pt x="71" y="192"/>
                  </a:lnTo>
                  <a:lnTo>
                    <a:pt x="54" y="209"/>
                  </a:lnTo>
                  <a:lnTo>
                    <a:pt x="54" y="161"/>
                  </a:lnTo>
                  <a:lnTo>
                    <a:pt x="17" y="144"/>
                  </a:lnTo>
                  <a:lnTo>
                    <a:pt x="0" y="113"/>
                  </a:lnTo>
                  <a:lnTo>
                    <a:pt x="34" y="80"/>
                  </a:lnTo>
                  <a:lnTo>
                    <a:pt x="17" y="17"/>
                  </a:lnTo>
                  <a:lnTo>
                    <a:pt x="34" y="0"/>
                  </a:lnTo>
                  <a:lnTo>
                    <a:pt x="71" y="0"/>
                  </a:lnTo>
                  <a:lnTo>
                    <a:pt x="88" y="17"/>
                  </a:lnTo>
                  <a:lnTo>
                    <a:pt x="105" y="0"/>
                  </a:lnTo>
                  <a:lnTo>
                    <a:pt x="88" y="32"/>
                  </a:lnTo>
                  <a:lnTo>
                    <a:pt x="105" y="65"/>
                  </a:lnTo>
                  <a:lnTo>
                    <a:pt x="71" y="96"/>
                  </a:lnTo>
                  <a:lnTo>
                    <a:pt x="71" y="113"/>
                  </a:lnTo>
                  <a:lnTo>
                    <a:pt x="105" y="113"/>
                  </a:lnTo>
                  <a:lnTo>
                    <a:pt x="105" y="128"/>
                  </a:lnTo>
                  <a:close/>
                </a:path>
              </a:pathLst>
            </a:custGeom>
            <a:solidFill>
              <a:srgbClr val="FFC000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9" name="Freeform 301">
              <a:extLst>
                <a:ext uri="{FF2B5EF4-FFF2-40B4-BE49-F238E27FC236}">
                  <a16:creationId xmlns:a16="http://schemas.microsoft.com/office/drawing/2014/main" id="{B52B8520-842F-2A23-2D09-98BFC6C86331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5049951" y="4201777"/>
              <a:ext cx="170148" cy="153308"/>
            </a:xfrm>
            <a:custGeom>
              <a:avLst/>
              <a:gdLst>
                <a:gd name="T0" fmla="*/ 0 w 227"/>
                <a:gd name="T1" fmla="*/ 38100 h 192"/>
                <a:gd name="T2" fmla="*/ 0 w 227"/>
                <a:gd name="T3" fmla="*/ 38100 h 192"/>
                <a:gd name="T4" fmla="*/ 3161 w 227"/>
                <a:gd name="T5" fmla="*/ 35719 h 192"/>
                <a:gd name="T6" fmla="*/ 20547 w 227"/>
                <a:gd name="T7" fmla="*/ 35719 h 192"/>
                <a:gd name="T8" fmla="*/ 20547 w 227"/>
                <a:gd name="T9" fmla="*/ 28575 h 192"/>
                <a:gd name="T10" fmla="*/ 27659 w 227"/>
                <a:gd name="T11" fmla="*/ 26194 h 192"/>
                <a:gd name="T12" fmla="*/ 27659 w 227"/>
                <a:gd name="T13" fmla="*/ 9525 h 192"/>
                <a:gd name="T14" fmla="*/ 44254 w 227"/>
                <a:gd name="T15" fmla="*/ 9525 h 192"/>
                <a:gd name="T16" fmla="*/ 44254 w 227"/>
                <a:gd name="T17" fmla="*/ 3175 h 192"/>
                <a:gd name="T18" fmla="*/ 20547 w 227"/>
                <a:gd name="T19" fmla="*/ 0 h 192"/>
                <a:gd name="T20" fmla="*/ 17386 w 227"/>
                <a:gd name="T21" fmla="*/ 7144 h 192"/>
                <a:gd name="T22" fmla="*/ 13434 w 227"/>
                <a:gd name="T23" fmla="*/ 9525 h 192"/>
                <a:gd name="T24" fmla="*/ 10273 w 227"/>
                <a:gd name="T25" fmla="*/ 19050 h 192"/>
                <a:gd name="T26" fmla="*/ 0 w 227"/>
                <a:gd name="T27" fmla="*/ 31750 h 192"/>
                <a:gd name="T28" fmla="*/ 0 w 227"/>
                <a:gd name="T29" fmla="*/ 38100 h 19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27"/>
                <a:gd name="T46" fmla="*/ 0 h 192"/>
                <a:gd name="T47" fmla="*/ 227 w 227"/>
                <a:gd name="T48" fmla="*/ 192 h 192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27" h="192">
                  <a:moveTo>
                    <a:pt x="0" y="192"/>
                  </a:moveTo>
                  <a:lnTo>
                    <a:pt x="0" y="192"/>
                  </a:lnTo>
                  <a:lnTo>
                    <a:pt x="18" y="177"/>
                  </a:lnTo>
                  <a:lnTo>
                    <a:pt x="106" y="177"/>
                  </a:lnTo>
                  <a:lnTo>
                    <a:pt x="106" y="144"/>
                  </a:lnTo>
                  <a:lnTo>
                    <a:pt x="140" y="129"/>
                  </a:lnTo>
                  <a:lnTo>
                    <a:pt x="140" y="48"/>
                  </a:lnTo>
                  <a:lnTo>
                    <a:pt x="227" y="48"/>
                  </a:lnTo>
                  <a:lnTo>
                    <a:pt x="227" y="16"/>
                  </a:lnTo>
                  <a:lnTo>
                    <a:pt x="106" y="0"/>
                  </a:lnTo>
                  <a:lnTo>
                    <a:pt x="89" y="33"/>
                  </a:lnTo>
                  <a:lnTo>
                    <a:pt x="69" y="48"/>
                  </a:lnTo>
                  <a:lnTo>
                    <a:pt x="52" y="96"/>
                  </a:lnTo>
                  <a:lnTo>
                    <a:pt x="0" y="160"/>
                  </a:lnTo>
                  <a:lnTo>
                    <a:pt x="0" y="192"/>
                  </a:lnTo>
                </a:path>
              </a:pathLst>
            </a:custGeom>
            <a:solidFill>
              <a:srgbClr val="C00000"/>
            </a:solidFill>
            <a:ln w="9525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0" name="Freeform 3">
              <a:extLst>
                <a:ext uri="{FF2B5EF4-FFF2-40B4-BE49-F238E27FC236}">
                  <a16:creationId xmlns:a16="http://schemas.microsoft.com/office/drawing/2014/main" id="{CE6CFFCB-A522-B359-F551-C60790E3A046}"/>
                </a:ext>
              </a:extLst>
            </p:cNvPr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2929401" y="2618704"/>
              <a:ext cx="382834" cy="191635"/>
            </a:xfrm>
            <a:custGeom>
              <a:avLst/>
              <a:gdLst>
                <a:gd name="T0" fmla="*/ 90310 w 509"/>
                <a:gd name="T1" fmla="*/ 41275 h 240"/>
                <a:gd name="T2" fmla="*/ 93478 w 509"/>
                <a:gd name="T3" fmla="*/ 44450 h 240"/>
                <a:gd name="T4" fmla="*/ 90310 w 509"/>
                <a:gd name="T5" fmla="*/ 47625 h 240"/>
                <a:gd name="T6" fmla="*/ 76050 w 509"/>
                <a:gd name="T7" fmla="*/ 44450 h 240"/>
                <a:gd name="T8" fmla="*/ 65752 w 509"/>
                <a:gd name="T9" fmla="*/ 44450 h 240"/>
                <a:gd name="T10" fmla="*/ 55453 w 509"/>
                <a:gd name="T11" fmla="*/ 44450 h 240"/>
                <a:gd name="T12" fmla="*/ 48324 w 509"/>
                <a:gd name="T13" fmla="*/ 47625 h 240"/>
                <a:gd name="T14" fmla="*/ 34064 w 509"/>
                <a:gd name="T15" fmla="*/ 47625 h 240"/>
                <a:gd name="T16" fmla="*/ 30895 w 509"/>
                <a:gd name="T17" fmla="*/ 44450 h 240"/>
                <a:gd name="T18" fmla="*/ 23766 w 509"/>
                <a:gd name="T19" fmla="*/ 44450 h 240"/>
                <a:gd name="T20" fmla="*/ 13467 w 509"/>
                <a:gd name="T21" fmla="*/ 44450 h 240"/>
                <a:gd name="T22" fmla="*/ 6338 w 509"/>
                <a:gd name="T23" fmla="*/ 37306 h 240"/>
                <a:gd name="T24" fmla="*/ 20597 w 509"/>
                <a:gd name="T25" fmla="*/ 34131 h 240"/>
                <a:gd name="T26" fmla="*/ 30895 w 509"/>
                <a:gd name="T27" fmla="*/ 34131 h 240"/>
                <a:gd name="T28" fmla="*/ 23766 w 509"/>
                <a:gd name="T29" fmla="*/ 30956 h 240"/>
                <a:gd name="T30" fmla="*/ 13467 w 509"/>
                <a:gd name="T31" fmla="*/ 30956 h 240"/>
                <a:gd name="T32" fmla="*/ 3169 w 509"/>
                <a:gd name="T33" fmla="*/ 26988 h 240"/>
                <a:gd name="T34" fmla="*/ 10298 w 509"/>
                <a:gd name="T35" fmla="*/ 23813 h 240"/>
                <a:gd name="T36" fmla="*/ 3169 w 509"/>
                <a:gd name="T37" fmla="*/ 23813 h 240"/>
                <a:gd name="T38" fmla="*/ 0 w 509"/>
                <a:gd name="T39" fmla="*/ 20638 h 240"/>
                <a:gd name="T40" fmla="*/ 13467 w 509"/>
                <a:gd name="T41" fmla="*/ 7144 h 240"/>
                <a:gd name="T42" fmla="*/ 23766 w 509"/>
                <a:gd name="T43" fmla="*/ 7144 h 240"/>
                <a:gd name="T44" fmla="*/ 27727 w 509"/>
                <a:gd name="T45" fmla="*/ 13494 h 240"/>
                <a:gd name="T46" fmla="*/ 30895 w 509"/>
                <a:gd name="T47" fmla="*/ 7144 h 240"/>
                <a:gd name="T48" fmla="*/ 41194 w 509"/>
                <a:gd name="T49" fmla="*/ 10319 h 240"/>
                <a:gd name="T50" fmla="*/ 45155 w 509"/>
                <a:gd name="T51" fmla="*/ 13494 h 240"/>
                <a:gd name="T52" fmla="*/ 48324 w 509"/>
                <a:gd name="T53" fmla="*/ 10319 h 240"/>
                <a:gd name="T54" fmla="*/ 55453 w 509"/>
                <a:gd name="T55" fmla="*/ 10319 h 240"/>
                <a:gd name="T56" fmla="*/ 55453 w 509"/>
                <a:gd name="T57" fmla="*/ 17463 h 240"/>
                <a:gd name="T58" fmla="*/ 58622 w 509"/>
                <a:gd name="T59" fmla="*/ 20638 h 240"/>
                <a:gd name="T60" fmla="*/ 58622 w 509"/>
                <a:gd name="T61" fmla="*/ 13494 h 240"/>
                <a:gd name="T62" fmla="*/ 55453 w 509"/>
                <a:gd name="T63" fmla="*/ 7144 h 240"/>
                <a:gd name="T64" fmla="*/ 61791 w 509"/>
                <a:gd name="T65" fmla="*/ 3175 h 240"/>
                <a:gd name="T66" fmla="*/ 65752 w 509"/>
                <a:gd name="T67" fmla="*/ 0 h 240"/>
                <a:gd name="T68" fmla="*/ 72882 w 509"/>
                <a:gd name="T69" fmla="*/ 0 h 240"/>
                <a:gd name="T70" fmla="*/ 76050 w 509"/>
                <a:gd name="T71" fmla="*/ 3175 h 240"/>
                <a:gd name="T72" fmla="*/ 76050 w 509"/>
                <a:gd name="T73" fmla="*/ 10319 h 240"/>
                <a:gd name="T74" fmla="*/ 76050 w 509"/>
                <a:gd name="T75" fmla="*/ 20638 h 240"/>
                <a:gd name="T76" fmla="*/ 83180 w 509"/>
                <a:gd name="T77" fmla="*/ 30956 h 240"/>
                <a:gd name="T78" fmla="*/ 100608 w 509"/>
                <a:gd name="T79" fmla="*/ 37306 h 240"/>
                <a:gd name="T80" fmla="*/ 93478 w 509"/>
                <a:gd name="T81" fmla="*/ 37306 h 24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509"/>
                <a:gd name="T124" fmla="*/ 0 h 240"/>
                <a:gd name="T125" fmla="*/ 509 w 509"/>
                <a:gd name="T126" fmla="*/ 240 h 24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509" h="240">
                  <a:moveTo>
                    <a:pt x="457" y="188"/>
                  </a:moveTo>
                  <a:lnTo>
                    <a:pt x="457" y="205"/>
                  </a:lnTo>
                  <a:lnTo>
                    <a:pt x="457" y="223"/>
                  </a:lnTo>
                  <a:lnTo>
                    <a:pt x="475" y="223"/>
                  </a:lnTo>
                  <a:lnTo>
                    <a:pt x="457" y="223"/>
                  </a:lnTo>
                  <a:lnTo>
                    <a:pt x="457" y="240"/>
                  </a:lnTo>
                  <a:lnTo>
                    <a:pt x="423" y="240"/>
                  </a:lnTo>
                  <a:lnTo>
                    <a:pt x="386" y="223"/>
                  </a:lnTo>
                  <a:lnTo>
                    <a:pt x="369" y="223"/>
                  </a:lnTo>
                  <a:lnTo>
                    <a:pt x="333" y="223"/>
                  </a:lnTo>
                  <a:lnTo>
                    <a:pt x="315" y="223"/>
                  </a:lnTo>
                  <a:lnTo>
                    <a:pt x="281" y="223"/>
                  </a:lnTo>
                  <a:lnTo>
                    <a:pt x="281" y="240"/>
                  </a:lnTo>
                  <a:lnTo>
                    <a:pt x="246" y="240"/>
                  </a:lnTo>
                  <a:lnTo>
                    <a:pt x="210" y="240"/>
                  </a:lnTo>
                  <a:lnTo>
                    <a:pt x="175" y="240"/>
                  </a:lnTo>
                  <a:lnTo>
                    <a:pt x="158" y="240"/>
                  </a:lnTo>
                  <a:lnTo>
                    <a:pt x="158" y="223"/>
                  </a:lnTo>
                  <a:lnTo>
                    <a:pt x="141" y="223"/>
                  </a:lnTo>
                  <a:lnTo>
                    <a:pt x="123" y="223"/>
                  </a:lnTo>
                  <a:lnTo>
                    <a:pt x="106" y="223"/>
                  </a:lnTo>
                  <a:lnTo>
                    <a:pt x="70" y="223"/>
                  </a:lnTo>
                  <a:lnTo>
                    <a:pt x="52" y="205"/>
                  </a:lnTo>
                  <a:lnTo>
                    <a:pt x="35" y="188"/>
                  </a:lnTo>
                  <a:lnTo>
                    <a:pt x="70" y="171"/>
                  </a:lnTo>
                  <a:lnTo>
                    <a:pt x="106" y="171"/>
                  </a:lnTo>
                  <a:lnTo>
                    <a:pt x="141" y="171"/>
                  </a:lnTo>
                  <a:lnTo>
                    <a:pt x="158" y="171"/>
                  </a:lnTo>
                  <a:lnTo>
                    <a:pt x="158" y="154"/>
                  </a:lnTo>
                  <a:lnTo>
                    <a:pt x="123" y="154"/>
                  </a:lnTo>
                  <a:lnTo>
                    <a:pt x="106" y="154"/>
                  </a:lnTo>
                  <a:lnTo>
                    <a:pt x="70" y="154"/>
                  </a:lnTo>
                  <a:lnTo>
                    <a:pt x="35" y="154"/>
                  </a:lnTo>
                  <a:lnTo>
                    <a:pt x="18" y="136"/>
                  </a:lnTo>
                  <a:lnTo>
                    <a:pt x="35" y="119"/>
                  </a:lnTo>
                  <a:lnTo>
                    <a:pt x="52" y="119"/>
                  </a:lnTo>
                  <a:lnTo>
                    <a:pt x="35" y="119"/>
                  </a:lnTo>
                  <a:lnTo>
                    <a:pt x="18" y="119"/>
                  </a:lnTo>
                  <a:lnTo>
                    <a:pt x="0" y="119"/>
                  </a:lnTo>
                  <a:lnTo>
                    <a:pt x="0" y="102"/>
                  </a:lnTo>
                  <a:lnTo>
                    <a:pt x="18" y="67"/>
                  </a:lnTo>
                  <a:lnTo>
                    <a:pt x="70" y="33"/>
                  </a:lnTo>
                  <a:lnTo>
                    <a:pt x="123" y="15"/>
                  </a:lnTo>
                  <a:lnTo>
                    <a:pt x="123" y="33"/>
                  </a:lnTo>
                  <a:lnTo>
                    <a:pt x="141" y="50"/>
                  </a:lnTo>
                  <a:lnTo>
                    <a:pt x="141" y="67"/>
                  </a:lnTo>
                  <a:lnTo>
                    <a:pt x="141" y="50"/>
                  </a:lnTo>
                  <a:lnTo>
                    <a:pt x="158" y="33"/>
                  </a:lnTo>
                  <a:lnTo>
                    <a:pt x="192" y="50"/>
                  </a:lnTo>
                  <a:lnTo>
                    <a:pt x="210" y="50"/>
                  </a:lnTo>
                  <a:lnTo>
                    <a:pt x="210" y="67"/>
                  </a:lnTo>
                  <a:lnTo>
                    <a:pt x="229" y="67"/>
                  </a:lnTo>
                  <a:lnTo>
                    <a:pt x="229" y="50"/>
                  </a:lnTo>
                  <a:lnTo>
                    <a:pt x="246" y="50"/>
                  </a:lnTo>
                  <a:lnTo>
                    <a:pt x="263" y="50"/>
                  </a:lnTo>
                  <a:lnTo>
                    <a:pt x="281" y="50"/>
                  </a:lnTo>
                  <a:lnTo>
                    <a:pt x="281" y="67"/>
                  </a:lnTo>
                  <a:lnTo>
                    <a:pt x="281" y="85"/>
                  </a:lnTo>
                  <a:lnTo>
                    <a:pt x="281" y="102"/>
                  </a:lnTo>
                  <a:lnTo>
                    <a:pt x="298" y="102"/>
                  </a:lnTo>
                  <a:lnTo>
                    <a:pt x="315" y="102"/>
                  </a:lnTo>
                  <a:lnTo>
                    <a:pt x="298" y="67"/>
                  </a:lnTo>
                  <a:lnTo>
                    <a:pt x="298" y="50"/>
                  </a:lnTo>
                  <a:lnTo>
                    <a:pt x="281" y="33"/>
                  </a:lnTo>
                  <a:lnTo>
                    <a:pt x="298" y="15"/>
                  </a:lnTo>
                  <a:lnTo>
                    <a:pt x="315" y="15"/>
                  </a:lnTo>
                  <a:lnTo>
                    <a:pt x="333" y="15"/>
                  </a:lnTo>
                  <a:lnTo>
                    <a:pt x="333" y="0"/>
                  </a:lnTo>
                  <a:lnTo>
                    <a:pt x="350" y="0"/>
                  </a:lnTo>
                  <a:lnTo>
                    <a:pt x="369" y="0"/>
                  </a:lnTo>
                  <a:lnTo>
                    <a:pt x="386" y="0"/>
                  </a:lnTo>
                  <a:lnTo>
                    <a:pt x="386" y="15"/>
                  </a:lnTo>
                  <a:lnTo>
                    <a:pt x="386" y="33"/>
                  </a:lnTo>
                  <a:lnTo>
                    <a:pt x="386" y="50"/>
                  </a:lnTo>
                  <a:lnTo>
                    <a:pt x="386" y="67"/>
                  </a:lnTo>
                  <a:lnTo>
                    <a:pt x="386" y="102"/>
                  </a:lnTo>
                  <a:lnTo>
                    <a:pt x="405" y="119"/>
                  </a:lnTo>
                  <a:lnTo>
                    <a:pt x="423" y="154"/>
                  </a:lnTo>
                  <a:lnTo>
                    <a:pt x="457" y="171"/>
                  </a:lnTo>
                  <a:lnTo>
                    <a:pt x="509" y="188"/>
                  </a:lnTo>
                  <a:lnTo>
                    <a:pt x="492" y="188"/>
                  </a:lnTo>
                  <a:lnTo>
                    <a:pt x="475" y="188"/>
                  </a:lnTo>
                  <a:lnTo>
                    <a:pt x="457" y="188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1" name="Freeform 4">
              <a:extLst>
                <a:ext uri="{FF2B5EF4-FFF2-40B4-BE49-F238E27FC236}">
                  <a16:creationId xmlns:a16="http://schemas.microsoft.com/office/drawing/2014/main" id="{A895C08F-CD85-52D1-F25F-D37ED1BDF524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2781309" y="2575378"/>
              <a:ext cx="226864" cy="151641"/>
            </a:xfrm>
            <a:custGeom>
              <a:avLst/>
              <a:gdLst>
                <a:gd name="T0" fmla="*/ 10353 w 301"/>
                <a:gd name="T1" fmla="*/ 34925 h 190"/>
                <a:gd name="T2" fmla="*/ 10353 w 301"/>
                <a:gd name="T3" fmla="*/ 30956 h 190"/>
                <a:gd name="T4" fmla="*/ 7167 w 301"/>
                <a:gd name="T5" fmla="*/ 30956 h 190"/>
                <a:gd name="T6" fmla="*/ 3982 w 301"/>
                <a:gd name="T7" fmla="*/ 30956 h 190"/>
                <a:gd name="T8" fmla="*/ 0 w 301"/>
                <a:gd name="T9" fmla="*/ 27781 h 190"/>
                <a:gd name="T10" fmla="*/ 3982 w 301"/>
                <a:gd name="T11" fmla="*/ 23813 h 190"/>
                <a:gd name="T12" fmla="*/ 10353 w 301"/>
                <a:gd name="T13" fmla="*/ 14288 h 190"/>
                <a:gd name="T14" fmla="*/ 10353 w 301"/>
                <a:gd name="T15" fmla="*/ 10319 h 190"/>
                <a:gd name="T16" fmla="*/ 10353 w 301"/>
                <a:gd name="T17" fmla="*/ 7938 h 190"/>
                <a:gd name="T18" fmla="*/ 10353 w 301"/>
                <a:gd name="T19" fmla="*/ 3969 h 190"/>
                <a:gd name="T20" fmla="*/ 7167 w 301"/>
                <a:gd name="T21" fmla="*/ 3969 h 190"/>
                <a:gd name="T22" fmla="*/ 10353 w 301"/>
                <a:gd name="T23" fmla="*/ 0 h 190"/>
                <a:gd name="T24" fmla="*/ 14335 w 301"/>
                <a:gd name="T25" fmla="*/ 0 h 190"/>
                <a:gd name="T26" fmla="*/ 21502 w 301"/>
                <a:gd name="T27" fmla="*/ 3969 h 190"/>
                <a:gd name="T28" fmla="*/ 24688 w 301"/>
                <a:gd name="T29" fmla="*/ 0 h 190"/>
                <a:gd name="T30" fmla="*/ 27874 w 301"/>
                <a:gd name="T31" fmla="*/ 0 h 190"/>
                <a:gd name="T32" fmla="*/ 31856 w 301"/>
                <a:gd name="T33" fmla="*/ 3969 h 190"/>
                <a:gd name="T34" fmla="*/ 35837 w 301"/>
                <a:gd name="T35" fmla="*/ 3969 h 190"/>
                <a:gd name="T36" fmla="*/ 39023 w 301"/>
                <a:gd name="T37" fmla="*/ 7938 h 190"/>
                <a:gd name="T38" fmla="*/ 43005 w 301"/>
                <a:gd name="T39" fmla="*/ 3969 h 190"/>
                <a:gd name="T40" fmla="*/ 46191 w 301"/>
                <a:gd name="T41" fmla="*/ 3969 h 190"/>
                <a:gd name="T42" fmla="*/ 49376 w 301"/>
                <a:gd name="T43" fmla="*/ 7938 h 190"/>
                <a:gd name="T44" fmla="*/ 56544 w 301"/>
                <a:gd name="T45" fmla="*/ 10319 h 190"/>
                <a:gd name="T46" fmla="*/ 60526 w 301"/>
                <a:gd name="T47" fmla="*/ 10319 h 190"/>
                <a:gd name="T48" fmla="*/ 56544 w 301"/>
                <a:gd name="T49" fmla="*/ 14288 h 190"/>
                <a:gd name="T50" fmla="*/ 49376 w 301"/>
                <a:gd name="T51" fmla="*/ 17463 h 190"/>
                <a:gd name="T52" fmla="*/ 46191 w 301"/>
                <a:gd name="T53" fmla="*/ 17463 h 190"/>
                <a:gd name="T54" fmla="*/ 39023 w 301"/>
                <a:gd name="T55" fmla="*/ 20638 h 190"/>
                <a:gd name="T56" fmla="*/ 35837 w 301"/>
                <a:gd name="T57" fmla="*/ 23813 h 190"/>
                <a:gd name="T58" fmla="*/ 31856 w 301"/>
                <a:gd name="T59" fmla="*/ 30956 h 190"/>
                <a:gd name="T60" fmla="*/ 27874 w 301"/>
                <a:gd name="T61" fmla="*/ 34925 h 190"/>
                <a:gd name="T62" fmla="*/ 21502 w 301"/>
                <a:gd name="T63" fmla="*/ 34925 h 190"/>
                <a:gd name="T64" fmla="*/ 14335 w 301"/>
                <a:gd name="T65" fmla="*/ 38100 h 190"/>
                <a:gd name="T66" fmla="*/ 14335 w 301"/>
                <a:gd name="T67" fmla="*/ 34925 h 190"/>
                <a:gd name="T68" fmla="*/ 10353 w 301"/>
                <a:gd name="T69" fmla="*/ 34925 h 19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01"/>
                <a:gd name="T106" fmla="*/ 0 h 190"/>
                <a:gd name="T107" fmla="*/ 301 w 301"/>
                <a:gd name="T108" fmla="*/ 190 h 19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01" h="190">
                  <a:moveTo>
                    <a:pt x="51" y="173"/>
                  </a:moveTo>
                  <a:lnTo>
                    <a:pt x="51" y="156"/>
                  </a:lnTo>
                  <a:lnTo>
                    <a:pt x="34" y="156"/>
                  </a:lnTo>
                  <a:lnTo>
                    <a:pt x="17" y="156"/>
                  </a:lnTo>
                  <a:lnTo>
                    <a:pt x="0" y="139"/>
                  </a:lnTo>
                  <a:lnTo>
                    <a:pt x="17" y="121"/>
                  </a:lnTo>
                  <a:lnTo>
                    <a:pt x="51" y="69"/>
                  </a:lnTo>
                  <a:lnTo>
                    <a:pt x="51" y="54"/>
                  </a:lnTo>
                  <a:lnTo>
                    <a:pt x="51" y="37"/>
                  </a:lnTo>
                  <a:lnTo>
                    <a:pt x="51" y="20"/>
                  </a:lnTo>
                  <a:lnTo>
                    <a:pt x="34" y="20"/>
                  </a:lnTo>
                  <a:lnTo>
                    <a:pt x="51" y="0"/>
                  </a:lnTo>
                  <a:lnTo>
                    <a:pt x="71" y="0"/>
                  </a:lnTo>
                  <a:lnTo>
                    <a:pt x="105" y="20"/>
                  </a:lnTo>
                  <a:lnTo>
                    <a:pt x="122" y="0"/>
                  </a:lnTo>
                  <a:lnTo>
                    <a:pt x="140" y="0"/>
                  </a:lnTo>
                  <a:lnTo>
                    <a:pt x="159" y="20"/>
                  </a:lnTo>
                  <a:lnTo>
                    <a:pt x="178" y="20"/>
                  </a:lnTo>
                  <a:lnTo>
                    <a:pt x="195" y="37"/>
                  </a:lnTo>
                  <a:lnTo>
                    <a:pt x="213" y="20"/>
                  </a:lnTo>
                  <a:lnTo>
                    <a:pt x="230" y="20"/>
                  </a:lnTo>
                  <a:lnTo>
                    <a:pt x="247" y="37"/>
                  </a:lnTo>
                  <a:lnTo>
                    <a:pt x="284" y="54"/>
                  </a:lnTo>
                  <a:lnTo>
                    <a:pt x="301" y="54"/>
                  </a:lnTo>
                  <a:lnTo>
                    <a:pt x="284" y="69"/>
                  </a:lnTo>
                  <a:lnTo>
                    <a:pt x="247" y="87"/>
                  </a:lnTo>
                  <a:lnTo>
                    <a:pt x="230" y="87"/>
                  </a:lnTo>
                  <a:lnTo>
                    <a:pt x="195" y="104"/>
                  </a:lnTo>
                  <a:lnTo>
                    <a:pt x="178" y="121"/>
                  </a:lnTo>
                  <a:lnTo>
                    <a:pt x="159" y="156"/>
                  </a:lnTo>
                  <a:lnTo>
                    <a:pt x="140" y="173"/>
                  </a:lnTo>
                  <a:lnTo>
                    <a:pt x="105" y="173"/>
                  </a:lnTo>
                  <a:lnTo>
                    <a:pt x="71" y="190"/>
                  </a:lnTo>
                  <a:lnTo>
                    <a:pt x="71" y="173"/>
                  </a:lnTo>
                  <a:lnTo>
                    <a:pt x="51" y="173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907A3E94-E531-8C96-220B-8518F779253B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2956184" y="2480393"/>
              <a:ext cx="247344" cy="109982"/>
            </a:xfrm>
            <a:custGeom>
              <a:avLst/>
              <a:gdLst>
                <a:gd name="T0" fmla="*/ 20637 w 328"/>
                <a:gd name="T1" fmla="*/ 23813 h 138"/>
                <a:gd name="T2" fmla="*/ 20637 w 328"/>
                <a:gd name="T3" fmla="*/ 23813 h 138"/>
                <a:gd name="T4" fmla="*/ 23812 w 328"/>
                <a:gd name="T5" fmla="*/ 19844 h 138"/>
                <a:gd name="T6" fmla="*/ 20637 w 328"/>
                <a:gd name="T7" fmla="*/ 16669 h 138"/>
                <a:gd name="T8" fmla="*/ 16669 w 328"/>
                <a:gd name="T9" fmla="*/ 19844 h 138"/>
                <a:gd name="T10" fmla="*/ 10319 w 328"/>
                <a:gd name="T11" fmla="*/ 19844 h 138"/>
                <a:gd name="T12" fmla="*/ 3969 w 328"/>
                <a:gd name="T13" fmla="*/ 19844 h 138"/>
                <a:gd name="T14" fmla="*/ 0 w 328"/>
                <a:gd name="T15" fmla="*/ 16669 h 138"/>
                <a:gd name="T16" fmla="*/ 3969 w 328"/>
                <a:gd name="T17" fmla="*/ 13494 h 138"/>
                <a:gd name="T18" fmla="*/ 10319 w 328"/>
                <a:gd name="T19" fmla="*/ 13494 h 138"/>
                <a:gd name="T20" fmla="*/ 10319 w 328"/>
                <a:gd name="T21" fmla="*/ 13494 h 138"/>
                <a:gd name="T22" fmla="*/ 3969 w 328"/>
                <a:gd name="T23" fmla="*/ 13494 h 138"/>
                <a:gd name="T24" fmla="*/ 7144 w 328"/>
                <a:gd name="T25" fmla="*/ 9525 h 138"/>
                <a:gd name="T26" fmla="*/ 14288 w 328"/>
                <a:gd name="T27" fmla="*/ 9525 h 138"/>
                <a:gd name="T28" fmla="*/ 14288 w 328"/>
                <a:gd name="T29" fmla="*/ 9525 h 138"/>
                <a:gd name="T30" fmla="*/ 7144 w 328"/>
                <a:gd name="T31" fmla="*/ 9525 h 138"/>
                <a:gd name="T32" fmla="*/ 10319 w 328"/>
                <a:gd name="T33" fmla="*/ 7144 h 138"/>
                <a:gd name="T34" fmla="*/ 10319 w 328"/>
                <a:gd name="T35" fmla="*/ 3175 h 138"/>
                <a:gd name="T36" fmla="*/ 16669 w 328"/>
                <a:gd name="T37" fmla="*/ 3175 h 138"/>
                <a:gd name="T38" fmla="*/ 23812 w 328"/>
                <a:gd name="T39" fmla="*/ 7144 h 138"/>
                <a:gd name="T40" fmla="*/ 34131 w 328"/>
                <a:gd name="T41" fmla="*/ 13494 h 138"/>
                <a:gd name="T42" fmla="*/ 44450 w 328"/>
                <a:gd name="T43" fmla="*/ 13494 h 138"/>
                <a:gd name="T44" fmla="*/ 44450 w 328"/>
                <a:gd name="T45" fmla="*/ 13494 h 138"/>
                <a:gd name="T46" fmla="*/ 44450 w 328"/>
                <a:gd name="T47" fmla="*/ 9525 h 138"/>
                <a:gd name="T48" fmla="*/ 40481 w 328"/>
                <a:gd name="T49" fmla="*/ 7144 h 138"/>
                <a:gd name="T50" fmla="*/ 37306 w 328"/>
                <a:gd name="T51" fmla="*/ 3175 h 138"/>
                <a:gd name="T52" fmla="*/ 44450 w 328"/>
                <a:gd name="T53" fmla="*/ 0 h 138"/>
                <a:gd name="T54" fmla="*/ 47625 w 328"/>
                <a:gd name="T55" fmla="*/ 3175 h 138"/>
                <a:gd name="T56" fmla="*/ 51594 w 328"/>
                <a:gd name="T57" fmla="*/ 9525 h 138"/>
                <a:gd name="T58" fmla="*/ 61913 w 328"/>
                <a:gd name="T59" fmla="*/ 7144 h 138"/>
                <a:gd name="T60" fmla="*/ 65088 w 328"/>
                <a:gd name="T61" fmla="*/ 9525 h 138"/>
                <a:gd name="T62" fmla="*/ 61913 w 328"/>
                <a:gd name="T63" fmla="*/ 19844 h 138"/>
                <a:gd name="T64" fmla="*/ 47625 w 328"/>
                <a:gd name="T65" fmla="*/ 19844 h 138"/>
                <a:gd name="T66" fmla="*/ 37306 w 328"/>
                <a:gd name="T67" fmla="*/ 23813 h 138"/>
                <a:gd name="T68" fmla="*/ 30956 w 328"/>
                <a:gd name="T69" fmla="*/ 23813 h 138"/>
                <a:gd name="T70" fmla="*/ 23812 w 328"/>
                <a:gd name="T71" fmla="*/ 27781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28"/>
                <a:gd name="T109" fmla="*/ 0 h 138"/>
                <a:gd name="T110" fmla="*/ 328 w 328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28" h="138">
                  <a:moveTo>
                    <a:pt x="121" y="138"/>
                  </a:moveTo>
                  <a:lnTo>
                    <a:pt x="104" y="120"/>
                  </a:lnTo>
                  <a:lnTo>
                    <a:pt x="86" y="120"/>
                  </a:lnTo>
                  <a:lnTo>
                    <a:pt x="104" y="120"/>
                  </a:lnTo>
                  <a:lnTo>
                    <a:pt x="121" y="120"/>
                  </a:lnTo>
                  <a:lnTo>
                    <a:pt x="121" y="103"/>
                  </a:lnTo>
                  <a:lnTo>
                    <a:pt x="104" y="103"/>
                  </a:lnTo>
                  <a:lnTo>
                    <a:pt x="104" y="86"/>
                  </a:lnTo>
                  <a:lnTo>
                    <a:pt x="86" y="86"/>
                  </a:lnTo>
                  <a:lnTo>
                    <a:pt x="86" y="103"/>
                  </a:lnTo>
                  <a:lnTo>
                    <a:pt x="69" y="103"/>
                  </a:lnTo>
                  <a:lnTo>
                    <a:pt x="52" y="103"/>
                  </a:lnTo>
                  <a:lnTo>
                    <a:pt x="34" y="103"/>
                  </a:lnTo>
                  <a:lnTo>
                    <a:pt x="17" y="103"/>
                  </a:lnTo>
                  <a:lnTo>
                    <a:pt x="0" y="103"/>
                  </a:lnTo>
                  <a:lnTo>
                    <a:pt x="0" y="86"/>
                  </a:lnTo>
                  <a:lnTo>
                    <a:pt x="0" y="69"/>
                  </a:lnTo>
                  <a:lnTo>
                    <a:pt x="17" y="69"/>
                  </a:lnTo>
                  <a:lnTo>
                    <a:pt x="34" y="69"/>
                  </a:lnTo>
                  <a:lnTo>
                    <a:pt x="52" y="69"/>
                  </a:lnTo>
                  <a:lnTo>
                    <a:pt x="69" y="69"/>
                  </a:lnTo>
                  <a:lnTo>
                    <a:pt x="52" y="69"/>
                  </a:lnTo>
                  <a:lnTo>
                    <a:pt x="34" y="69"/>
                  </a:lnTo>
                  <a:lnTo>
                    <a:pt x="17" y="69"/>
                  </a:lnTo>
                  <a:lnTo>
                    <a:pt x="17" y="51"/>
                  </a:lnTo>
                  <a:lnTo>
                    <a:pt x="34" y="51"/>
                  </a:lnTo>
                  <a:lnTo>
                    <a:pt x="52" y="51"/>
                  </a:lnTo>
                  <a:lnTo>
                    <a:pt x="69" y="51"/>
                  </a:lnTo>
                  <a:lnTo>
                    <a:pt x="86" y="51"/>
                  </a:lnTo>
                  <a:lnTo>
                    <a:pt x="69" y="51"/>
                  </a:lnTo>
                  <a:lnTo>
                    <a:pt x="52" y="51"/>
                  </a:lnTo>
                  <a:lnTo>
                    <a:pt x="34" y="51"/>
                  </a:lnTo>
                  <a:lnTo>
                    <a:pt x="34" y="34"/>
                  </a:lnTo>
                  <a:lnTo>
                    <a:pt x="52" y="34"/>
                  </a:lnTo>
                  <a:lnTo>
                    <a:pt x="69" y="34"/>
                  </a:lnTo>
                  <a:lnTo>
                    <a:pt x="52" y="17"/>
                  </a:lnTo>
                  <a:lnTo>
                    <a:pt x="69" y="17"/>
                  </a:lnTo>
                  <a:lnTo>
                    <a:pt x="86" y="17"/>
                  </a:lnTo>
                  <a:lnTo>
                    <a:pt x="104" y="34"/>
                  </a:lnTo>
                  <a:lnTo>
                    <a:pt x="121" y="34"/>
                  </a:lnTo>
                  <a:lnTo>
                    <a:pt x="138" y="51"/>
                  </a:lnTo>
                  <a:lnTo>
                    <a:pt x="173" y="69"/>
                  </a:lnTo>
                  <a:lnTo>
                    <a:pt x="207" y="69"/>
                  </a:lnTo>
                  <a:lnTo>
                    <a:pt x="225" y="69"/>
                  </a:lnTo>
                  <a:lnTo>
                    <a:pt x="242" y="69"/>
                  </a:lnTo>
                  <a:lnTo>
                    <a:pt x="225" y="69"/>
                  </a:lnTo>
                  <a:lnTo>
                    <a:pt x="207" y="69"/>
                  </a:lnTo>
                  <a:lnTo>
                    <a:pt x="225" y="51"/>
                  </a:lnTo>
                  <a:lnTo>
                    <a:pt x="225" y="34"/>
                  </a:lnTo>
                  <a:lnTo>
                    <a:pt x="207" y="34"/>
                  </a:lnTo>
                  <a:lnTo>
                    <a:pt x="190" y="34"/>
                  </a:lnTo>
                  <a:lnTo>
                    <a:pt x="190" y="17"/>
                  </a:lnTo>
                  <a:lnTo>
                    <a:pt x="207" y="0"/>
                  </a:lnTo>
                  <a:lnTo>
                    <a:pt x="225" y="0"/>
                  </a:lnTo>
                  <a:lnTo>
                    <a:pt x="242" y="0"/>
                  </a:lnTo>
                  <a:lnTo>
                    <a:pt x="242" y="17"/>
                  </a:lnTo>
                  <a:lnTo>
                    <a:pt x="242" y="34"/>
                  </a:lnTo>
                  <a:lnTo>
                    <a:pt x="259" y="51"/>
                  </a:lnTo>
                  <a:lnTo>
                    <a:pt x="294" y="51"/>
                  </a:lnTo>
                  <a:lnTo>
                    <a:pt x="311" y="34"/>
                  </a:lnTo>
                  <a:lnTo>
                    <a:pt x="311" y="51"/>
                  </a:lnTo>
                  <a:lnTo>
                    <a:pt x="328" y="51"/>
                  </a:lnTo>
                  <a:lnTo>
                    <a:pt x="328" y="69"/>
                  </a:lnTo>
                  <a:lnTo>
                    <a:pt x="311" y="103"/>
                  </a:lnTo>
                  <a:lnTo>
                    <a:pt x="294" y="103"/>
                  </a:lnTo>
                  <a:lnTo>
                    <a:pt x="242" y="103"/>
                  </a:lnTo>
                  <a:lnTo>
                    <a:pt x="225" y="120"/>
                  </a:lnTo>
                  <a:lnTo>
                    <a:pt x="190" y="120"/>
                  </a:lnTo>
                  <a:lnTo>
                    <a:pt x="173" y="120"/>
                  </a:lnTo>
                  <a:lnTo>
                    <a:pt x="155" y="120"/>
                  </a:lnTo>
                  <a:lnTo>
                    <a:pt x="138" y="120"/>
                  </a:lnTo>
                  <a:lnTo>
                    <a:pt x="121" y="138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3" name="Freeform 6">
              <a:extLst>
                <a:ext uri="{FF2B5EF4-FFF2-40B4-BE49-F238E27FC236}">
                  <a16:creationId xmlns:a16="http://schemas.microsoft.com/office/drawing/2014/main" id="{2DEACD58-FAFC-8EF0-AEBF-81FAF956B4FF}"/>
                </a:ext>
              </a:extLst>
            </p:cNvPr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2847478" y="2452065"/>
              <a:ext cx="148092" cy="81653"/>
            </a:xfrm>
            <a:custGeom>
              <a:avLst/>
              <a:gdLst>
                <a:gd name="T0" fmla="*/ 38894 w 196"/>
                <a:gd name="T1" fmla="*/ 0 h 104"/>
                <a:gd name="T2" fmla="*/ 38894 w 196"/>
                <a:gd name="T3" fmla="*/ 3969 h 104"/>
                <a:gd name="T4" fmla="*/ 35719 w 196"/>
                <a:gd name="T5" fmla="*/ 3969 h 104"/>
                <a:gd name="T6" fmla="*/ 35719 w 196"/>
                <a:gd name="T7" fmla="*/ 7144 h 104"/>
                <a:gd name="T8" fmla="*/ 38894 w 196"/>
                <a:gd name="T9" fmla="*/ 7144 h 104"/>
                <a:gd name="T10" fmla="*/ 35719 w 196"/>
                <a:gd name="T11" fmla="*/ 7144 h 104"/>
                <a:gd name="T12" fmla="*/ 28575 w 196"/>
                <a:gd name="T13" fmla="*/ 14288 h 104"/>
                <a:gd name="T14" fmla="*/ 24606 w 196"/>
                <a:gd name="T15" fmla="*/ 10319 h 104"/>
                <a:gd name="T16" fmla="*/ 24606 w 196"/>
                <a:gd name="T17" fmla="*/ 7144 h 104"/>
                <a:gd name="T18" fmla="*/ 20637 w 196"/>
                <a:gd name="T19" fmla="*/ 10319 h 104"/>
                <a:gd name="T20" fmla="*/ 20637 w 196"/>
                <a:gd name="T21" fmla="*/ 14288 h 104"/>
                <a:gd name="T22" fmla="*/ 18256 w 196"/>
                <a:gd name="T23" fmla="*/ 14288 h 104"/>
                <a:gd name="T24" fmla="*/ 18256 w 196"/>
                <a:gd name="T25" fmla="*/ 17463 h 104"/>
                <a:gd name="T26" fmla="*/ 18256 w 196"/>
                <a:gd name="T27" fmla="*/ 20638 h 104"/>
                <a:gd name="T28" fmla="*/ 14288 w 196"/>
                <a:gd name="T29" fmla="*/ 20638 h 104"/>
                <a:gd name="T30" fmla="*/ 10319 w 196"/>
                <a:gd name="T31" fmla="*/ 20638 h 104"/>
                <a:gd name="T32" fmla="*/ 10319 w 196"/>
                <a:gd name="T33" fmla="*/ 17463 h 104"/>
                <a:gd name="T34" fmla="*/ 7144 w 196"/>
                <a:gd name="T35" fmla="*/ 17463 h 104"/>
                <a:gd name="T36" fmla="*/ 3969 w 196"/>
                <a:gd name="T37" fmla="*/ 17463 h 104"/>
                <a:gd name="T38" fmla="*/ 0 w 196"/>
                <a:gd name="T39" fmla="*/ 17463 h 104"/>
                <a:gd name="T40" fmla="*/ 0 w 196"/>
                <a:gd name="T41" fmla="*/ 14288 h 104"/>
                <a:gd name="T42" fmla="*/ 3969 w 196"/>
                <a:gd name="T43" fmla="*/ 10319 h 104"/>
                <a:gd name="T44" fmla="*/ 7144 w 196"/>
                <a:gd name="T45" fmla="*/ 10319 h 104"/>
                <a:gd name="T46" fmla="*/ 10319 w 196"/>
                <a:gd name="T47" fmla="*/ 7144 h 104"/>
                <a:gd name="T48" fmla="*/ 14288 w 196"/>
                <a:gd name="T49" fmla="*/ 7144 h 104"/>
                <a:gd name="T50" fmla="*/ 18256 w 196"/>
                <a:gd name="T51" fmla="*/ 7144 h 104"/>
                <a:gd name="T52" fmla="*/ 18256 w 196"/>
                <a:gd name="T53" fmla="*/ 3969 h 104"/>
                <a:gd name="T54" fmla="*/ 20637 w 196"/>
                <a:gd name="T55" fmla="*/ 0 h 104"/>
                <a:gd name="T56" fmla="*/ 24606 w 196"/>
                <a:gd name="T57" fmla="*/ 0 h 104"/>
                <a:gd name="T58" fmla="*/ 28575 w 196"/>
                <a:gd name="T59" fmla="*/ 0 h 104"/>
                <a:gd name="T60" fmla="*/ 35719 w 196"/>
                <a:gd name="T61" fmla="*/ 0 h 104"/>
                <a:gd name="T62" fmla="*/ 38894 w 196"/>
                <a:gd name="T63" fmla="*/ 0 h 10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96"/>
                <a:gd name="T97" fmla="*/ 0 h 104"/>
                <a:gd name="T98" fmla="*/ 196 w 196"/>
                <a:gd name="T99" fmla="*/ 104 h 10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96" h="104">
                  <a:moveTo>
                    <a:pt x="196" y="0"/>
                  </a:moveTo>
                  <a:lnTo>
                    <a:pt x="196" y="17"/>
                  </a:lnTo>
                  <a:lnTo>
                    <a:pt x="177" y="17"/>
                  </a:lnTo>
                  <a:lnTo>
                    <a:pt x="177" y="35"/>
                  </a:lnTo>
                  <a:lnTo>
                    <a:pt x="196" y="35"/>
                  </a:lnTo>
                  <a:lnTo>
                    <a:pt x="177" y="35"/>
                  </a:lnTo>
                  <a:lnTo>
                    <a:pt x="142" y="69"/>
                  </a:lnTo>
                  <a:lnTo>
                    <a:pt x="125" y="52"/>
                  </a:lnTo>
                  <a:lnTo>
                    <a:pt x="125" y="35"/>
                  </a:lnTo>
                  <a:lnTo>
                    <a:pt x="107" y="52"/>
                  </a:lnTo>
                  <a:lnTo>
                    <a:pt x="107" y="69"/>
                  </a:lnTo>
                  <a:lnTo>
                    <a:pt x="90" y="69"/>
                  </a:lnTo>
                  <a:lnTo>
                    <a:pt x="90" y="86"/>
                  </a:lnTo>
                  <a:lnTo>
                    <a:pt x="90" y="104"/>
                  </a:lnTo>
                  <a:lnTo>
                    <a:pt x="69" y="104"/>
                  </a:lnTo>
                  <a:lnTo>
                    <a:pt x="52" y="104"/>
                  </a:lnTo>
                  <a:lnTo>
                    <a:pt x="52" y="86"/>
                  </a:lnTo>
                  <a:lnTo>
                    <a:pt x="34" y="86"/>
                  </a:lnTo>
                  <a:lnTo>
                    <a:pt x="17" y="86"/>
                  </a:lnTo>
                  <a:lnTo>
                    <a:pt x="0" y="86"/>
                  </a:lnTo>
                  <a:lnTo>
                    <a:pt x="0" y="69"/>
                  </a:lnTo>
                  <a:lnTo>
                    <a:pt x="17" y="52"/>
                  </a:lnTo>
                  <a:lnTo>
                    <a:pt x="34" y="52"/>
                  </a:lnTo>
                  <a:lnTo>
                    <a:pt x="52" y="35"/>
                  </a:lnTo>
                  <a:lnTo>
                    <a:pt x="69" y="35"/>
                  </a:lnTo>
                  <a:lnTo>
                    <a:pt x="90" y="35"/>
                  </a:lnTo>
                  <a:lnTo>
                    <a:pt x="90" y="17"/>
                  </a:lnTo>
                  <a:lnTo>
                    <a:pt x="107" y="0"/>
                  </a:lnTo>
                  <a:lnTo>
                    <a:pt x="125" y="0"/>
                  </a:lnTo>
                  <a:lnTo>
                    <a:pt x="142" y="0"/>
                  </a:lnTo>
                  <a:lnTo>
                    <a:pt x="177" y="0"/>
                  </a:lnTo>
                  <a:lnTo>
                    <a:pt x="196" y="0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4" name="Freeform 7">
              <a:extLst>
                <a:ext uri="{FF2B5EF4-FFF2-40B4-BE49-F238E27FC236}">
                  <a16:creationId xmlns:a16="http://schemas.microsoft.com/office/drawing/2014/main" id="{A28F4AA6-D7FF-9F7F-EFC9-1B9D565B6C99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3044409" y="2397073"/>
              <a:ext cx="80347" cy="28329"/>
            </a:xfrm>
            <a:custGeom>
              <a:avLst/>
              <a:gdLst>
                <a:gd name="T0" fmla="*/ 7144 w 106"/>
                <a:gd name="T1" fmla="*/ 7144 h 36"/>
                <a:gd name="T2" fmla="*/ 3969 w 106"/>
                <a:gd name="T3" fmla="*/ 3969 h 36"/>
                <a:gd name="T4" fmla="*/ 0 w 106"/>
                <a:gd name="T5" fmla="*/ 3969 h 36"/>
                <a:gd name="T6" fmla="*/ 0 w 106"/>
                <a:gd name="T7" fmla="*/ 7144 h 36"/>
                <a:gd name="T8" fmla="*/ 0 w 106"/>
                <a:gd name="T9" fmla="*/ 0 h 36"/>
                <a:gd name="T10" fmla="*/ 7144 w 106"/>
                <a:gd name="T11" fmla="*/ 0 h 36"/>
                <a:gd name="T12" fmla="*/ 10319 w 106"/>
                <a:gd name="T13" fmla="*/ 0 h 36"/>
                <a:gd name="T14" fmla="*/ 14288 w 106"/>
                <a:gd name="T15" fmla="*/ 0 h 36"/>
                <a:gd name="T16" fmla="*/ 17463 w 106"/>
                <a:gd name="T17" fmla="*/ 0 h 36"/>
                <a:gd name="T18" fmla="*/ 21431 w 106"/>
                <a:gd name="T19" fmla="*/ 3969 h 36"/>
                <a:gd name="T20" fmla="*/ 17463 w 106"/>
                <a:gd name="T21" fmla="*/ 3969 h 36"/>
                <a:gd name="T22" fmla="*/ 14288 w 106"/>
                <a:gd name="T23" fmla="*/ 7144 h 36"/>
                <a:gd name="T24" fmla="*/ 10319 w 106"/>
                <a:gd name="T25" fmla="*/ 7144 h 36"/>
                <a:gd name="T26" fmla="*/ 7144 w 106"/>
                <a:gd name="T27" fmla="*/ 7144 h 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06"/>
                <a:gd name="T43" fmla="*/ 0 h 36"/>
                <a:gd name="T44" fmla="*/ 106 w 106"/>
                <a:gd name="T45" fmla="*/ 36 h 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06" h="36">
                  <a:moveTo>
                    <a:pt x="36" y="36"/>
                  </a:moveTo>
                  <a:lnTo>
                    <a:pt x="17" y="17"/>
                  </a:lnTo>
                  <a:lnTo>
                    <a:pt x="0" y="17"/>
                  </a:lnTo>
                  <a:lnTo>
                    <a:pt x="0" y="36"/>
                  </a:lnTo>
                  <a:lnTo>
                    <a:pt x="0" y="0"/>
                  </a:lnTo>
                  <a:lnTo>
                    <a:pt x="36" y="0"/>
                  </a:lnTo>
                  <a:lnTo>
                    <a:pt x="54" y="0"/>
                  </a:lnTo>
                  <a:lnTo>
                    <a:pt x="71" y="0"/>
                  </a:lnTo>
                  <a:lnTo>
                    <a:pt x="88" y="0"/>
                  </a:lnTo>
                  <a:lnTo>
                    <a:pt x="106" y="17"/>
                  </a:lnTo>
                  <a:lnTo>
                    <a:pt x="88" y="17"/>
                  </a:lnTo>
                  <a:lnTo>
                    <a:pt x="71" y="36"/>
                  </a:lnTo>
                  <a:lnTo>
                    <a:pt x="54" y="36"/>
                  </a:lnTo>
                  <a:lnTo>
                    <a:pt x="36" y="36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B974DB76-1218-3D08-9C02-9638F381414C}"/>
                </a:ext>
              </a:extLst>
            </p:cNvPr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3044409" y="2425402"/>
              <a:ext cx="69320" cy="41659"/>
            </a:xfrm>
            <a:custGeom>
              <a:avLst/>
              <a:gdLst>
                <a:gd name="T0" fmla="*/ 14612 w 88"/>
                <a:gd name="T1" fmla="*/ 3969 h 52"/>
                <a:gd name="T2" fmla="*/ 11365 w 88"/>
                <a:gd name="T3" fmla="*/ 7144 h 52"/>
                <a:gd name="T4" fmla="*/ 4059 w 88"/>
                <a:gd name="T5" fmla="*/ 10319 h 52"/>
                <a:gd name="T6" fmla="*/ 0 w 88"/>
                <a:gd name="T7" fmla="*/ 7144 h 52"/>
                <a:gd name="T8" fmla="*/ 0 w 88"/>
                <a:gd name="T9" fmla="*/ 3969 h 52"/>
                <a:gd name="T10" fmla="*/ 0 w 88"/>
                <a:gd name="T11" fmla="*/ 0 h 52"/>
                <a:gd name="T12" fmla="*/ 11365 w 88"/>
                <a:gd name="T13" fmla="*/ 0 h 52"/>
                <a:gd name="T14" fmla="*/ 14612 w 88"/>
                <a:gd name="T15" fmla="*/ 0 h 52"/>
                <a:gd name="T16" fmla="*/ 18671 w 88"/>
                <a:gd name="T17" fmla="*/ 0 h 52"/>
                <a:gd name="T18" fmla="*/ 18671 w 88"/>
                <a:gd name="T19" fmla="*/ 3969 h 52"/>
                <a:gd name="T20" fmla="*/ 14612 w 88"/>
                <a:gd name="T21" fmla="*/ 3969 h 52"/>
                <a:gd name="T22" fmla="*/ 11365 w 88"/>
                <a:gd name="T23" fmla="*/ 3969 h 52"/>
                <a:gd name="T24" fmla="*/ 14612 w 88"/>
                <a:gd name="T25" fmla="*/ 3969 h 5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8"/>
                <a:gd name="T40" fmla="*/ 0 h 52"/>
                <a:gd name="T41" fmla="*/ 88 w 88"/>
                <a:gd name="T42" fmla="*/ 52 h 5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8" h="52">
                  <a:moveTo>
                    <a:pt x="71" y="18"/>
                  </a:moveTo>
                  <a:lnTo>
                    <a:pt x="54" y="35"/>
                  </a:lnTo>
                  <a:lnTo>
                    <a:pt x="17" y="52"/>
                  </a:lnTo>
                  <a:lnTo>
                    <a:pt x="0" y="35"/>
                  </a:lnTo>
                  <a:lnTo>
                    <a:pt x="0" y="18"/>
                  </a:lnTo>
                  <a:lnTo>
                    <a:pt x="0" y="0"/>
                  </a:lnTo>
                  <a:lnTo>
                    <a:pt x="54" y="0"/>
                  </a:lnTo>
                  <a:lnTo>
                    <a:pt x="71" y="0"/>
                  </a:lnTo>
                  <a:lnTo>
                    <a:pt x="88" y="0"/>
                  </a:lnTo>
                  <a:lnTo>
                    <a:pt x="88" y="18"/>
                  </a:lnTo>
                  <a:lnTo>
                    <a:pt x="71" y="18"/>
                  </a:lnTo>
                  <a:lnTo>
                    <a:pt x="54" y="18"/>
                  </a:lnTo>
                  <a:lnTo>
                    <a:pt x="71" y="18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91B0A146-6A9E-0384-7CC1-74320FDF855F}"/>
                </a:ext>
              </a:extLst>
            </p:cNvPr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3008173" y="2480393"/>
              <a:ext cx="26783" cy="0"/>
            </a:xfrm>
            <a:custGeom>
              <a:avLst/>
              <a:gdLst>
                <a:gd name="T0" fmla="*/ 3084 w 35"/>
                <a:gd name="T1" fmla="*/ 0 w 35"/>
                <a:gd name="T2" fmla="*/ 3084 w 35"/>
                <a:gd name="T3" fmla="*/ 6169 w 35"/>
                <a:gd name="T4" fmla="*/ 3084 w 35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  <a:gd name="T10" fmla="*/ 0 w 35"/>
                <a:gd name="T11" fmla="*/ 35 w 35"/>
              </a:gdLst>
              <a:ahLst/>
              <a:cxnLst>
                <a:cxn ang="T5">
                  <a:pos x="T0" y="0"/>
                </a:cxn>
                <a:cxn ang="T6">
                  <a:pos x="T1" y="0"/>
                </a:cxn>
                <a:cxn ang="T7">
                  <a:pos x="T2" y="0"/>
                </a:cxn>
                <a:cxn ang="T8">
                  <a:pos x="T3" y="0"/>
                </a:cxn>
                <a:cxn ang="T9">
                  <a:pos x="T4" y="0"/>
                </a:cxn>
              </a:cxnLst>
              <a:rect l="T10" t="0" r="T11" b="0"/>
              <a:pathLst>
                <a:path w="35">
                  <a:moveTo>
                    <a:pt x="17" y="0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35" y="0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E6B20113-32C5-31CA-5DB6-D1A803C6A558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3220859" y="2480393"/>
              <a:ext cx="146516" cy="84987"/>
            </a:xfrm>
            <a:custGeom>
              <a:avLst/>
              <a:gdLst>
                <a:gd name="T0" fmla="*/ 3969 w 194"/>
                <a:gd name="T1" fmla="*/ 7212 h 105"/>
                <a:gd name="T2" fmla="*/ 3969 w 194"/>
                <a:gd name="T3" fmla="*/ 4007 h 105"/>
                <a:gd name="T4" fmla="*/ 0 w 194"/>
                <a:gd name="T5" fmla="*/ 0 h 105"/>
                <a:gd name="T6" fmla="*/ 3969 w 194"/>
                <a:gd name="T7" fmla="*/ 0 h 105"/>
                <a:gd name="T8" fmla="*/ 10319 w 194"/>
                <a:gd name="T9" fmla="*/ 4007 h 105"/>
                <a:gd name="T10" fmla="*/ 14288 w 194"/>
                <a:gd name="T11" fmla="*/ 11218 h 105"/>
                <a:gd name="T12" fmla="*/ 20638 w 194"/>
                <a:gd name="T13" fmla="*/ 11218 h 105"/>
                <a:gd name="T14" fmla="*/ 18256 w 194"/>
                <a:gd name="T15" fmla="*/ 11218 h 105"/>
                <a:gd name="T16" fmla="*/ 14288 w 194"/>
                <a:gd name="T17" fmla="*/ 7212 h 105"/>
                <a:gd name="T18" fmla="*/ 14288 w 194"/>
                <a:gd name="T19" fmla="*/ 4007 h 105"/>
                <a:gd name="T20" fmla="*/ 18256 w 194"/>
                <a:gd name="T21" fmla="*/ 7212 h 105"/>
                <a:gd name="T22" fmla="*/ 24606 w 194"/>
                <a:gd name="T23" fmla="*/ 7212 h 105"/>
                <a:gd name="T24" fmla="*/ 24606 w 194"/>
                <a:gd name="T25" fmla="*/ 11218 h 105"/>
                <a:gd name="T26" fmla="*/ 24606 w 194"/>
                <a:gd name="T27" fmla="*/ 7212 h 105"/>
                <a:gd name="T28" fmla="*/ 24606 w 194"/>
                <a:gd name="T29" fmla="*/ 4007 h 105"/>
                <a:gd name="T30" fmla="*/ 20638 w 194"/>
                <a:gd name="T31" fmla="*/ 4007 h 105"/>
                <a:gd name="T32" fmla="*/ 20638 w 194"/>
                <a:gd name="T33" fmla="*/ 0 h 105"/>
                <a:gd name="T34" fmla="*/ 24606 w 194"/>
                <a:gd name="T35" fmla="*/ 0 h 105"/>
                <a:gd name="T36" fmla="*/ 28575 w 194"/>
                <a:gd name="T37" fmla="*/ 4007 h 105"/>
                <a:gd name="T38" fmla="*/ 31750 w 194"/>
                <a:gd name="T39" fmla="*/ 4007 h 105"/>
                <a:gd name="T40" fmla="*/ 35719 w 194"/>
                <a:gd name="T41" fmla="*/ 4007 h 105"/>
                <a:gd name="T42" fmla="*/ 35719 w 194"/>
                <a:gd name="T43" fmla="*/ 0 h 105"/>
                <a:gd name="T44" fmla="*/ 35719 w 194"/>
                <a:gd name="T45" fmla="*/ 4007 h 105"/>
                <a:gd name="T46" fmla="*/ 38894 w 194"/>
                <a:gd name="T47" fmla="*/ 4007 h 105"/>
                <a:gd name="T48" fmla="*/ 38894 w 194"/>
                <a:gd name="T49" fmla="*/ 7212 h 105"/>
                <a:gd name="T50" fmla="*/ 38894 w 194"/>
                <a:gd name="T51" fmla="*/ 14424 h 105"/>
                <a:gd name="T52" fmla="*/ 35719 w 194"/>
                <a:gd name="T53" fmla="*/ 14424 h 105"/>
                <a:gd name="T54" fmla="*/ 35719 w 194"/>
                <a:gd name="T55" fmla="*/ 21635 h 105"/>
                <a:gd name="T56" fmla="*/ 31750 w 194"/>
                <a:gd name="T57" fmla="*/ 21635 h 105"/>
                <a:gd name="T58" fmla="*/ 28575 w 194"/>
                <a:gd name="T59" fmla="*/ 21635 h 105"/>
                <a:gd name="T60" fmla="*/ 24606 w 194"/>
                <a:gd name="T61" fmla="*/ 21635 h 105"/>
                <a:gd name="T62" fmla="*/ 24606 w 194"/>
                <a:gd name="T63" fmla="*/ 17629 h 105"/>
                <a:gd name="T64" fmla="*/ 24606 w 194"/>
                <a:gd name="T65" fmla="*/ 14424 h 105"/>
                <a:gd name="T66" fmla="*/ 28575 w 194"/>
                <a:gd name="T67" fmla="*/ 14424 h 105"/>
                <a:gd name="T68" fmla="*/ 24606 w 194"/>
                <a:gd name="T69" fmla="*/ 14424 h 105"/>
                <a:gd name="T70" fmla="*/ 18256 w 194"/>
                <a:gd name="T71" fmla="*/ 14424 h 105"/>
                <a:gd name="T72" fmla="*/ 14288 w 194"/>
                <a:gd name="T73" fmla="*/ 14424 h 105"/>
                <a:gd name="T74" fmla="*/ 10319 w 194"/>
                <a:gd name="T75" fmla="*/ 14424 h 105"/>
                <a:gd name="T76" fmla="*/ 7938 w 194"/>
                <a:gd name="T77" fmla="*/ 14424 h 105"/>
                <a:gd name="T78" fmla="*/ 7938 w 194"/>
                <a:gd name="T79" fmla="*/ 11218 h 105"/>
                <a:gd name="T80" fmla="*/ 3969 w 194"/>
                <a:gd name="T81" fmla="*/ 11218 h 105"/>
                <a:gd name="T82" fmla="*/ 3969 w 194"/>
                <a:gd name="T83" fmla="*/ 7212 h 105"/>
                <a:gd name="T84" fmla="*/ 3969 w 194"/>
                <a:gd name="T85" fmla="*/ 4007 h 105"/>
                <a:gd name="T86" fmla="*/ 3969 w 194"/>
                <a:gd name="T87" fmla="*/ 7212 h 105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94"/>
                <a:gd name="T133" fmla="*/ 0 h 105"/>
                <a:gd name="T134" fmla="*/ 194 w 194"/>
                <a:gd name="T135" fmla="*/ 105 h 105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94" h="105">
                  <a:moveTo>
                    <a:pt x="19" y="34"/>
                  </a:moveTo>
                  <a:lnTo>
                    <a:pt x="19" y="17"/>
                  </a:lnTo>
                  <a:lnTo>
                    <a:pt x="0" y="0"/>
                  </a:lnTo>
                  <a:lnTo>
                    <a:pt x="19" y="0"/>
                  </a:lnTo>
                  <a:lnTo>
                    <a:pt x="54" y="17"/>
                  </a:lnTo>
                  <a:lnTo>
                    <a:pt x="71" y="53"/>
                  </a:lnTo>
                  <a:lnTo>
                    <a:pt x="106" y="53"/>
                  </a:lnTo>
                  <a:lnTo>
                    <a:pt x="89" y="53"/>
                  </a:lnTo>
                  <a:lnTo>
                    <a:pt x="71" y="34"/>
                  </a:lnTo>
                  <a:lnTo>
                    <a:pt x="71" y="17"/>
                  </a:lnTo>
                  <a:lnTo>
                    <a:pt x="89" y="34"/>
                  </a:lnTo>
                  <a:lnTo>
                    <a:pt x="125" y="34"/>
                  </a:lnTo>
                  <a:lnTo>
                    <a:pt x="125" y="53"/>
                  </a:lnTo>
                  <a:lnTo>
                    <a:pt x="125" y="34"/>
                  </a:lnTo>
                  <a:lnTo>
                    <a:pt x="125" y="17"/>
                  </a:lnTo>
                  <a:lnTo>
                    <a:pt x="106" y="17"/>
                  </a:lnTo>
                  <a:lnTo>
                    <a:pt x="106" y="0"/>
                  </a:lnTo>
                  <a:lnTo>
                    <a:pt x="125" y="0"/>
                  </a:lnTo>
                  <a:lnTo>
                    <a:pt x="142" y="17"/>
                  </a:lnTo>
                  <a:lnTo>
                    <a:pt x="160" y="17"/>
                  </a:lnTo>
                  <a:lnTo>
                    <a:pt x="177" y="17"/>
                  </a:lnTo>
                  <a:lnTo>
                    <a:pt x="177" y="0"/>
                  </a:lnTo>
                  <a:lnTo>
                    <a:pt x="177" y="17"/>
                  </a:lnTo>
                  <a:lnTo>
                    <a:pt x="194" y="17"/>
                  </a:lnTo>
                  <a:lnTo>
                    <a:pt x="194" y="34"/>
                  </a:lnTo>
                  <a:lnTo>
                    <a:pt x="194" y="71"/>
                  </a:lnTo>
                  <a:lnTo>
                    <a:pt x="177" y="71"/>
                  </a:lnTo>
                  <a:lnTo>
                    <a:pt x="177" y="105"/>
                  </a:lnTo>
                  <a:lnTo>
                    <a:pt x="160" y="105"/>
                  </a:lnTo>
                  <a:lnTo>
                    <a:pt x="142" y="105"/>
                  </a:lnTo>
                  <a:lnTo>
                    <a:pt x="125" y="105"/>
                  </a:lnTo>
                  <a:lnTo>
                    <a:pt x="125" y="88"/>
                  </a:lnTo>
                  <a:lnTo>
                    <a:pt x="125" y="71"/>
                  </a:lnTo>
                  <a:lnTo>
                    <a:pt x="142" y="71"/>
                  </a:lnTo>
                  <a:lnTo>
                    <a:pt x="125" y="71"/>
                  </a:lnTo>
                  <a:lnTo>
                    <a:pt x="89" y="71"/>
                  </a:lnTo>
                  <a:lnTo>
                    <a:pt x="71" y="71"/>
                  </a:lnTo>
                  <a:lnTo>
                    <a:pt x="54" y="71"/>
                  </a:lnTo>
                  <a:lnTo>
                    <a:pt x="37" y="71"/>
                  </a:lnTo>
                  <a:lnTo>
                    <a:pt x="37" y="53"/>
                  </a:lnTo>
                  <a:lnTo>
                    <a:pt x="19" y="53"/>
                  </a:lnTo>
                  <a:lnTo>
                    <a:pt x="19" y="34"/>
                  </a:lnTo>
                  <a:lnTo>
                    <a:pt x="19" y="17"/>
                  </a:lnTo>
                  <a:lnTo>
                    <a:pt x="19" y="34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483CD011-A817-FB92-2451-7CDFB13FACB4}"/>
                </a:ext>
              </a:extLst>
            </p:cNvPr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3189350" y="2438734"/>
              <a:ext cx="31509" cy="28328"/>
            </a:xfrm>
            <a:custGeom>
              <a:avLst/>
              <a:gdLst>
                <a:gd name="T0" fmla="*/ 9191 w 38"/>
                <a:gd name="T1" fmla="*/ 3969 h 36"/>
                <a:gd name="T2" fmla="*/ 9191 w 38"/>
                <a:gd name="T3" fmla="*/ 7144 h 36"/>
                <a:gd name="T4" fmla="*/ 4178 w 38"/>
                <a:gd name="T5" fmla="*/ 7144 h 36"/>
                <a:gd name="T6" fmla="*/ 0 w 38"/>
                <a:gd name="T7" fmla="*/ 3969 h 36"/>
                <a:gd name="T8" fmla="*/ 0 w 38"/>
                <a:gd name="T9" fmla="*/ 0 h 36"/>
                <a:gd name="T10" fmla="*/ 4178 w 38"/>
                <a:gd name="T11" fmla="*/ 0 h 36"/>
                <a:gd name="T12" fmla="*/ 9191 w 38"/>
                <a:gd name="T13" fmla="*/ 3969 h 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"/>
                <a:gd name="T22" fmla="*/ 0 h 36"/>
                <a:gd name="T23" fmla="*/ 38 w 38"/>
                <a:gd name="T24" fmla="*/ 36 h 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" h="36">
                  <a:moveTo>
                    <a:pt x="38" y="17"/>
                  </a:moveTo>
                  <a:lnTo>
                    <a:pt x="38" y="36"/>
                  </a:lnTo>
                  <a:lnTo>
                    <a:pt x="19" y="36"/>
                  </a:lnTo>
                  <a:lnTo>
                    <a:pt x="0" y="17"/>
                  </a:lnTo>
                  <a:lnTo>
                    <a:pt x="0" y="0"/>
                  </a:lnTo>
                  <a:lnTo>
                    <a:pt x="19" y="0"/>
                  </a:lnTo>
                  <a:lnTo>
                    <a:pt x="38" y="17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9" name="Freeform 12">
              <a:extLst>
                <a:ext uri="{FF2B5EF4-FFF2-40B4-BE49-F238E27FC236}">
                  <a16:creationId xmlns:a16="http://schemas.microsoft.com/office/drawing/2014/main" id="{EF54C8E8-1A98-7902-B0C7-DA0F2E55DAA3}"/>
                </a:ext>
              </a:extLst>
            </p:cNvPr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3220859" y="2533717"/>
              <a:ext cx="28358" cy="31662"/>
            </a:xfrm>
            <a:custGeom>
              <a:avLst/>
              <a:gdLst>
                <a:gd name="T0" fmla="*/ 3094 w 39"/>
                <a:gd name="T1" fmla="*/ 0 h 36"/>
                <a:gd name="T2" fmla="*/ 6961 w 39"/>
                <a:gd name="T3" fmla="*/ 4189 h 36"/>
                <a:gd name="T4" fmla="*/ 3094 w 39"/>
                <a:gd name="T5" fmla="*/ 8379 h 36"/>
                <a:gd name="T6" fmla="*/ 0 w 39"/>
                <a:gd name="T7" fmla="*/ 8379 h 36"/>
                <a:gd name="T8" fmla="*/ 0 w 39"/>
                <a:gd name="T9" fmla="*/ 4189 h 36"/>
                <a:gd name="T10" fmla="*/ 0 w 39"/>
                <a:gd name="T11" fmla="*/ 0 h 36"/>
                <a:gd name="T12" fmla="*/ 3094 w 39"/>
                <a:gd name="T13" fmla="*/ 0 h 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9"/>
                <a:gd name="T22" fmla="*/ 0 h 36"/>
                <a:gd name="T23" fmla="*/ 39 w 39"/>
                <a:gd name="T24" fmla="*/ 36 h 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9" h="36">
                  <a:moveTo>
                    <a:pt x="19" y="0"/>
                  </a:moveTo>
                  <a:lnTo>
                    <a:pt x="39" y="19"/>
                  </a:lnTo>
                  <a:lnTo>
                    <a:pt x="19" y="36"/>
                  </a:lnTo>
                  <a:lnTo>
                    <a:pt x="0" y="36"/>
                  </a:lnTo>
                  <a:lnTo>
                    <a:pt x="0" y="19"/>
                  </a:lnTo>
                  <a:lnTo>
                    <a:pt x="0" y="0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40" name="Freeform 13">
              <a:extLst>
                <a:ext uri="{FF2B5EF4-FFF2-40B4-BE49-F238E27FC236}">
                  <a16:creationId xmlns:a16="http://schemas.microsoft.com/office/drawing/2014/main" id="{71298092-91D1-E7BC-084B-4C0FBC4A9C42}"/>
                </a:ext>
              </a:extLst>
            </p:cNvPr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3271273" y="2425402"/>
              <a:ext cx="26782" cy="13331"/>
            </a:xfrm>
            <a:custGeom>
              <a:avLst/>
              <a:gdLst>
                <a:gd name="T0" fmla="*/ 0 w 37"/>
                <a:gd name="T1" fmla="*/ 3175 h 16"/>
                <a:gd name="T2" fmla="*/ 0 w 37"/>
                <a:gd name="T3" fmla="*/ 0 h 16"/>
                <a:gd name="T4" fmla="*/ 3861 w 37"/>
                <a:gd name="T5" fmla="*/ 0 h 16"/>
                <a:gd name="T6" fmla="*/ 3861 w 37"/>
                <a:gd name="T7" fmla="*/ 3175 h 16"/>
                <a:gd name="T8" fmla="*/ 6951 w 37"/>
                <a:gd name="T9" fmla="*/ 3175 h 16"/>
                <a:gd name="T10" fmla="*/ 3861 w 37"/>
                <a:gd name="T11" fmla="*/ 3175 h 16"/>
                <a:gd name="T12" fmla="*/ 0 w 37"/>
                <a:gd name="T13" fmla="*/ 3175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7"/>
                <a:gd name="T22" fmla="*/ 0 h 16"/>
                <a:gd name="T23" fmla="*/ 37 w 37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7" h="16">
                  <a:moveTo>
                    <a:pt x="0" y="16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16"/>
                  </a:lnTo>
                  <a:lnTo>
                    <a:pt x="37" y="16"/>
                  </a:lnTo>
                  <a:lnTo>
                    <a:pt x="2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41" name="Freeform 14">
              <a:extLst>
                <a:ext uri="{FF2B5EF4-FFF2-40B4-BE49-F238E27FC236}">
                  <a16:creationId xmlns:a16="http://schemas.microsoft.com/office/drawing/2014/main" id="{47D5EDD8-C662-B0A5-1E68-7529D14D74F8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3326413" y="2328752"/>
              <a:ext cx="26783" cy="13331"/>
            </a:xfrm>
            <a:custGeom>
              <a:avLst/>
              <a:gdLst>
                <a:gd name="T0" fmla="*/ 6951 w 37"/>
                <a:gd name="T1" fmla="*/ 0 h 19"/>
                <a:gd name="T2" fmla="*/ 6951 w 37"/>
                <a:gd name="T3" fmla="*/ 3008 h 19"/>
                <a:gd name="T4" fmla="*/ 3089 w 37"/>
                <a:gd name="T5" fmla="*/ 3008 h 19"/>
                <a:gd name="T6" fmla="*/ 0 w 37"/>
                <a:gd name="T7" fmla="*/ 0 h 19"/>
                <a:gd name="T8" fmla="*/ 3089 w 37"/>
                <a:gd name="T9" fmla="*/ 0 h 19"/>
                <a:gd name="T10" fmla="*/ 6951 w 37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7"/>
                <a:gd name="T19" fmla="*/ 0 h 19"/>
                <a:gd name="T20" fmla="*/ 37 w 37"/>
                <a:gd name="T21" fmla="*/ 19 h 1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7" h="19">
                  <a:moveTo>
                    <a:pt x="37" y="0"/>
                  </a:moveTo>
                  <a:lnTo>
                    <a:pt x="37" y="19"/>
                  </a:lnTo>
                  <a:lnTo>
                    <a:pt x="18" y="19"/>
                  </a:lnTo>
                  <a:lnTo>
                    <a:pt x="0" y="0"/>
                  </a:lnTo>
                  <a:lnTo>
                    <a:pt x="18" y="0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42" name="Freeform 15">
              <a:extLst>
                <a:ext uri="{FF2B5EF4-FFF2-40B4-BE49-F238E27FC236}">
                  <a16:creationId xmlns:a16="http://schemas.microsoft.com/office/drawing/2014/main" id="{B2FA79B7-D1AC-31DE-6543-47A0032264A8}"/>
                </a:ext>
              </a:extLst>
            </p:cNvPr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3208256" y="2357080"/>
              <a:ext cx="133912" cy="81654"/>
            </a:xfrm>
            <a:custGeom>
              <a:avLst/>
              <a:gdLst>
                <a:gd name="T0" fmla="*/ 24469 w 179"/>
                <a:gd name="T1" fmla="*/ 16669 h 102"/>
                <a:gd name="T2" fmla="*/ 17365 w 179"/>
                <a:gd name="T3" fmla="*/ 13494 h 102"/>
                <a:gd name="T4" fmla="*/ 14208 w 179"/>
                <a:gd name="T5" fmla="*/ 13494 h 102"/>
                <a:gd name="T6" fmla="*/ 11050 w 179"/>
                <a:gd name="T7" fmla="*/ 13494 h 102"/>
                <a:gd name="T8" fmla="*/ 7104 w 179"/>
                <a:gd name="T9" fmla="*/ 13494 h 102"/>
                <a:gd name="T10" fmla="*/ 3157 w 179"/>
                <a:gd name="T11" fmla="*/ 13494 h 102"/>
                <a:gd name="T12" fmla="*/ 3157 w 179"/>
                <a:gd name="T13" fmla="*/ 10319 h 102"/>
                <a:gd name="T14" fmla="*/ 7104 w 179"/>
                <a:gd name="T15" fmla="*/ 10319 h 102"/>
                <a:gd name="T16" fmla="*/ 3157 w 179"/>
                <a:gd name="T17" fmla="*/ 10319 h 102"/>
                <a:gd name="T18" fmla="*/ 3157 w 179"/>
                <a:gd name="T19" fmla="*/ 7144 h 102"/>
                <a:gd name="T20" fmla="*/ 0 w 179"/>
                <a:gd name="T21" fmla="*/ 7144 h 102"/>
                <a:gd name="T22" fmla="*/ 0 w 179"/>
                <a:gd name="T23" fmla="*/ 2381 h 102"/>
                <a:gd name="T24" fmla="*/ 3157 w 179"/>
                <a:gd name="T25" fmla="*/ 2381 h 102"/>
                <a:gd name="T26" fmla="*/ 3157 w 179"/>
                <a:gd name="T27" fmla="*/ 0 h 102"/>
                <a:gd name="T28" fmla="*/ 7104 w 179"/>
                <a:gd name="T29" fmla="*/ 2381 h 102"/>
                <a:gd name="T30" fmla="*/ 11050 w 179"/>
                <a:gd name="T31" fmla="*/ 2381 h 102"/>
                <a:gd name="T32" fmla="*/ 14208 w 179"/>
                <a:gd name="T33" fmla="*/ 7144 h 102"/>
                <a:gd name="T34" fmla="*/ 14208 w 179"/>
                <a:gd name="T35" fmla="*/ 2381 h 102"/>
                <a:gd name="T36" fmla="*/ 17365 w 179"/>
                <a:gd name="T37" fmla="*/ 2381 h 102"/>
                <a:gd name="T38" fmla="*/ 21312 w 179"/>
                <a:gd name="T39" fmla="*/ 7144 h 102"/>
                <a:gd name="T40" fmla="*/ 21312 w 179"/>
                <a:gd name="T41" fmla="*/ 10319 h 102"/>
                <a:gd name="T42" fmla="*/ 24469 w 179"/>
                <a:gd name="T43" fmla="*/ 10319 h 102"/>
                <a:gd name="T44" fmla="*/ 24469 w 179"/>
                <a:gd name="T45" fmla="*/ 7144 h 102"/>
                <a:gd name="T46" fmla="*/ 28415 w 179"/>
                <a:gd name="T47" fmla="*/ 7144 h 102"/>
                <a:gd name="T48" fmla="*/ 28415 w 179"/>
                <a:gd name="T49" fmla="*/ 10319 h 102"/>
                <a:gd name="T50" fmla="*/ 31573 w 179"/>
                <a:gd name="T51" fmla="*/ 10319 h 102"/>
                <a:gd name="T52" fmla="*/ 28415 w 179"/>
                <a:gd name="T53" fmla="*/ 10319 h 102"/>
                <a:gd name="T54" fmla="*/ 31573 w 179"/>
                <a:gd name="T55" fmla="*/ 13494 h 102"/>
                <a:gd name="T56" fmla="*/ 34730 w 179"/>
                <a:gd name="T57" fmla="*/ 16669 h 102"/>
                <a:gd name="T58" fmla="*/ 34730 w 179"/>
                <a:gd name="T59" fmla="*/ 20638 h 102"/>
                <a:gd name="T60" fmla="*/ 31573 w 179"/>
                <a:gd name="T61" fmla="*/ 20638 h 102"/>
                <a:gd name="T62" fmla="*/ 28415 w 179"/>
                <a:gd name="T63" fmla="*/ 20638 h 102"/>
                <a:gd name="T64" fmla="*/ 28415 w 179"/>
                <a:gd name="T65" fmla="*/ 16669 h 102"/>
                <a:gd name="T66" fmla="*/ 24469 w 179"/>
                <a:gd name="T67" fmla="*/ 16669 h 10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79"/>
                <a:gd name="T103" fmla="*/ 0 h 102"/>
                <a:gd name="T104" fmla="*/ 179 w 179"/>
                <a:gd name="T105" fmla="*/ 102 h 102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79" h="102">
                  <a:moveTo>
                    <a:pt x="127" y="84"/>
                  </a:moveTo>
                  <a:lnTo>
                    <a:pt x="90" y="67"/>
                  </a:lnTo>
                  <a:lnTo>
                    <a:pt x="73" y="67"/>
                  </a:lnTo>
                  <a:lnTo>
                    <a:pt x="56" y="67"/>
                  </a:lnTo>
                  <a:lnTo>
                    <a:pt x="39" y="67"/>
                  </a:lnTo>
                  <a:lnTo>
                    <a:pt x="19" y="67"/>
                  </a:lnTo>
                  <a:lnTo>
                    <a:pt x="19" y="50"/>
                  </a:lnTo>
                  <a:lnTo>
                    <a:pt x="39" y="50"/>
                  </a:lnTo>
                  <a:lnTo>
                    <a:pt x="19" y="50"/>
                  </a:lnTo>
                  <a:lnTo>
                    <a:pt x="19" y="33"/>
                  </a:lnTo>
                  <a:lnTo>
                    <a:pt x="0" y="33"/>
                  </a:lnTo>
                  <a:lnTo>
                    <a:pt x="0" y="15"/>
                  </a:lnTo>
                  <a:lnTo>
                    <a:pt x="19" y="15"/>
                  </a:lnTo>
                  <a:lnTo>
                    <a:pt x="19" y="0"/>
                  </a:lnTo>
                  <a:lnTo>
                    <a:pt x="39" y="15"/>
                  </a:lnTo>
                  <a:lnTo>
                    <a:pt x="56" y="15"/>
                  </a:lnTo>
                  <a:lnTo>
                    <a:pt x="73" y="33"/>
                  </a:lnTo>
                  <a:lnTo>
                    <a:pt x="73" y="15"/>
                  </a:lnTo>
                  <a:lnTo>
                    <a:pt x="90" y="15"/>
                  </a:lnTo>
                  <a:lnTo>
                    <a:pt x="108" y="33"/>
                  </a:lnTo>
                  <a:lnTo>
                    <a:pt x="108" y="50"/>
                  </a:lnTo>
                  <a:lnTo>
                    <a:pt x="127" y="50"/>
                  </a:lnTo>
                  <a:lnTo>
                    <a:pt x="127" y="33"/>
                  </a:lnTo>
                  <a:lnTo>
                    <a:pt x="144" y="33"/>
                  </a:lnTo>
                  <a:lnTo>
                    <a:pt x="144" y="50"/>
                  </a:lnTo>
                  <a:lnTo>
                    <a:pt x="161" y="50"/>
                  </a:lnTo>
                  <a:lnTo>
                    <a:pt x="144" y="50"/>
                  </a:lnTo>
                  <a:lnTo>
                    <a:pt x="161" y="67"/>
                  </a:lnTo>
                  <a:lnTo>
                    <a:pt x="179" y="84"/>
                  </a:lnTo>
                  <a:lnTo>
                    <a:pt x="179" y="102"/>
                  </a:lnTo>
                  <a:lnTo>
                    <a:pt x="161" y="102"/>
                  </a:lnTo>
                  <a:lnTo>
                    <a:pt x="144" y="102"/>
                  </a:lnTo>
                  <a:lnTo>
                    <a:pt x="144" y="84"/>
                  </a:lnTo>
                  <a:lnTo>
                    <a:pt x="127" y="84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43" name="Freeform 16">
              <a:extLst>
                <a:ext uri="{FF2B5EF4-FFF2-40B4-BE49-F238E27FC236}">
                  <a16:creationId xmlns:a16="http://schemas.microsoft.com/office/drawing/2014/main" id="{ABD221DA-5FCC-9603-9DFE-0DCEE2536C54}"/>
                </a:ext>
              </a:extLst>
            </p:cNvPr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3392582" y="2467062"/>
              <a:ext cx="359202" cy="108316"/>
            </a:xfrm>
            <a:custGeom>
              <a:avLst/>
              <a:gdLst>
                <a:gd name="T0" fmla="*/ 91281 w 476"/>
                <a:gd name="T1" fmla="*/ 20637 h 136"/>
                <a:gd name="T2" fmla="*/ 91281 w 476"/>
                <a:gd name="T3" fmla="*/ 23019 h 136"/>
                <a:gd name="T4" fmla="*/ 94456 w 476"/>
                <a:gd name="T5" fmla="*/ 23019 h 136"/>
                <a:gd name="T6" fmla="*/ 91281 w 476"/>
                <a:gd name="T7" fmla="*/ 26988 h 136"/>
                <a:gd name="T8" fmla="*/ 84138 w 476"/>
                <a:gd name="T9" fmla="*/ 26988 h 136"/>
                <a:gd name="T10" fmla="*/ 76994 w 476"/>
                <a:gd name="T11" fmla="*/ 26988 h 136"/>
                <a:gd name="T12" fmla="*/ 73819 w 476"/>
                <a:gd name="T13" fmla="*/ 26988 h 136"/>
                <a:gd name="T14" fmla="*/ 70644 w 476"/>
                <a:gd name="T15" fmla="*/ 26988 h 136"/>
                <a:gd name="T16" fmla="*/ 63500 w 476"/>
                <a:gd name="T17" fmla="*/ 26988 h 136"/>
                <a:gd name="T18" fmla="*/ 56356 w 476"/>
                <a:gd name="T19" fmla="*/ 26988 h 136"/>
                <a:gd name="T20" fmla="*/ 53181 w 476"/>
                <a:gd name="T21" fmla="*/ 26988 h 136"/>
                <a:gd name="T22" fmla="*/ 48419 w 476"/>
                <a:gd name="T23" fmla="*/ 26988 h 136"/>
                <a:gd name="T24" fmla="*/ 45244 w 476"/>
                <a:gd name="T25" fmla="*/ 26988 h 136"/>
                <a:gd name="T26" fmla="*/ 42069 w 476"/>
                <a:gd name="T27" fmla="*/ 26988 h 136"/>
                <a:gd name="T28" fmla="*/ 38100 w 476"/>
                <a:gd name="T29" fmla="*/ 26988 h 136"/>
                <a:gd name="T30" fmla="*/ 31750 w 476"/>
                <a:gd name="T31" fmla="*/ 26988 h 136"/>
                <a:gd name="T32" fmla="*/ 23812 w 476"/>
                <a:gd name="T33" fmla="*/ 23019 h 136"/>
                <a:gd name="T34" fmla="*/ 21431 w 476"/>
                <a:gd name="T35" fmla="*/ 20637 h 136"/>
                <a:gd name="T36" fmla="*/ 23812 w 476"/>
                <a:gd name="T37" fmla="*/ 20637 h 136"/>
                <a:gd name="T38" fmla="*/ 23812 w 476"/>
                <a:gd name="T39" fmla="*/ 16669 h 136"/>
                <a:gd name="T40" fmla="*/ 21431 w 476"/>
                <a:gd name="T41" fmla="*/ 16669 h 136"/>
                <a:gd name="T42" fmla="*/ 17463 w 476"/>
                <a:gd name="T43" fmla="*/ 10319 h 136"/>
                <a:gd name="T44" fmla="*/ 17463 w 476"/>
                <a:gd name="T45" fmla="*/ 7144 h 136"/>
                <a:gd name="T46" fmla="*/ 14288 w 476"/>
                <a:gd name="T47" fmla="*/ 10319 h 136"/>
                <a:gd name="T48" fmla="*/ 7144 w 476"/>
                <a:gd name="T49" fmla="*/ 7144 h 136"/>
                <a:gd name="T50" fmla="*/ 3969 w 476"/>
                <a:gd name="T51" fmla="*/ 3175 h 136"/>
                <a:gd name="T52" fmla="*/ 0 w 476"/>
                <a:gd name="T53" fmla="*/ 3175 h 136"/>
                <a:gd name="T54" fmla="*/ 3969 w 476"/>
                <a:gd name="T55" fmla="*/ 3175 h 136"/>
                <a:gd name="T56" fmla="*/ 3969 w 476"/>
                <a:gd name="T57" fmla="*/ 0 h 136"/>
                <a:gd name="T58" fmla="*/ 14288 w 476"/>
                <a:gd name="T59" fmla="*/ 3175 h 136"/>
                <a:gd name="T60" fmla="*/ 21431 w 476"/>
                <a:gd name="T61" fmla="*/ 7144 h 136"/>
                <a:gd name="T62" fmla="*/ 23812 w 476"/>
                <a:gd name="T63" fmla="*/ 7144 h 136"/>
                <a:gd name="T64" fmla="*/ 23812 w 476"/>
                <a:gd name="T65" fmla="*/ 3175 h 136"/>
                <a:gd name="T66" fmla="*/ 27781 w 476"/>
                <a:gd name="T67" fmla="*/ 3175 h 136"/>
                <a:gd name="T68" fmla="*/ 27781 w 476"/>
                <a:gd name="T69" fmla="*/ 7144 h 136"/>
                <a:gd name="T70" fmla="*/ 34925 w 476"/>
                <a:gd name="T71" fmla="*/ 10319 h 136"/>
                <a:gd name="T72" fmla="*/ 38100 w 476"/>
                <a:gd name="T73" fmla="*/ 10319 h 136"/>
                <a:gd name="T74" fmla="*/ 31750 w 476"/>
                <a:gd name="T75" fmla="*/ 10319 h 136"/>
                <a:gd name="T76" fmla="*/ 27781 w 476"/>
                <a:gd name="T77" fmla="*/ 10319 h 136"/>
                <a:gd name="T78" fmla="*/ 31750 w 476"/>
                <a:gd name="T79" fmla="*/ 16669 h 136"/>
                <a:gd name="T80" fmla="*/ 34925 w 476"/>
                <a:gd name="T81" fmla="*/ 16669 h 136"/>
                <a:gd name="T82" fmla="*/ 38100 w 476"/>
                <a:gd name="T83" fmla="*/ 16669 h 136"/>
                <a:gd name="T84" fmla="*/ 45244 w 476"/>
                <a:gd name="T85" fmla="*/ 16669 h 136"/>
                <a:gd name="T86" fmla="*/ 48419 w 476"/>
                <a:gd name="T87" fmla="*/ 20637 h 136"/>
                <a:gd name="T88" fmla="*/ 53181 w 476"/>
                <a:gd name="T89" fmla="*/ 20637 h 136"/>
                <a:gd name="T90" fmla="*/ 59531 w 476"/>
                <a:gd name="T91" fmla="*/ 16669 h 136"/>
                <a:gd name="T92" fmla="*/ 70644 w 476"/>
                <a:gd name="T93" fmla="*/ 16669 h 136"/>
                <a:gd name="T94" fmla="*/ 76994 w 476"/>
                <a:gd name="T95" fmla="*/ 16669 h 136"/>
                <a:gd name="T96" fmla="*/ 84138 w 476"/>
                <a:gd name="T97" fmla="*/ 16669 h 136"/>
                <a:gd name="T98" fmla="*/ 87313 w 476"/>
                <a:gd name="T99" fmla="*/ 16669 h 136"/>
                <a:gd name="T100" fmla="*/ 94456 w 476"/>
                <a:gd name="T101" fmla="*/ 20637 h 136"/>
                <a:gd name="T102" fmla="*/ 91281 w 476"/>
                <a:gd name="T103" fmla="*/ 20637 h 1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76"/>
                <a:gd name="T157" fmla="*/ 0 h 136"/>
                <a:gd name="T158" fmla="*/ 476 w 476"/>
                <a:gd name="T159" fmla="*/ 136 h 1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76" h="136">
                  <a:moveTo>
                    <a:pt x="457" y="104"/>
                  </a:moveTo>
                  <a:lnTo>
                    <a:pt x="457" y="119"/>
                  </a:lnTo>
                  <a:lnTo>
                    <a:pt x="476" y="119"/>
                  </a:lnTo>
                  <a:lnTo>
                    <a:pt x="457" y="136"/>
                  </a:lnTo>
                  <a:lnTo>
                    <a:pt x="422" y="136"/>
                  </a:lnTo>
                  <a:lnTo>
                    <a:pt x="388" y="136"/>
                  </a:lnTo>
                  <a:lnTo>
                    <a:pt x="370" y="136"/>
                  </a:lnTo>
                  <a:lnTo>
                    <a:pt x="353" y="136"/>
                  </a:lnTo>
                  <a:lnTo>
                    <a:pt x="317" y="136"/>
                  </a:lnTo>
                  <a:lnTo>
                    <a:pt x="282" y="136"/>
                  </a:lnTo>
                  <a:lnTo>
                    <a:pt x="265" y="136"/>
                  </a:lnTo>
                  <a:lnTo>
                    <a:pt x="247" y="136"/>
                  </a:lnTo>
                  <a:lnTo>
                    <a:pt x="228" y="136"/>
                  </a:lnTo>
                  <a:lnTo>
                    <a:pt x="211" y="136"/>
                  </a:lnTo>
                  <a:lnTo>
                    <a:pt x="192" y="136"/>
                  </a:lnTo>
                  <a:lnTo>
                    <a:pt x="157" y="136"/>
                  </a:lnTo>
                  <a:lnTo>
                    <a:pt x="123" y="119"/>
                  </a:lnTo>
                  <a:lnTo>
                    <a:pt x="105" y="104"/>
                  </a:lnTo>
                  <a:lnTo>
                    <a:pt x="123" y="104"/>
                  </a:lnTo>
                  <a:lnTo>
                    <a:pt x="123" y="87"/>
                  </a:lnTo>
                  <a:lnTo>
                    <a:pt x="105" y="87"/>
                  </a:lnTo>
                  <a:lnTo>
                    <a:pt x="86" y="52"/>
                  </a:lnTo>
                  <a:lnTo>
                    <a:pt x="86" y="35"/>
                  </a:lnTo>
                  <a:lnTo>
                    <a:pt x="69" y="52"/>
                  </a:lnTo>
                  <a:lnTo>
                    <a:pt x="34" y="35"/>
                  </a:lnTo>
                  <a:lnTo>
                    <a:pt x="17" y="17"/>
                  </a:lnTo>
                  <a:lnTo>
                    <a:pt x="0" y="17"/>
                  </a:lnTo>
                  <a:lnTo>
                    <a:pt x="17" y="17"/>
                  </a:lnTo>
                  <a:lnTo>
                    <a:pt x="17" y="0"/>
                  </a:lnTo>
                  <a:lnTo>
                    <a:pt x="69" y="17"/>
                  </a:lnTo>
                  <a:lnTo>
                    <a:pt x="105" y="35"/>
                  </a:lnTo>
                  <a:lnTo>
                    <a:pt x="123" y="35"/>
                  </a:lnTo>
                  <a:lnTo>
                    <a:pt x="123" y="17"/>
                  </a:lnTo>
                  <a:lnTo>
                    <a:pt x="140" y="17"/>
                  </a:lnTo>
                  <a:lnTo>
                    <a:pt x="140" y="35"/>
                  </a:lnTo>
                  <a:lnTo>
                    <a:pt x="174" y="52"/>
                  </a:lnTo>
                  <a:lnTo>
                    <a:pt x="192" y="52"/>
                  </a:lnTo>
                  <a:lnTo>
                    <a:pt x="157" y="52"/>
                  </a:lnTo>
                  <a:lnTo>
                    <a:pt x="140" y="52"/>
                  </a:lnTo>
                  <a:lnTo>
                    <a:pt x="157" y="87"/>
                  </a:lnTo>
                  <a:lnTo>
                    <a:pt x="174" y="87"/>
                  </a:lnTo>
                  <a:lnTo>
                    <a:pt x="192" y="87"/>
                  </a:lnTo>
                  <a:lnTo>
                    <a:pt x="228" y="87"/>
                  </a:lnTo>
                  <a:lnTo>
                    <a:pt x="247" y="104"/>
                  </a:lnTo>
                  <a:lnTo>
                    <a:pt x="265" y="104"/>
                  </a:lnTo>
                  <a:lnTo>
                    <a:pt x="299" y="87"/>
                  </a:lnTo>
                  <a:lnTo>
                    <a:pt x="353" y="87"/>
                  </a:lnTo>
                  <a:lnTo>
                    <a:pt x="388" y="87"/>
                  </a:lnTo>
                  <a:lnTo>
                    <a:pt x="422" y="87"/>
                  </a:lnTo>
                  <a:lnTo>
                    <a:pt x="439" y="87"/>
                  </a:lnTo>
                  <a:lnTo>
                    <a:pt x="476" y="104"/>
                  </a:lnTo>
                  <a:lnTo>
                    <a:pt x="457" y="104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44" name="Freeform 17">
              <a:extLst>
                <a:ext uri="{FF2B5EF4-FFF2-40B4-BE49-F238E27FC236}">
                  <a16:creationId xmlns:a16="http://schemas.microsoft.com/office/drawing/2014/main" id="{BD31E5EA-CD6E-C9CD-8847-E2A1AF757D82}"/>
                </a:ext>
              </a:extLst>
            </p:cNvPr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3392582" y="2533717"/>
              <a:ext cx="64594" cy="41660"/>
            </a:xfrm>
            <a:custGeom>
              <a:avLst/>
              <a:gdLst>
                <a:gd name="T0" fmla="*/ 3969 w 86"/>
                <a:gd name="T1" fmla="*/ 4047 h 51"/>
                <a:gd name="T2" fmla="*/ 3969 w 86"/>
                <a:gd name="T3" fmla="*/ 0 h 51"/>
                <a:gd name="T4" fmla="*/ 10319 w 86"/>
                <a:gd name="T5" fmla="*/ 0 h 51"/>
                <a:gd name="T6" fmla="*/ 14288 w 86"/>
                <a:gd name="T7" fmla="*/ 0 h 51"/>
                <a:gd name="T8" fmla="*/ 14288 w 86"/>
                <a:gd name="T9" fmla="*/ 4047 h 51"/>
                <a:gd name="T10" fmla="*/ 17463 w 86"/>
                <a:gd name="T11" fmla="*/ 7284 h 51"/>
                <a:gd name="T12" fmla="*/ 14288 w 86"/>
                <a:gd name="T13" fmla="*/ 10521 h 51"/>
                <a:gd name="T14" fmla="*/ 10319 w 86"/>
                <a:gd name="T15" fmla="*/ 10521 h 51"/>
                <a:gd name="T16" fmla="*/ 3969 w 86"/>
                <a:gd name="T17" fmla="*/ 7284 h 51"/>
                <a:gd name="T18" fmla="*/ 0 w 86"/>
                <a:gd name="T19" fmla="*/ 7284 h 51"/>
                <a:gd name="T20" fmla="*/ 3969 w 86"/>
                <a:gd name="T21" fmla="*/ 4047 h 5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6"/>
                <a:gd name="T34" fmla="*/ 0 h 51"/>
                <a:gd name="T35" fmla="*/ 86 w 86"/>
                <a:gd name="T36" fmla="*/ 51 h 5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6" h="51">
                  <a:moveTo>
                    <a:pt x="17" y="17"/>
                  </a:moveTo>
                  <a:lnTo>
                    <a:pt x="17" y="0"/>
                  </a:lnTo>
                  <a:lnTo>
                    <a:pt x="52" y="0"/>
                  </a:lnTo>
                  <a:lnTo>
                    <a:pt x="69" y="0"/>
                  </a:lnTo>
                  <a:lnTo>
                    <a:pt x="69" y="17"/>
                  </a:lnTo>
                  <a:lnTo>
                    <a:pt x="86" y="34"/>
                  </a:lnTo>
                  <a:lnTo>
                    <a:pt x="69" y="51"/>
                  </a:lnTo>
                  <a:lnTo>
                    <a:pt x="52" y="51"/>
                  </a:lnTo>
                  <a:lnTo>
                    <a:pt x="17" y="34"/>
                  </a:lnTo>
                  <a:lnTo>
                    <a:pt x="0" y="34"/>
                  </a:lnTo>
                  <a:lnTo>
                    <a:pt x="17" y="17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45" name="Freeform 18">
              <a:extLst>
                <a:ext uri="{FF2B5EF4-FFF2-40B4-BE49-F238E27FC236}">
                  <a16:creationId xmlns:a16="http://schemas.microsoft.com/office/drawing/2014/main" id="{EFAB0027-0C83-7B86-E2AC-E6F2E3225B80}"/>
                </a:ext>
              </a:extLst>
            </p:cNvPr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3405186" y="2438734"/>
              <a:ext cx="51990" cy="13331"/>
            </a:xfrm>
            <a:custGeom>
              <a:avLst/>
              <a:gdLst>
                <a:gd name="T0" fmla="*/ 10174 w 71"/>
                <a:gd name="T1" fmla="*/ 0 h 17"/>
                <a:gd name="T2" fmla="*/ 13304 w 71"/>
                <a:gd name="T3" fmla="*/ 0 h 17"/>
                <a:gd name="T4" fmla="*/ 13304 w 71"/>
                <a:gd name="T5" fmla="*/ 2988 h 17"/>
                <a:gd name="T6" fmla="*/ 10174 w 71"/>
                <a:gd name="T7" fmla="*/ 2988 h 17"/>
                <a:gd name="T8" fmla="*/ 7043 w 71"/>
                <a:gd name="T9" fmla="*/ 2988 h 17"/>
                <a:gd name="T10" fmla="*/ 0 w 71"/>
                <a:gd name="T11" fmla="*/ 0 h 17"/>
                <a:gd name="T12" fmla="*/ 7043 w 71"/>
                <a:gd name="T13" fmla="*/ 0 h 17"/>
                <a:gd name="T14" fmla="*/ 10174 w 71"/>
                <a:gd name="T15" fmla="*/ 0 h 1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1"/>
                <a:gd name="T25" fmla="*/ 0 h 17"/>
                <a:gd name="T26" fmla="*/ 71 w 71"/>
                <a:gd name="T27" fmla="*/ 17 h 1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1" h="17">
                  <a:moveTo>
                    <a:pt x="54" y="0"/>
                  </a:moveTo>
                  <a:lnTo>
                    <a:pt x="71" y="0"/>
                  </a:lnTo>
                  <a:lnTo>
                    <a:pt x="71" y="17"/>
                  </a:lnTo>
                  <a:lnTo>
                    <a:pt x="54" y="17"/>
                  </a:lnTo>
                  <a:lnTo>
                    <a:pt x="37" y="17"/>
                  </a:lnTo>
                  <a:lnTo>
                    <a:pt x="0" y="0"/>
                  </a:lnTo>
                  <a:lnTo>
                    <a:pt x="37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46" name="Freeform 19">
              <a:extLst>
                <a:ext uri="{FF2B5EF4-FFF2-40B4-BE49-F238E27FC236}">
                  <a16:creationId xmlns:a16="http://schemas.microsoft.com/office/drawing/2014/main" id="{2C5DC5C1-5C41-146F-E35C-D7529374CB30}"/>
                </a:ext>
              </a:extLst>
            </p:cNvPr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3357922" y="2382076"/>
              <a:ext cx="78772" cy="56657"/>
            </a:xfrm>
            <a:custGeom>
              <a:avLst/>
              <a:gdLst>
                <a:gd name="T0" fmla="*/ 7144 w 104"/>
                <a:gd name="T1" fmla="*/ 14495 h 69"/>
                <a:gd name="T2" fmla="*/ 7144 w 104"/>
                <a:gd name="T3" fmla="*/ 10468 h 69"/>
                <a:gd name="T4" fmla="*/ 3969 w 104"/>
                <a:gd name="T5" fmla="*/ 7247 h 69"/>
                <a:gd name="T6" fmla="*/ 0 w 104"/>
                <a:gd name="T7" fmla="*/ 4026 h 69"/>
                <a:gd name="T8" fmla="*/ 3969 w 104"/>
                <a:gd name="T9" fmla="*/ 0 h 69"/>
                <a:gd name="T10" fmla="*/ 7144 w 104"/>
                <a:gd name="T11" fmla="*/ 0 h 69"/>
                <a:gd name="T12" fmla="*/ 7144 w 104"/>
                <a:gd name="T13" fmla="*/ 4026 h 69"/>
                <a:gd name="T14" fmla="*/ 10319 w 104"/>
                <a:gd name="T15" fmla="*/ 4026 h 69"/>
                <a:gd name="T16" fmla="*/ 14288 w 104"/>
                <a:gd name="T17" fmla="*/ 4026 h 69"/>
                <a:gd name="T18" fmla="*/ 17463 w 104"/>
                <a:gd name="T19" fmla="*/ 4026 h 69"/>
                <a:gd name="T20" fmla="*/ 20638 w 104"/>
                <a:gd name="T21" fmla="*/ 7247 h 69"/>
                <a:gd name="T22" fmla="*/ 17463 w 104"/>
                <a:gd name="T23" fmla="*/ 7247 h 69"/>
                <a:gd name="T24" fmla="*/ 17463 w 104"/>
                <a:gd name="T25" fmla="*/ 10468 h 69"/>
                <a:gd name="T26" fmla="*/ 20638 w 104"/>
                <a:gd name="T27" fmla="*/ 14495 h 69"/>
                <a:gd name="T28" fmla="*/ 14288 w 104"/>
                <a:gd name="T29" fmla="*/ 14495 h 69"/>
                <a:gd name="T30" fmla="*/ 7144 w 104"/>
                <a:gd name="T31" fmla="*/ 14495 h 6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04"/>
                <a:gd name="T49" fmla="*/ 0 h 69"/>
                <a:gd name="T50" fmla="*/ 104 w 104"/>
                <a:gd name="T51" fmla="*/ 69 h 6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04" h="69">
                  <a:moveTo>
                    <a:pt x="34" y="69"/>
                  </a:moveTo>
                  <a:lnTo>
                    <a:pt x="34" y="51"/>
                  </a:lnTo>
                  <a:lnTo>
                    <a:pt x="17" y="34"/>
                  </a:lnTo>
                  <a:lnTo>
                    <a:pt x="0" y="17"/>
                  </a:lnTo>
                  <a:lnTo>
                    <a:pt x="17" y="0"/>
                  </a:lnTo>
                  <a:lnTo>
                    <a:pt x="34" y="0"/>
                  </a:lnTo>
                  <a:lnTo>
                    <a:pt x="34" y="17"/>
                  </a:lnTo>
                  <a:lnTo>
                    <a:pt x="52" y="17"/>
                  </a:lnTo>
                  <a:lnTo>
                    <a:pt x="69" y="17"/>
                  </a:lnTo>
                  <a:lnTo>
                    <a:pt x="86" y="17"/>
                  </a:lnTo>
                  <a:lnTo>
                    <a:pt x="104" y="34"/>
                  </a:lnTo>
                  <a:lnTo>
                    <a:pt x="86" y="34"/>
                  </a:lnTo>
                  <a:lnTo>
                    <a:pt x="86" y="51"/>
                  </a:lnTo>
                  <a:lnTo>
                    <a:pt x="104" y="69"/>
                  </a:lnTo>
                  <a:lnTo>
                    <a:pt x="69" y="69"/>
                  </a:lnTo>
                  <a:lnTo>
                    <a:pt x="34" y="69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47" name="Freeform 20">
              <a:extLst>
                <a:ext uri="{FF2B5EF4-FFF2-40B4-BE49-F238E27FC236}">
                  <a16:creationId xmlns:a16="http://schemas.microsoft.com/office/drawing/2014/main" id="{732199F4-A704-A2E5-6E84-4A4FCF8D2F1F}"/>
                </a:ext>
              </a:extLst>
            </p:cNvPr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3405186" y="2258763"/>
              <a:ext cx="214261" cy="166639"/>
            </a:xfrm>
            <a:custGeom>
              <a:avLst/>
              <a:gdLst>
                <a:gd name="T0" fmla="*/ 42069 w 284"/>
                <a:gd name="T1" fmla="*/ 17379 h 209"/>
                <a:gd name="T2" fmla="*/ 45244 w 284"/>
                <a:gd name="T3" fmla="*/ 13429 h 209"/>
                <a:gd name="T4" fmla="*/ 45244 w 284"/>
                <a:gd name="T5" fmla="*/ 20539 h 209"/>
                <a:gd name="T6" fmla="*/ 53181 w 284"/>
                <a:gd name="T7" fmla="*/ 20539 h 209"/>
                <a:gd name="T8" fmla="*/ 56356 w 284"/>
                <a:gd name="T9" fmla="*/ 26858 h 209"/>
                <a:gd name="T10" fmla="*/ 45244 w 284"/>
                <a:gd name="T11" fmla="*/ 33968 h 209"/>
                <a:gd name="T12" fmla="*/ 42069 w 284"/>
                <a:gd name="T13" fmla="*/ 30808 h 209"/>
                <a:gd name="T14" fmla="*/ 38894 w 284"/>
                <a:gd name="T15" fmla="*/ 33968 h 209"/>
                <a:gd name="T16" fmla="*/ 42069 w 284"/>
                <a:gd name="T17" fmla="*/ 37128 h 209"/>
                <a:gd name="T18" fmla="*/ 38894 w 284"/>
                <a:gd name="T19" fmla="*/ 41078 h 209"/>
                <a:gd name="T20" fmla="*/ 34925 w 284"/>
                <a:gd name="T21" fmla="*/ 33968 h 209"/>
                <a:gd name="T22" fmla="*/ 30956 w 284"/>
                <a:gd name="T23" fmla="*/ 41078 h 209"/>
                <a:gd name="T24" fmla="*/ 23812 w 284"/>
                <a:gd name="T25" fmla="*/ 41078 h 209"/>
                <a:gd name="T26" fmla="*/ 20637 w 284"/>
                <a:gd name="T27" fmla="*/ 33968 h 209"/>
                <a:gd name="T28" fmla="*/ 14287 w 284"/>
                <a:gd name="T29" fmla="*/ 30808 h 209"/>
                <a:gd name="T30" fmla="*/ 20637 w 284"/>
                <a:gd name="T31" fmla="*/ 26858 h 209"/>
                <a:gd name="T32" fmla="*/ 23812 w 284"/>
                <a:gd name="T33" fmla="*/ 26858 h 209"/>
                <a:gd name="T34" fmla="*/ 17462 w 284"/>
                <a:gd name="T35" fmla="*/ 23699 h 209"/>
                <a:gd name="T36" fmla="*/ 14287 w 284"/>
                <a:gd name="T37" fmla="*/ 26858 h 209"/>
                <a:gd name="T38" fmla="*/ 10319 w 284"/>
                <a:gd name="T39" fmla="*/ 26858 h 209"/>
                <a:gd name="T40" fmla="*/ 10319 w 284"/>
                <a:gd name="T41" fmla="*/ 23699 h 209"/>
                <a:gd name="T42" fmla="*/ 7144 w 284"/>
                <a:gd name="T43" fmla="*/ 20539 h 209"/>
                <a:gd name="T44" fmla="*/ 0 w 284"/>
                <a:gd name="T45" fmla="*/ 17379 h 209"/>
                <a:gd name="T46" fmla="*/ 7144 w 284"/>
                <a:gd name="T47" fmla="*/ 17379 h 209"/>
                <a:gd name="T48" fmla="*/ 7144 w 284"/>
                <a:gd name="T49" fmla="*/ 13429 h 209"/>
                <a:gd name="T50" fmla="*/ 0 w 284"/>
                <a:gd name="T51" fmla="*/ 10269 h 209"/>
                <a:gd name="T52" fmla="*/ 7144 w 284"/>
                <a:gd name="T53" fmla="*/ 10269 h 209"/>
                <a:gd name="T54" fmla="*/ 14287 w 284"/>
                <a:gd name="T55" fmla="*/ 10269 h 209"/>
                <a:gd name="T56" fmla="*/ 7144 w 284"/>
                <a:gd name="T57" fmla="*/ 10269 h 209"/>
                <a:gd name="T58" fmla="*/ 10319 w 284"/>
                <a:gd name="T59" fmla="*/ 3160 h 209"/>
                <a:gd name="T60" fmla="*/ 14287 w 284"/>
                <a:gd name="T61" fmla="*/ 6320 h 209"/>
                <a:gd name="T62" fmla="*/ 14287 w 284"/>
                <a:gd name="T63" fmla="*/ 3160 h 209"/>
                <a:gd name="T64" fmla="*/ 10319 w 284"/>
                <a:gd name="T65" fmla="*/ 0 h 209"/>
                <a:gd name="T66" fmla="*/ 20637 w 284"/>
                <a:gd name="T67" fmla="*/ 0 h 209"/>
                <a:gd name="T68" fmla="*/ 23812 w 284"/>
                <a:gd name="T69" fmla="*/ 6320 h 209"/>
                <a:gd name="T70" fmla="*/ 27781 w 284"/>
                <a:gd name="T71" fmla="*/ 10269 h 209"/>
                <a:gd name="T72" fmla="*/ 34925 w 284"/>
                <a:gd name="T73" fmla="*/ 10269 h 209"/>
                <a:gd name="T74" fmla="*/ 38894 w 284"/>
                <a:gd name="T75" fmla="*/ 17379 h 209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84"/>
                <a:gd name="T115" fmla="*/ 0 h 209"/>
                <a:gd name="T116" fmla="*/ 284 w 284"/>
                <a:gd name="T117" fmla="*/ 209 h 209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84" h="209">
                  <a:moveTo>
                    <a:pt x="196" y="88"/>
                  </a:moveTo>
                  <a:lnTo>
                    <a:pt x="213" y="88"/>
                  </a:lnTo>
                  <a:lnTo>
                    <a:pt x="213" y="71"/>
                  </a:lnTo>
                  <a:lnTo>
                    <a:pt x="230" y="71"/>
                  </a:lnTo>
                  <a:lnTo>
                    <a:pt x="230" y="88"/>
                  </a:lnTo>
                  <a:lnTo>
                    <a:pt x="230" y="106"/>
                  </a:lnTo>
                  <a:lnTo>
                    <a:pt x="250" y="106"/>
                  </a:lnTo>
                  <a:lnTo>
                    <a:pt x="267" y="106"/>
                  </a:lnTo>
                  <a:lnTo>
                    <a:pt x="284" y="123"/>
                  </a:lnTo>
                  <a:lnTo>
                    <a:pt x="284" y="138"/>
                  </a:lnTo>
                  <a:lnTo>
                    <a:pt x="250" y="156"/>
                  </a:lnTo>
                  <a:lnTo>
                    <a:pt x="230" y="173"/>
                  </a:lnTo>
                  <a:lnTo>
                    <a:pt x="213" y="173"/>
                  </a:lnTo>
                  <a:lnTo>
                    <a:pt x="213" y="156"/>
                  </a:lnTo>
                  <a:lnTo>
                    <a:pt x="213" y="173"/>
                  </a:lnTo>
                  <a:lnTo>
                    <a:pt x="196" y="173"/>
                  </a:lnTo>
                  <a:lnTo>
                    <a:pt x="213" y="173"/>
                  </a:lnTo>
                  <a:lnTo>
                    <a:pt x="213" y="190"/>
                  </a:lnTo>
                  <a:lnTo>
                    <a:pt x="196" y="190"/>
                  </a:lnTo>
                  <a:lnTo>
                    <a:pt x="196" y="209"/>
                  </a:lnTo>
                  <a:lnTo>
                    <a:pt x="177" y="190"/>
                  </a:lnTo>
                  <a:lnTo>
                    <a:pt x="177" y="173"/>
                  </a:lnTo>
                  <a:lnTo>
                    <a:pt x="159" y="190"/>
                  </a:lnTo>
                  <a:lnTo>
                    <a:pt x="159" y="209"/>
                  </a:lnTo>
                  <a:lnTo>
                    <a:pt x="140" y="209"/>
                  </a:lnTo>
                  <a:lnTo>
                    <a:pt x="123" y="209"/>
                  </a:lnTo>
                  <a:lnTo>
                    <a:pt x="106" y="190"/>
                  </a:lnTo>
                  <a:lnTo>
                    <a:pt x="106" y="173"/>
                  </a:lnTo>
                  <a:lnTo>
                    <a:pt x="71" y="173"/>
                  </a:lnTo>
                  <a:lnTo>
                    <a:pt x="71" y="156"/>
                  </a:lnTo>
                  <a:lnTo>
                    <a:pt x="88" y="138"/>
                  </a:lnTo>
                  <a:lnTo>
                    <a:pt x="106" y="138"/>
                  </a:lnTo>
                  <a:lnTo>
                    <a:pt x="140" y="138"/>
                  </a:lnTo>
                  <a:lnTo>
                    <a:pt x="123" y="138"/>
                  </a:lnTo>
                  <a:lnTo>
                    <a:pt x="106" y="123"/>
                  </a:lnTo>
                  <a:lnTo>
                    <a:pt x="88" y="123"/>
                  </a:lnTo>
                  <a:lnTo>
                    <a:pt x="88" y="138"/>
                  </a:lnTo>
                  <a:lnTo>
                    <a:pt x="71" y="138"/>
                  </a:lnTo>
                  <a:lnTo>
                    <a:pt x="54" y="123"/>
                  </a:lnTo>
                  <a:lnTo>
                    <a:pt x="54" y="138"/>
                  </a:lnTo>
                  <a:lnTo>
                    <a:pt x="35" y="123"/>
                  </a:lnTo>
                  <a:lnTo>
                    <a:pt x="54" y="123"/>
                  </a:lnTo>
                  <a:lnTo>
                    <a:pt x="54" y="106"/>
                  </a:lnTo>
                  <a:lnTo>
                    <a:pt x="35" y="106"/>
                  </a:lnTo>
                  <a:lnTo>
                    <a:pt x="0" y="106"/>
                  </a:lnTo>
                  <a:lnTo>
                    <a:pt x="0" y="88"/>
                  </a:lnTo>
                  <a:lnTo>
                    <a:pt x="17" y="88"/>
                  </a:lnTo>
                  <a:lnTo>
                    <a:pt x="35" y="88"/>
                  </a:lnTo>
                  <a:lnTo>
                    <a:pt x="54" y="88"/>
                  </a:lnTo>
                  <a:lnTo>
                    <a:pt x="35" y="71"/>
                  </a:lnTo>
                  <a:lnTo>
                    <a:pt x="17" y="71"/>
                  </a:lnTo>
                  <a:lnTo>
                    <a:pt x="0" y="54"/>
                  </a:lnTo>
                  <a:lnTo>
                    <a:pt x="17" y="54"/>
                  </a:lnTo>
                  <a:lnTo>
                    <a:pt x="35" y="54"/>
                  </a:lnTo>
                  <a:lnTo>
                    <a:pt x="54" y="54"/>
                  </a:lnTo>
                  <a:lnTo>
                    <a:pt x="71" y="54"/>
                  </a:lnTo>
                  <a:lnTo>
                    <a:pt x="54" y="54"/>
                  </a:lnTo>
                  <a:lnTo>
                    <a:pt x="35" y="54"/>
                  </a:lnTo>
                  <a:lnTo>
                    <a:pt x="35" y="35"/>
                  </a:lnTo>
                  <a:lnTo>
                    <a:pt x="54" y="17"/>
                  </a:lnTo>
                  <a:lnTo>
                    <a:pt x="54" y="35"/>
                  </a:lnTo>
                  <a:lnTo>
                    <a:pt x="71" y="35"/>
                  </a:lnTo>
                  <a:lnTo>
                    <a:pt x="88" y="35"/>
                  </a:lnTo>
                  <a:lnTo>
                    <a:pt x="71" y="17"/>
                  </a:lnTo>
                  <a:lnTo>
                    <a:pt x="54" y="17"/>
                  </a:lnTo>
                  <a:lnTo>
                    <a:pt x="54" y="0"/>
                  </a:lnTo>
                  <a:lnTo>
                    <a:pt x="71" y="0"/>
                  </a:lnTo>
                  <a:lnTo>
                    <a:pt x="106" y="0"/>
                  </a:lnTo>
                  <a:lnTo>
                    <a:pt x="106" y="17"/>
                  </a:lnTo>
                  <a:lnTo>
                    <a:pt x="123" y="35"/>
                  </a:lnTo>
                  <a:lnTo>
                    <a:pt x="123" y="54"/>
                  </a:lnTo>
                  <a:lnTo>
                    <a:pt x="140" y="54"/>
                  </a:lnTo>
                  <a:lnTo>
                    <a:pt x="159" y="54"/>
                  </a:lnTo>
                  <a:lnTo>
                    <a:pt x="177" y="54"/>
                  </a:lnTo>
                  <a:lnTo>
                    <a:pt x="196" y="71"/>
                  </a:lnTo>
                  <a:lnTo>
                    <a:pt x="196" y="88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48" name="Freeform 22">
              <a:extLst>
                <a:ext uri="{FF2B5EF4-FFF2-40B4-BE49-F238E27FC236}">
                  <a16:creationId xmlns:a16="http://schemas.microsoft.com/office/drawing/2014/main" id="{87A80DAD-534A-956B-6536-DE6A2DA54E14}"/>
                </a:ext>
              </a:extLst>
            </p:cNvPr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3271273" y="2618704"/>
              <a:ext cx="133912" cy="96651"/>
            </a:xfrm>
            <a:custGeom>
              <a:avLst/>
              <a:gdLst>
                <a:gd name="T0" fmla="*/ 28738 w 175"/>
                <a:gd name="T1" fmla="*/ 7204 h 119"/>
                <a:gd name="T2" fmla="*/ 28738 w 175"/>
                <a:gd name="T3" fmla="*/ 10405 h 119"/>
                <a:gd name="T4" fmla="*/ 28738 w 175"/>
                <a:gd name="T5" fmla="*/ 13607 h 119"/>
                <a:gd name="T6" fmla="*/ 31931 w 175"/>
                <a:gd name="T7" fmla="*/ 13607 h 119"/>
                <a:gd name="T8" fmla="*/ 35125 w 175"/>
                <a:gd name="T9" fmla="*/ 13607 h 119"/>
                <a:gd name="T10" fmla="*/ 31931 w 175"/>
                <a:gd name="T11" fmla="*/ 17609 h 119"/>
                <a:gd name="T12" fmla="*/ 31931 w 175"/>
                <a:gd name="T13" fmla="*/ 20811 h 119"/>
                <a:gd name="T14" fmla="*/ 24747 w 175"/>
                <a:gd name="T15" fmla="*/ 24013 h 119"/>
                <a:gd name="T16" fmla="*/ 21554 w 175"/>
                <a:gd name="T17" fmla="*/ 24013 h 119"/>
                <a:gd name="T18" fmla="*/ 18361 w 175"/>
                <a:gd name="T19" fmla="*/ 24013 h 119"/>
                <a:gd name="T20" fmla="*/ 18361 w 175"/>
                <a:gd name="T21" fmla="*/ 20811 h 119"/>
                <a:gd name="T22" fmla="*/ 11176 w 175"/>
                <a:gd name="T23" fmla="*/ 17609 h 119"/>
                <a:gd name="T24" fmla="*/ 7185 w 175"/>
                <a:gd name="T25" fmla="*/ 13607 h 119"/>
                <a:gd name="T26" fmla="*/ 0 w 175"/>
                <a:gd name="T27" fmla="*/ 13607 h 119"/>
                <a:gd name="T28" fmla="*/ 0 w 175"/>
                <a:gd name="T29" fmla="*/ 10405 h 119"/>
                <a:gd name="T30" fmla="*/ 0 w 175"/>
                <a:gd name="T31" fmla="*/ 7204 h 119"/>
                <a:gd name="T32" fmla="*/ 3991 w 175"/>
                <a:gd name="T33" fmla="*/ 10405 h 119"/>
                <a:gd name="T34" fmla="*/ 7185 w 175"/>
                <a:gd name="T35" fmla="*/ 10405 h 119"/>
                <a:gd name="T36" fmla="*/ 11176 w 175"/>
                <a:gd name="T37" fmla="*/ 10405 h 119"/>
                <a:gd name="T38" fmla="*/ 11176 w 175"/>
                <a:gd name="T39" fmla="*/ 7204 h 119"/>
                <a:gd name="T40" fmla="*/ 11176 w 175"/>
                <a:gd name="T41" fmla="*/ 3202 h 119"/>
                <a:gd name="T42" fmla="*/ 7185 w 175"/>
                <a:gd name="T43" fmla="*/ 3202 h 119"/>
                <a:gd name="T44" fmla="*/ 7185 w 175"/>
                <a:gd name="T45" fmla="*/ 0 h 119"/>
                <a:gd name="T46" fmla="*/ 11176 w 175"/>
                <a:gd name="T47" fmla="*/ 0 h 119"/>
                <a:gd name="T48" fmla="*/ 14369 w 175"/>
                <a:gd name="T49" fmla="*/ 0 h 119"/>
                <a:gd name="T50" fmla="*/ 21554 w 175"/>
                <a:gd name="T51" fmla="*/ 0 h 119"/>
                <a:gd name="T52" fmla="*/ 24747 w 175"/>
                <a:gd name="T53" fmla="*/ 0 h 119"/>
                <a:gd name="T54" fmla="*/ 28738 w 175"/>
                <a:gd name="T55" fmla="*/ 0 h 119"/>
                <a:gd name="T56" fmla="*/ 28738 w 175"/>
                <a:gd name="T57" fmla="*/ 3202 h 119"/>
                <a:gd name="T58" fmla="*/ 24747 w 175"/>
                <a:gd name="T59" fmla="*/ 7204 h 119"/>
                <a:gd name="T60" fmla="*/ 21554 w 175"/>
                <a:gd name="T61" fmla="*/ 7204 h 119"/>
                <a:gd name="T62" fmla="*/ 24747 w 175"/>
                <a:gd name="T63" fmla="*/ 7204 h 119"/>
                <a:gd name="T64" fmla="*/ 28738 w 175"/>
                <a:gd name="T65" fmla="*/ 7204 h 11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75"/>
                <a:gd name="T100" fmla="*/ 0 h 119"/>
                <a:gd name="T101" fmla="*/ 175 w 175"/>
                <a:gd name="T102" fmla="*/ 119 h 11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75" h="119">
                  <a:moveTo>
                    <a:pt x="141" y="33"/>
                  </a:moveTo>
                  <a:lnTo>
                    <a:pt x="141" y="50"/>
                  </a:lnTo>
                  <a:lnTo>
                    <a:pt x="141" y="67"/>
                  </a:lnTo>
                  <a:lnTo>
                    <a:pt x="158" y="67"/>
                  </a:lnTo>
                  <a:lnTo>
                    <a:pt x="175" y="67"/>
                  </a:lnTo>
                  <a:lnTo>
                    <a:pt x="158" y="85"/>
                  </a:lnTo>
                  <a:lnTo>
                    <a:pt x="158" y="102"/>
                  </a:lnTo>
                  <a:lnTo>
                    <a:pt x="123" y="119"/>
                  </a:lnTo>
                  <a:lnTo>
                    <a:pt x="106" y="119"/>
                  </a:lnTo>
                  <a:lnTo>
                    <a:pt x="89" y="119"/>
                  </a:lnTo>
                  <a:lnTo>
                    <a:pt x="89" y="102"/>
                  </a:lnTo>
                  <a:lnTo>
                    <a:pt x="54" y="85"/>
                  </a:lnTo>
                  <a:lnTo>
                    <a:pt x="35" y="67"/>
                  </a:lnTo>
                  <a:lnTo>
                    <a:pt x="0" y="67"/>
                  </a:lnTo>
                  <a:lnTo>
                    <a:pt x="0" y="50"/>
                  </a:lnTo>
                  <a:lnTo>
                    <a:pt x="0" y="33"/>
                  </a:lnTo>
                  <a:lnTo>
                    <a:pt x="18" y="50"/>
                  </a:lnTo>
                  <a:lnTo>
                    <a:pt x="35" y="50"/>
                  </a:lnTo>
                  <a:lnTo>
                    <a:pt x="54" y="50"/>
                  </a:lnTo>
                  <a:lnTo>
                    <a:pt x="54" y="33"/>
                  </a:lnTo>
                  <a:lnTo>
                    <a:pt x="54" y="15"/>
                  </a:lnTo>
                  <a:lnTo>
                    <a:pt x="35" y="15"/>
                  </a:lnTo>
                  <a:lnTo>
                    <a:pt x="35" y="0"/>
                  </a:lnTo>
                  <a:lnTo>
                    <a:pt x="54" y="0"/>
                  </a:lnTo>
                  <a:lnTo>
                    <a:pt x="71" y="0"/>
                  </a:lnTo>
                  <a:lnTo>
                    <a:pt x="106" y="0"/>
                  </a:lnTo>
                  <a:lnTo>
                    <a:pt x="123" y="0"/>
                  </a:lnTo>
                  <a:lnTo>
                    <a:pt x="141" y="0"/>
                  </a:lnTo>
                  <a:lnTo>
                    <a:pt x="141" y="15"/>
                  </a:lnTo>
                  <a:lnTo>
                    <a:pt x="123" y="33"/>
                  </a:lnTo>
                  <a:lnTo>
                    <a:pt x="106" y="33"/>
                  </a:lnTo>
                  <a:lnTo>
                    <a:pt x="123" y="33"/>
                  </a:lnTo>
                  <a:lnTo>
                    <a:pt x="141" y="33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49" name="Freeform 23">
              <a:extLst>
                <a:ext uri="{FF2B5EF4-FFF2-40B4-BE49-F238E27FC236}">
                  <a16:creationId xmlns:a16="http://schemas.microsoft.com/office/drawing/2014/main" id="{D1A35540-B31F-53E8-4B16-AD00B3DAE2B2}"/>
                </a:ext>
              </a:extLst>
            </p:cNvPr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3337442" y="2767012"/>
              <a:ext cx="78772" cy="59990"/>
            </a:xfrm>
            <a:custGeom>
              <a:avLst/>
              <a:gdLst>
                <a:gd name="T0" fmla="*/ 17632 w 103"/>
                <a:gd name="T1" fmla="*/ 15288 h 73"/>
                <a:gd name="T2" fmla="*/ 10419 w 103"/>
                <a:gd name="T3" fmla="*/ 11265 h 73"/>
                <a:gd name="T4" fmla="*/ 4007 w 103"/>
                <a:gd name="T5" fmla="*/ 8046 h 73"/>
                <a:gd name="T6" fmla="*/ 0 w 103"/>
                <a:gd name="T7" fmla="*/ 8046 h 73"/>
                <a:gd name="T8" fmla="*/ 4007 w 103"/>
                <a:gd name="T9" fmla="*/ 8046 h 73"/>
                <a:gd name="T10" fmla="*/ 4007 w 103"/>
                <a:gd name="T11" fmla="*/ 4023 h 73"/>
                <a:gd name="T12" fmla="*/ 7213 w 103"/>
                <a:gd name="T13" fmla="*/ 0 h 73"/>
                <a:gd name="T14" fmla="*/ 14426 w 103"/>
                <a:gd name="T15" fmla="*/ 4023 h 73"/>
                <a:gd name="T16" fmla="*/ 17632 w 103"/>
                <a:gd name="T17" fmla="*/ 8046 h 73"/>
                <a:gd name="T18" fmla="*/ 20838 w 103"/>
                <a:gd name="T19" fmla="*/ 11265 h 73"/>
                <a:gd name="T20" fmla="*/ 17632 w 103"/>
                <a:gd name="T21" fmla="*/ 11265 h 73"/>
                <a:gd name="T22" fmla="*/ 17632 w 103"/>
                <a:gd name="T23" fmla="*/ 15288 h 7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03"/>
                <a:gd name="T37" fmla="*/ 0 h 73"/>
                <a:gd name="T38" fmla="*/ 103 w 103"/>
                <a:gd name="T39" fmla="*/ 73 h 7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03" h="73">
                  <a:moveTo>
                    <a:pt x="86" y="73"/>
                  </a:moveTo>
                  <a:lnTo>
                    <a:pt x="52" y="56"/>
                  </a:lnTo>
                  <a:lnTo>
                    <a:pt x="17" y="37"/>
                  </a:lnTo>
                  <a:lnTo>
                    <a:pt x="0" y="37"/>
                  </a:lnTo>
                  <a:lnTo>
                    <a:pt x="17" y="37"/>
                  </a:lnTo>
                  <a:lnTo>
                    <a:pt x="17" y="19"/>
                  </a:lnTo>
                  <a:lnTo>
                    <a:pt x="34" y="0"/>
                  </a:lnTo>
                  <a:lnTo>
                    <a:pt x="69" y="19"/>
                  </a:lnTo>
                  <a:lnTo>
                    <a:pt x="86" y="37"/>
                  </a:lnTo>
                  <a:lnTo>
                    <a:pt x="103" y="56"/>
                  </a:lnTo>
                  <a:lnTo>
                    <a:pt x="86" y="56"/>
                  </a:lnTo>
                  <a:lnTo>
                    <a:pt x="86" y="73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50" name="Freeform 24">
              <a:extLst>
                <a:ext uri="{FF2B5EF4-FFF2-40B4-BE49-F238E27FC236}">
                  <a16:creationId xmlns:a16="http://schemas.microsoft.com/office/drawing/2014/main" id="{7D7CF57E-96DE-4740-6C85-566EA639B554}"/>
                </a:ext>
              </a:extLst>
            </p:cNvPr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3405186" y="2590375"/>
              <a:ext cx="118159" cy="94985"/>
            </a:xfrm>
            <a:custGeom>
              <a:avLst/>
              <a:gdLst>
                <a:gd name="T0" fmla="*/ 30762 w 159"/>
                <a:gd name="T1" fmla="*/ 6298 h 121"/>
                <a:gd name="T2" fmla="*/ 27607 w 159"/>
                <a:gd name="T3" fmla="*/ 6298 h 121"/>
                <a:gd name="T4" fmla="*/ 24452 w 159"/>
                <a:gd name="T5" fmla="*/ 6298 h 121"/>
                <a:gd name="T6" fmla="*/ 21297 w 159"/>
                <a:gd name="T7" fmla="*/ 13382 h 121"/>
                <a:gd name="T8" fmla="*/ 21297 w 159"/>
                <a:gd name="T9" fmla="*/ 16531 h 121"/>
                <a:gd name="T10" fmla="*/ 13409 w 159"/>
                <a:gd name="T11" fmla="*/ 16531 h 121"/>
                <a:gd name="T12" fmla="*/ 10254 w 159"/>
                <a:gd name="T13" fmla="*/ 16531 h 121"/>
                <a:gd name="T14" fmla="*/ 10254 w 159"/>
                <a:gd name="T15" fmla="*/ 19680 h 121"/>
                <a:gd name="T16" fmla="*/ 10254 w 159"/>
                <a:gd name="T17" fmla="*/ 23616 h 121"/>
                <a:gd name="T18" fmla="*/ 6310 w 159"/>
                <a:gd name="T19" fmla="*/ 23616 h 121"/>
                <a:gd name="T20" fmla="*/ 3155 w 159"/>
                <a:gd name="T21" fmla="*/ 23616 h 121"/>
                <a:gd name="T22" fmla="*/ 3155 w 159"/>
                <a:gd name="T23" fmla="*/ 19680 h 121"/>
                <a:gd name="T24" fmla="*/ 3155 w 159"/>
                <a:gd name="T25" fmla="*/ 16531 h 121"/>
                <a:gd name="T26" fmla="*/ 3155 w 159"/>
                <a:gd name="T27" fmla="*/ 13382 h 121"/>
                <a:gd name="T28" fmla="*/ 0 w 159"/>
                <a:gd name="T29" fmla="*/ 6298 h 121"/>
                <a:gd name="T30" fmla="*/ 3155 w 159"/>
                <a:gd name="T31" fmla="*/ 6298 h 121"/>
                <a:gd name="T32" fmla="*/ 6310 w 159"/>
                <a:gd name="T33" fmla="*/ 6298 h 121"/>
                <a:gd name="T34" fmla="*/ 6310 w 159"/>
                <a:gd name="T35" fmla="*/ 3149 h 121"/>
                <a:gd name="T36" fmla="*/ 10254 w 159"/>
                <a:gd name="T37" fmla="*/ 3149 h 121"/>
                <a:gd name="T38" fmla="*/ 10254 w 159"/>
                <a:gd name="T39" fmla="*/ 0 h 121"/>
                <a:gd name="T40" fmla="*/ 17353 w 159"/>
                <a:gd name="T41" fmla="*/ 3149 h 121"/>
                <a:gd name="T42" fmla="*/ 21297 w 159"/>
                <a:gd name="T43" fmla="*/ 3149 h 121"/>
                <a:gd name="T44" fmla="*/ 30762 w 159"/>
                <a:gd name="T45" fmla="*/ 3149 h 121"/>
                <a:gd name="T46" fmla="*/ 30762 w 159"/>
                <a:gd name="T47" fmla="*/ 6298 h 12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59"/>
                <a:gd name="T73" fmla="*/ 0 h 121"/>
                <a:gd name="T74" fmla="*/ 159 w 159"/>
                <a:gd name="T75" fmla="*/ 121 h 12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59" h="121">
                  <a:moveTo>
                    <a:pt x="159" y="34"/>
                  </a:moveTo>
                  <a:lnTo>
                    <a:pt x="142" y="34"/>
                  </a:lnTo>
                  <a:lnTo>
                    <a:pt x="125" y="34"/>
                  </a:lnTo>
                  <a:lnTo>
                    <a:pt x="108" y="69"/>
                  </a:lnTo>
                  <a:lnTo>
                    <a:pt x="108" y="86"/>
                  </a:lnTo>
                  <a:lnTo>
                    <a:pt x="71" y="86"/>
                  </a:lnTo>
                  <a:lnTo>
                    <a:pt x="54" y="86"/>
                  </a:lnTo>
                  <a:lnTo>
                    <a:pt x="54" y="103"/>
                  </a:lnTo>
                  <a:lnTo>
                    <a:pt x="54" y="121"/>
                  </a:lnTo>
                  <a:lnTo>
                    <a:pt x="35" y="121"/>
                  </a:lnTo>
                  <a:lnTo>
                    <a:pt x="17" y="121"/>
                  </a:lnTo>
                  <a:lnTo>
                    <a:pt x="17" y="103"/>
                  </a:lnTo>
                  <a:lnTo>
                    <a:pt x="17" y="86"/>
                  </a:lnTo>
                  <a:lnTo>
                    <a:pt x="17" y="69"/>
                  </a:lnTo>
                  <a:lnTo>
                    <a:pt x="0" y="34"/>
                  </a:lnTo>
                  <a:lnTo>
                    <a:pt x="17" y="34"/>
                  </a:lnTo>
                  <a:lnTo>
                    <a:pt x="35" y="34"/>
                  </a:lnTo>
                  <a:lnTo>
                    <a:pt x="35" y="17"/>
                  </a:lnTo>
                  <a:lnTo>
                    <a:pt x="54" y="17"/>
                  </a:lnTo>
                  <a:lnTo>
                    <a:pt x="54" y="0"/>
                  </a:lnTo>
                  <a:lnTo>
                    <a:pt x="88" y="17"/>
                  </a:lnTo>
                  <a:lnTo>
                    <a:pt x="108" y="17"/>
                  </a:lnTo>
                  <a:lnTo>
                    <a:pt x="159" y="17"/>
                  </a:lnTo>
                  <a:lnTo>
                    <a:pt x="159" y="34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51" name="Freeform 25">
              <a:extLst>
                <a:ext uri="{FF2B5EF4-FFF2-40B4-BE49-F238E27FC236}">
                  <a16:creationId xmlns:a16="http://schemas.microsoft.com/office/drawing/2014/main" id="{10599FC1-5234-78C9-9D4D-73C86542B212}"/>
                </a:ext>
              </a:extLst>
            </p:cNvPr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3803774" y="2838668"/>
              <a:ext cx="39386" cy="28328"/>
            </a:xfrm>
            <a:custGeom>
              <a:avLst/>
              <a:gdLst>
                <a:gd name="T0" fmla="*/ 10319 w 52"/>
                <a:gd name="T1" fmla="*/ 3969 h 36"/>
                <a:gd name="T2" fmla="*/ 3969 w 52"/>
                <a:gd name="T3" fmla="*/ 7144 h 36"/>
                <a:gd name="T4" fmla="*/ 0 w 52"/>
                <a:gd name="T5" fmla="*/ 7144 h 36"/>
                <a:gd name="T6" fmla="*/ 0 w 52"/>
                <a:gd name="T7" fmla="*/ 3969 h 36"/>
                <a:gd name="T8" fmla="*/ 0 w 52"/>
                <a:gd name="T9" fmla="*/ 0 h 36"/>
                <a:gd name="T10" fmla="*/ 7144 w 52"/>
                <a:gd name="T11" fmla="*/ 0 h 36"/>
                <a:gd name="T12" fmla="*/ 10319 w 52"/>
                <a:gd name="T13" fmla="*/ 3969 h 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"/>
                <a:gd name="T22" fmla="*/ 0 h 36"/>
                <a:gd name="T23" fmla="*/ 52 w 52"/>
                <a:gd name="T24" fmla="*/ 36 h 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" h="36">
                  <a:moveTo>
                    <a:pt x="52" y="19"/>
                  </a:moveTo>
                  <a:lnTo>
                    <a:pt x="17" y="36"/>
                  </a:lnTo>
                  <a:lnTo>
                    <a:pt x="0" y="36"/>
                  </a:lnTo>
                  <a:lnTo>
                    <a:pt x="0" y="19"/>
                  </a:lnTo>
                  <a:lnTo>
                    <a:pt x="0" y="0"/>
                  </a:lnTo>
                  <a:lnTo>
                    <a:pt x="35" y="0"/>
                  </a:lnTo>
                  <a:lnTo>
                    <a:pt x="52" y="19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52" name="Freeform 26">
              <a:extLst>
                <a:ext uri="{FF2B5EF4-FFF2-40B4-BE49-F238E27FC236}">
                  <a16:creationId xmlns:a16="http://schemas.microsoft.com/office/drawing/2014/main" id="{4ECC5F17-6564-E659-1EA3-DB1F73EC6041}"/>
                </a:ext>
              </a:extLst>
            </p:cNvPr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3709247" y="2618704"/>
              <a:ext cx="107130" cy="39993"/>
            </a:xfrm>
            <a:custGeom>
              <a:avLst/>
              <a:gdLst>
                <a:gd name="T0" fmla="*/ 10319 w 142"/>
                <a:gd name="T1" fmla="*/ 10319 h 50"/>
                <a:gd name="T2" fmla="*/ 7144 w 142"/>
                <a:gd name="T3" fmla="*/ 10319 h 50"/>
                <a:gd name="T4" fmla="*/ 7144 w 142"/>
                <a:gd name="T5" fmla="*/ 7144 h 50"/>
                <a:gd name="T6" fmla="*/ 3175 w 142"/>
                <a:gd name="T7" fmla="*/ 2381 h 50"/>
                <a:gd name="T8" fmla="*/ 0 w 142"/>
                <a:gd name="T9" fmla="*/ 2381 h 50"/>
                <a:gd name="T10" fmla="*/ 0 w 142"/>
                <a:gd name="T11" fmla="*/ 0 h 50"/>
                <a:gd name="T12" fmla="*/ 3175 w 142"/>
                <a:gd name="T13" fmla="*/ 0 h 50"/>
                <a:gd name="T14" fmla="*/ 10319 w 142"/>
                <a:gd name="T15" fmla="*/ 0 h 50"/>
                <a:gd name="T16" fmla="*/ 14288 w 142"/>
                <a:gd name="T17" fmla="*/ 0 h 50"/>
                <a:gd name="T18" fmla="*/ 21431 w 142"/>
                <a:gd name="T19" fmla="*/ 0 h 50"/>
                <a:gd name="T20" fmla="*/ 24606 w 142"/>
                <a:gd name="T21" fmla="*/ 2381 h 50"/>
                <a:gd name="T22" fmla="*/ 28575 w 142"/>
                <a:gd name="T23" fmla="*/ 7144 h 50"/>
                <a:gd name="T24" fmla="*/ 24606 w 142"/>
                <a:gd name="T25" fmla="*/ 7144 h 50"/>
                <a:gd name="T26" fmla="*/ 24606 w 142"/>
                <a:gd name="T27" fmla="*/ 10319 h 50"/>
                <a:gd name="T28" fmla="*/ 21431 w 142"/>
                <a:gd name="T29" fmla="*/ 10319 h 50"/>
                <a:gd name="T30" fmla="*/ 17463 w 142"/>
                <a:gd name="T31" fmla="*/ 7144 h 50"/>
                <a:gd name="T32" fmla="*/ 17463 w 142"/>
                <a:gd name="T33" fmla="*/ 10319 h 50"/>
                <a:gd name="T34" fmla="*/ 14288 w 142"/>
                <a:gd name="T35" fmla="*/ 10319 h 50"/>
                <a:gd name="T36" fmla="*/ 10319 w 142"/>
                <a:gd name="T37" fmla="*/ 10319 h 5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42"/>
                <a:gd name="T58" fmla="*/ 0 h 50"/>
                <a:gd name="T59" fmla="*/ 142 w 142"/>
                <a:gd name="T60" fmla="*/ 50 h 5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42" h="50">
                  <a:moveTo>
                    <a:pt x="54" y="50"/>
                  </a:moveTo>
                  <a:lnTo>
                    <a:pt x="37" y="50"/>
                  </a:lnTo>
                  <a:lnTo>
                    <a:pt x="37" y="33"/>
                  </a:lnTo>
                  <a:lnTo>
                    <a:pt x="19" y="1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9" y="0"/>
                  </a:lnTo>
                  <a:lnTo>
                    <a:pt x="54" y="0"/>
                  </a:lnTo>
                  <a:lnTo>
                    <a:pt x="71" y="0"/>
                  </a:lnTo>
                  <a:lnTo>
                    <a:pt x="108" y="0"/>
                  </a:lnTo>
                  <a:lnTo>
                    <a:pt x="125" y="15"/>
                  </a:lnTo>
                  <a:lnTo>
                    <a:pt x="142" y="33"/>
                  </a:lnTo>
                  <a:lnTo>
                    <a:pt x="125" y="33"/>
                  </a:lnTo>
                  <a:lnTo>
                    <a:pt x="125" y="50"/>
                  </a:lnTo>
                  <a:lnTo>
                    <a:pt x="108" y="50"/>
                  </a:lnTo>
                  <a:lnTo>
                    <a:pt x="90" y="33"/>
                  </a:lnTo>
                  <a:lnTo>
                    <a:pt x="90" y="50"/>
                  </a:lnTo>
                  <a:lnTo>
                    <a:pt x="71" y="50"/>
                  </a:lnTo>
                  <a:lnTo>
                    <a:pt x="54" y="50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53" name="Freeform 27">
              <a:extLst>
                <a:ext uri="{FF2B5EF4-FFF2-40B4-BE49-F238E27FC236}">
                  <a16:creationId xmlns:a16="http://schemas.microsoft.com/office/drawing/2014/main" id="{DF15DDFF-86D5-573C-2CB0-5B8D6C523BF3}"/>
                </a:ext>
              </a:extLst>
            </p:cNvPr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3751784" y="2797007"/>
              <a:ext cx="11029" cy="0"/>
            </a:xfrm>
            <a:custGeom>
              <a:avLst/>
              <a:gdLst>
                <a:gd name="T0" fmla="*/ 0 w 13"/>
                <a:gd name="T1" fmla="*/ 3419 w 13"/>
                <a:gd name="T2" fmla="*/ 0 w 13"/>
                <a:gd name="T3" fmla="*/ 0 60000 65536"/>
                <a:gd name="T4" fmla="*/ 0 60000 65536"/>
                <a:gd name="T5" fmla="*/ 0 60000 65536"/>
                <a:gd name="T6" fmla="*/ 0 w 13"/>
                <a:gd name="T7" fmla="*/ 13 w 13"/>
              </a:gdLst>
              <a:ahLst/>
              <a:cxnLst>
                <a:cxn ang="T3">
                  <a:pos x="T0" y="0"/>
                </a:cxn>
                <a:cxn ang="T4">
                  <a:pos x="T1" y="0"/>
                </a:cxn>
                <a:cxn ang="T5">
                  <a:pos x="T2" y="0"/>
                </a:cxn>
              </a:cxnLst>
              <a:rect l="T6" t="0" r="T7" b="0"/>
              <a:pathLst>
                <a:path w="13">
                  <a:moveTo>
                    <a:pt x="0" y="0"/>
                  </a:moveTo>
                  <a:lnTo>
                    <a:pt x="1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54" name="Freeform 28">
              <a:extLst>
                <a:ext uri="{FF2B5EF4-FFF2-40B4-BE49-F238E27FC236}">
                  <a16:creationId xmlns:a16="http://schemas.microsoft.com/office/drawing/2014/main" id="{145E959A-5689-E21F-ECEE-02D9CD922A3B}"/>
                </a:ext>
              </a:extLst>
            </p:cNvPr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3523345" y="2618704"/>
              <a:ext cx="601820" cy="428262"/>
            </a:xfrm>
            <a:custGeom>
              <a:avLst/>
              <a:gdLst>
                <a:gd name="T0" fmla="*/ 143849 w 795"/>
                <a:gd name="T1" fmla="*/ 78728 h 535"/>
                <a:gd name="T2" fmla="*/ 127160 w 795"/>
                <a:gd name="T3" fmla="*/ 69185 h 535"/>
                <a:gd name="T4" fmla="*/ 127160 w 795"/>
                <a:gd name="T5" fmla="*/ 72366 h 535"/>
                <a:gd name="T6" fmla="*/ 127160 w 795"/>
                <a:gd name="T7" fmla="*/ 75547 h 535"/>
                <a:gd name="T8" fmla="*/ 133518 w 795"/>
                <a:gd name="T9" fmla="*/ 78728 h 535"/>
                <a:gd name="T10" fmla="*/ 140670 w 795"/>
                <a:gd name="T11" fmla="*/ 82704 h 535"/>
                <a:gd name="T12" fmla="*/ 140670 w 795"/>
                <a:gd name="T13" fmla="*/ 93042 h 535"/>
                <a:gd name="T14" fmla="*/ 133518 w 795"/>
                <a:gd name="T15" fmla="*/ 96223 h 535"/>
                <a:gd name="T16" fmla="*/ 123186 w 795"/>
                <a:gd name="T17" fmla="*/ 96223 h 535"/>
                <a:gd name="T18" fmla="*/ 130339 w 795"/>
                <a:gd name="T19" fmla="*/ 106561 h 535"/>
                <a:gd name="T20" fmla="*/ 120007 w 795"/>
                <a:gd name="T21" fmla="*/ 100199 h 535"/>
                <a:gd name="T22" fmla="*/ 102523 w 795"/>
                <a:gd name="T23" fmla="*/ 96223 h 535"/>
                <a:gd name="T24" fmla="*/ 92191 w 795"/>
                <a:gd name="T25" fmla="*/ 85885 h 535"/>
                <a:gd name="T26" fmla="*/ 81064 w 795"/>
                <a:gd name="T27" fmla="*/ 82704 h 535"/>
                <a:gd name="T28" fmla="*/ 66759 w 795"/>
                <a:gd name="T29" fmla="*/ 82704 h 535"/>
                <a:gd name="T30" fmla="*/ 73912 w 795"/>
                <a:gd name="T31" fmla="*/ 78728 h 535"/>
                <a:gd name="T32" fmla="*/ 85038 w 795"/>
                <a:gd name="T33" fmla="*/ 78728 h 535"/>
                <a:gd name="T34" fmla="*/ 88217 w 795"/>
                <a:gd name="T35" fmla="*/ 75547 h 535"/>
                <a:gd name="T36" fmla="*/ 88217 w 795"/>
                <a:gd name="T37" fmla="*/ 69185 h 535"/>
                <a:gd name="T38" fmla="*/ 95370 w 795"/>
                <a:gd name="T39" fmla="*/ 65209 h 535"/>
                <a:gd name="T40" fmla="*/ 88217 w 795"/>
                <a:gd name="T41" fmla="*/ 48509 h 535"/>
                <a:gd name="T42" fmla="*/ 77885 w 795"/>
                <a:gd name="T43" fmla="*/ 48509 h 535"/>
                <a:gd name="T44" fmla="*/ 77885 w 795"/>
                <a:gd name="T45" fmla="*/ 45328 h 535"/>
                <a:gd name="T46" fmla="*/ 63580 w 795"/>
                <a:gd name="T47" fmla="*/ 34195 h 535"/>
                <a:gd name="T48" fmla="*/ 57222 w 795"/>
                <a:gd name="T49" fmla="*/ 41352 h 535"/>
                <a:gd name="T50" fmla="*/ 46095 w 795"/>
                <a:gd name="T51" fmla="*/ 34195 h 535"/>
                <a:gd name="T52" fmla="*/ 25432 w 795"/>
                <a:gd name="T53" fmla="*/ 34195 h 535"/>
                <a:gd name="T54" fmla="*/ 15100 w 795"/>
                <a:gd name="T55" fmla="*/ 34195 h 535"/>
                <a:gd name="T56" fmla="*/ 3974 w 795"/>
                <a:gd name="T57" fmla="*/ 27038 h 535"/>
                <a:gd name="T58" fmla="*/ 15100 w 795"/>
                <a:gd name="T59" fmla="*/ 27038 h 535"/>
                <a:gd name="T60" fmla="*/ 3974 w 795"/>
                <a:gd name="T61" fmla="*/ 23857 h 535"/>
                <a:gd name="T62" fmla="*/ 3974 w 795"/>
                <a:gd name="T63" fmla="*/ 13519 h 535"/>
                <a:gd name="T64" fmla="*/ 11126 w 795"/>
                <a:gd name="T65" fmla="*/ 0 h 535"/>
                <a:gd name="T66" fmla="*/ 25432 w 795"/>
                <a:gd name="T67" fmla="*/ 0 h 535"/>
                <a:gd name="T68" fmla="*/ 18279 w 795"/>
                <a:gd name="T69" fmla="*/ 10338 h 535"/>
                <a:gd name="T70" fmla="*/ 21458 w 795"/>
                <a:gd name="T71" fmla="*/ 17495 h 535"/>
                <a:gd name="T72" fmla="*/ 25432 w 795"/>
                <a:gd name="T73" fmla="*/ 10338 h 535"/>
                <a:gd name="T74" fmla="*/ 46095 w 795"/>
                <a:gd name="T75" fmla="*/ 0 h 535"/>
                <a:gd name="T76" fmla="*/ 53248 w 795"/>
                <a:gd name="T77" fmla="*/ 13519 h 535"/>
                <a:gd name="T78" fmla="*/ 63580 w 795"/>
                <a:gd name="T79" fmla="*/ 13519 h 535"/>
                <a:gd name="T80" fmla="*/ 73912 w 795"/>
                <a:gd name="T81" fmla="*/ 10338 h 535"/>
                <a:gd name="T82" fmla="*/ 85038 w 795"/>
                <a:gd name="T83" fmla="*/ 17495 h 535"/>
                <a:gd name="T84" fmla="*/ 98549 w 795"/>
                <a:gd name="T85" fmla="*/ 23857 h 535"/>
                <a:gd name="T86" fmla="*/ 109675 w 795"/>
                <a:gd name="T87" fmla="*/ 27038 h 535"/>
                <a:gd name="T88" fmla="*/ 120007 w 795"/>
                <a:gd name="T89" fmla="*/ 34195 h 535"/>
                <a:gd name="T90" fmla="*/ 130339 w 795"/>
                <a:gd name="T91" fmla="*/ 37376 h 535"/>
                <a:gd name="T92" fmla="*/ 120007 w 795"/>
                <a:gd name="T93" fmla="*/ 41352 h 535"/>
                <a:gd name="T94" fmla="*/ 130339 w 795"/>
                <a:gd name="T95" fmla="*/ 41352 h 535"/>
                <a:gd name="T96" fmla="*/ 123186 w 795"/>
                <a:gd name="T97" fmla="*/ 48509 h 535"/>
                <a:gd name="T98" fmla="*/ 130339 w 795"/>
                <a:gd name="T99" fmla="*/ 51690 h 535"/>
                <a:gd name="T100" fmla="*/ 140670 w 795"/>
                <a:gd name="T101" fmla="*/ 58847 h 535"/>
                <a:gd name="T102" fmla="*/ 147823 w 795"/>
                <a:gd name="T103" fmla="*/ 62028 h 535"/>
                <a:gd name="T104" fmla="*/ 154976 w 795"/>
                <a:gd name="T105" fmla="*/ 69185 h 535"/>
                <a:gd name="T106" fmla="*/ 154976 w 795"/>
                <a:gd name="T107" fmla="*/ 72366 h 535"/>
                <a:gd name="T108" fmla="*/ 147823 w 795"/>
                <a:gd name="T109" fmla="*/ 75547 h 535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795"/>
                <a:gd name="T166" fmla="*/ 0 h 535"/>
                <a:gd name="T167" fmla="*/ 795 w 795"/>
                <a:gd name="T168" fmla="*/ 535 h 535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795" h="535">
                  <a:moveTo>
                    <a:pt x="741" y="378"/>
                  </a:moveTo>
                  <a:lnTo>
                    <a:pt x="741" y="395"/>
                  </a:lnTo>
                  <a:lnTo>
                    <a:pt x="724" y="395"/>
                  </a:lnTo>
                  <a:lnTo>
                    <a:pt x="690" y="395"/>
                  </a:lnTo>
                  <a:lnTo>
                    <a:pt x="672" y="361"/>
                  </a:lnTo>
                  <a:lnTo>
                    <a:pt x="638" y="346"/>
                  </a:lnTo>
                  <a:lnTo>
                    <a:pt x="619" y="346"/>
                  </a:lnTo>
                  <a:lnTo>
                    <a:pt x="619" y="361"/>
                  </a:lnTo>
                  <a:lnTo>
                    <a:pt x="638" y="361"/>
                  </a:lnTo>
                  <a:lnTo>
                    <a:pt x="619" y="361"/>
                  </a:lnTo>
                  <a:lnTo>
                    <a:pt x="619" y="378"/>
                  </a:lnTo>
                  <a:lnTo>
                    <a:pt x="638" y="378"/>
                  </a:lnTo>
                  <a:lnTo>
                    <a:pt x="638" y="395"/>
                  </a:lnTo>
                  <a:lnTo>
                    <a:pt x="655" y="395"/>
                  </a:lnTo>
                  <a:lnTo>
                    <a:pt x="672" y="395"/>
                  </a:lnTo>
                  <a:lnTo>
                    <a:pt x="672" y="413"/>
                  </a:lnTo>
                  <a:lnTo>
                    <a:pt x="690" y="413"/>
                  </a:lnTo>
                  <a:lnTo>
                    <a:pt x="707" y="413"/>
                  </a:lnTo>
                  <a:lnTo>
                    <a:pt x="707" y="430"/>
                  </a:lnTo>
                  <a:lnTo>
                    <a:pt x="707" y="447"/>
                  </a:lnTo>
                  <a:lnTo>
                    <a:pt x="707" y="466"/>
                  </a:lnTo>
                  <a:lnTo>
                    <a:pt x="707" y="484"/>
                  </a:lnTo>
                  <a:lnTo>
                    <a:pt x="707" y="501"/>
                  </a:lnTo>
                  <a:lnTo>
                    <a:pt x="672" y="484"/>
                  </a:lnTo>
                  <a:lnTo>
                    <a:pt x="638" y="466"/>
                  </a:lnTo>
                  <a:lnTo>
                    <a:pt x="601" y="447"/>
                  </a:lnTo>
                  <a:lnTo>
                    <a:pt x="619" y="484"/>
                  </a:lnTo>
                  <a:lnTo>
                    <a:pt x="655" y="501"/>
                  </a:lnTo>
                  <a:lnTo>
                    <a:pt x="655" y="518"/>
                  </a:lnTo>
                  <a:lnTo>
                    <a:pt x="655" y="535"/>
                  </a:lnTo>
                  <a:lnTo>
                    <a:pt x="655" y="518"/>
                  </a:lnTo>
                  <a:lnTo>
                    <a:pt x="619" y="501"/>
                  </a:lnTo>
                  <a:lnTo>
                    <a:pt x="601" y="501"/>
                  </a:lnTo>
                  <a:lnTo>
                    <a:pt x="584" y="501"/>
                  </a:lnTo>
                  <a:lnTo>
                    <a:pt x="532" y="501"/>
                  </a:lnTo>
                  <a:lnTo>
                    <a:pt x="515" y="484"/>
                  </a:lnTo>
                  <a:lnTo>
                    <a:pt x="515" y="447"/>
                  </a:lnTo>
                  <a:lnTo>
                    <a:pt x="478" y="447"/>
                  </a:lnTo>
                  <a:lnTo>
                    <a:pt x="461" y="430"/>
                  </a:lnTo>
                  <a:lnTo>
                    <a:pt x="425" y="413"/>
                  </a:lnTo>
                  <a:lnTo>
                    <a:pt x="425" y="430"/>
                  </a:lnTo>
                  <a:lnTo>
                    <a:pt x="407" y="413"/>
                  </a:lnTo>
                  <a:lnTo>
                    <a:pt x="390" y="413"/>
                  </a:lnTo>
                  <a:lnTo>
                    <a:pt x="371" y="430"/>
                  </a:lnTo>
                  <a:lnTo>
                    <a:pt x="336" y="413"/>
                  </a:lnTo>
                  <a:lnTo>
                    <a:pt x="336" y="395"/>
                  </a:lnTo>
                  <a:lnTo>
                    <a:pt x="354" y="395"/>
                  </a:lnTo>
                  <a:lnTo>
                    <a:pt x="371" y="395"/>
                  </a:lnTo>
                  <a:lnTo>
                    <a:pt x="390" y="395"/>
                  </a:lnTo>
                  <a:lnTo>
                    <a:pt x="407" y="395"/>
                  </a:lnTo>
                  <a:lnTo>
                    <a:pt x="425" y="395"/>
                  </a:lnTo>
                  <a:lnTo>
                    <a:pt x="442" y="395"/>
                  </a:lnTo>
                  <a:lnTo>
                    <a:pt x="461" y="378"/>
                  </a:lnTo>
                  <a:lnTo>
                    <a:pt x="442" y="378"/>
                  </a:lnTo>
                  <a:lnTo>
                    <a:pt x="442" y="361"/>
                  </a:lnTo>
                  <a:lnTo>
                    <a:pt x="425" y="361"/>
                  </a:lnTo>
                  <a:lnTo>
                    <a:pt x="442" y="346"/>
                  </a:lnTo>
                  <a:lnTo>
                    <a:pt x="461" y="346"/>
                  </a:lnTo>
                  <a:lnTo>
                    <a:pt x="478" y="346"/>
                  </a:lnTo>
                  <a:lnTo>
                    <a:pt x="478" y="328"/>
                  </a:lnTo>
                  <a:lnTo>
                    <a:pt x="478" y="311"/>
                  </a:lnTo>
                  <a:lnTo>
                    <a:pt x="478" y="276"/>
                  </a:lnTo>
                  <a:lnTo>
                    <a:pt x="442" y="242"/>
                  </a:lnTo>
                  <a:lnTo>
                    <a:pt x="407" y="225"/>
                  </a:lnTo>
                  <a:lnTo>
                    <a:pt x="407" y="242"/>
                  </a:lnTo>
                  <a:lnTo>
                    <a:pt x="390" y="242"/>
                  </a:lnTo>
                  <a:lnTo>
                    <a:pt x="371" y="242"/>
                  </a:lnTo>
                  <a:lnTo>
                    <a:pt x="371" y="225"/>
                  </a:lnTo>
                  <a:lnTo>
                    <a:pt x="390" y="225"/>
                  </a:lnTo>
                  <a:lnTo>
                    <a:pt x="371" y="205"/>
                  </a:lnTo>
                  <a:lnTo>
                    <a:pt x="354" y="171"/>
                  </a:lnTo>
                  <a:lnTo>
                    <a:pt x="319" y="171"/>
                  </a:lnTo>
                  <a:lnTo>
                    <a:pt x="302" y="171"/>
                  </a:lnTo>
                  <a:lnTo>
                    <a:pt x="302" y="188"/>
                  </a:lnTo>
                  <a:lnTo>
                    <a:pt x="285" y="205"/>
                  </a:lnTo>
                  <a:lnTo>
                    <a:pt x="267" y="205"/>
                  </a:lnTo>
                  <a:lnTo>
                    <a:pt x="267" y="188"/>
                  </a:lnTo>
                  <a:lnTo>
                    <a:pt x="231" y="171"/>
                  </a:lnTo>
                  <a:lnTo>
                    <a:pt x="179" y="188"/>
                  </a:lnTo>
                  <a:lnTo>
                    <a:pt x="125" y="188"/>
                  </a:lnTo>
                  <a:lnTo>
                    <a:pt x="125" y="171"/>
                  </a:lnTo>
                  <a:lnTo>
                    <a:pt x="108" y="171"/>
                  </a:lnTo>
                  <a:lnTo>
                    <a:pt x="91" y="171"/>
                  </a:lnTo>
                  <a:lnTo>
                    <a:pt x="73" y="171"/>
                  </a:lnTo>
                  <a:lnTo>
                    <a:pt x="56" y="171"/>
                  </a:lnTo>
                  <a:lnTo>
                    <a:pt x="39" y="154"/>
                  </a:lnTo>
                  <a:lnTo>
                    <a:pt x="20" y="136"/>
                  </a:lnTo>
                  <a:lnTo>
                    <a:pt x="39" y="136"/>
                  </a:lnTo>
                  <a:lnTo>
                    <a:pt x="56" y="136"/>
                  </a:lnTo>
                  <a:lnTo>
                    <a:pt x="73" y="136"/>
                  </a:lnTo>
                  <a:lnTo>
                    <a:pt x="73" y="119"/>
                  </a:lnTo>
                  <a:lnTo>
                    <a:pt x="56" y="119"/>
                  </a:lnTo>
                  <a:lnTo>
                    <a:pt x="20" y="119"/>
                  </a:lnTo>
                  <a:lnTo>
                    <a:pt x="20" y="102"/>
                  </a:lnTo>
                  <a:lnTo>
                    <a:pt x="0" y="102"/>
                  </a:lnTo>
                  <a:lnTo>
                    <a:pt x="20" y="67"/>
                  </a:lnTo>
                  <a:lnTo>
                    <a:pt x="20" y="50"/>
                  </a:lnTo>
                  <a:lnTo>
                    <a:pt x="20" y="33"/>
                  </a:lnTo>
                  <a:lnTo>
                    <a:pt x="56" y="0"/>
                  </a:lnTo>
                  <a:lnTo>
                    <a:pt x="73" y="0"/>
                  </a:lnTo>
                  <a:lnTo>
                    <a:pt x="108" y="0"/>
                  </a:lnTo>
                  <a:lnTo>
                    <a:pt x="125" y="0"/>
                  </a:lnTo>
                  <a:lnTo>
                    <a:pt x="125" y="15"/>
                  </a:lnTo>
                  <a:lnTo>
                    <a:pt x="108" y="33"/>
                  </a:lnTo>
                  <a:lnTo>
                    <a:pt x="91" y="50"/>
                  </a:lnTo>
                  <a:lnTo>
                    <a:pt x="91" y="67"/>
                  </a:lnTo>
                  <a:lnTo>
                    <a:pt x="108" y="67"/>
                  </a:lnTo>
                  <a:lnTo>
                    <a:pt x="108" y="85"/>
                  </a:lnTo>
                  <a:lnTo>
                    <a:pt x="125" y="85"/>
                  </a:lnTo>
                  <a:lnTo>
                    <a:pt x="125" y="67"/>
                  </a:lnTo>
                  <a:lnTo>
                    <a:pt x="125" y="50"/>
                  </a:lnTo>
                  <a:lnTo>
                    <a:pt x="143" y="15"/>
                  </a:lnTo>
                  <a:lnTo>
                    <a:pt x="196" y="0"/>
                  </a:lnTo>
                  <a:lnTo>
                    <a:pt x="231" y="0"/>
                  </a:lnTo>
                  <a:lnTo>
                    <a:pt x="248" y="0"/>
                  </a:lnTo>
                  <a:lnTo>
                    <a:pt x="248" y="33"/>
                  </a:lnTo>
                  <a:lnTo>
                    <a:pt x="267" y="67"/>
                  </a:lnTo>
                  <a:lnTo>
                    <a:pt x="285" y="67"/>
                  </a:lnTo>
                  <a:lnTo>
                    <a:pt x="302" y="67"/>
                  </a:lnTo>
                  <a:lnTo>
                    <a:pt x="319" y="67"/>
                  </a:lnTo>
                  <a:lnTo>
                    <a:pt x="336" y="67"/>
                  </a:lnTo>
                  <a:lnTo>
                    <a:pt x="354" y="50"/>
                  </a:lnTo>
                  <a:lnTo>
                    <a:pt x="371" y="50"/>
                  </a:lnTo>
                  <a:lnTo>
                    <a:pt x="390" y="67"/>
                  </a:lnTo>
                  <a:lnTo>
                    <a:pt x="425" y="67"/>
                  </a:lnTo>
                  <a:lnTo>
                    <a:pt x="425" y="85"/>
                  </a:lnTo>
                  <a:lnTo>
                    <a:pt x="442" y="102"/>
                  </a:lnTo>
                  <a:lnTo>
                    <a:pt x="478" y="119"/>
                  </a:lnTo>
                  <a:lnTo>
                    <a:pt x="496" y="119"/>
                  </a:lnTo>
                  <a:lnTo>
                    <a:pt x="515" y="119"/>
                  </a:lnTo>
                  <a:lnTo>
                    <a:pt x="532" y="119"/>
                  </a:lnTo>
                  <a:lnTo>
                    <a:pt x="549" y="136"/>
                  </a:lnTo>
                  <a:lnTo>
                    <a:pt x="584" y="154"/>
                  </a:lnTo>
                  <a:lnTo>
                    <a:pt x="601" y="154"/>
                  </a:lnTo>
                  <a:lnTo>
                    <a:pt x="601" y="171"/>
                  </a:lnTo>
                  <a:lnTo>
                    <a:pt x="619" y="171"/>
                  </a:lnTo>
                  <a:lnTo>
                    <a:pt x="638" y="171"/>
                  </a:lnTo>
                  <a:lnTo>
                    <a:pt x="655" y="188"/>
                  </a:lnTo>
                  <a:lnTo>
                    <a:pt x="638" y="188"/>
                  </a:lnTo>
                  <a:lnTo>
                    <a:pt x="619" y="205"/>
                  </a:lnTo>
                  <a:lnTo>
                    <a:pt x="601" y="205"/>
                  </a:lnTo>
                  <a:lnTo>
                    <a:pt x="619" y="205"/>
                  </a:lnTo>
                  <a:lnTo>
                    <a:pt x="638" y="205"/>
                  </a:lnTo>
                  <a:lnTo>
                    <a:pt x="655" y="205"/>
                  </a:lnTo>
                  <a:lnTo>
                    <a:pt x="655" y="225"/>
                  </a:lnTo>
                  <a:lnTo>
                    <a:pt x="638" y="225"/>
                  </a:lnTo>
                  <a:lnTo>
                    <a:pt x="619" y="242"/>
                  </a:lnTo>
                  <a:lnTo>
                    <a:pt x="638" y="242"/>
                  </a:lnTo>
                  <a:lnTo>
                    <a:pt x="655" y="242"/>
                  </a:lnTo>
                  <a:lnTo>
                    <a:pt x="655" y="259"/>
                  </a:lnTo>
                  <a:lnTo>
                    <a:pt x="672" y="276"/>
                  </a:lnTo>
                  <a:lnTo>
                    <a:pt x="690" y="294"/>
                  </a:lnTo>
                  <a:lnTo>
                    <a:pt x="707" y="294"/>
                  </a:lnTo>
                  <a:lnTo>
                    <a:pt x="707" y="311"/>
                  </a:lnTo>
                  <a:lnTo>
                    <a:pt x="724" y="311"/>
                  </a:lnTo>
                  <a:lnTo>
                    <a:pt x="741" y="311"/>
                  </a:lnTo>
                  <a:lnTo>
                    <a:pt x="761" y="328"/>
                  </a:lnTo>
                  <a:lnTo>
                    <a:pt x="778" y="328"/>
                  </a:lnTo>
                  <a:lnTo>
                    <a:pt x="778" y="346"/>
                  </a:lnTo>
                  <a:lnTo>
                    <a:pt x="795" y="346"/>
                  </a:lnTo>
                  <a:lnTo>
                    <a:pt x="778" y="346"/>
                  </a:lnTo>
                  <a:lnTo>
                    <a:pt x="778" y="361"/>
                  </a:lnTo>
                  <a:lnTo>
                    <a:pt x="778" y="378"/>
                  </a:lnTo>
                  <a:lnTo>
                    <a:pt x="761" y="378"/>
                  </a:lnTo>
                  <a:lnTo>
                    <a:pt x="741" y="378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55" name="Freeform 30">
              <a:extLst>
                <a:ext uri="{FF2B5EF4-FFF2-40B4-BE49-F238E27FC236}">
                  <a16:creationId xmlns:a16="http://schemas.microsoft.com/office/drawing/2014/main" id="{5E390A58-4342-5112-65F5-831198A35636}"/>
                </a:ext>
              </a:extLst>
            </p:cNvPr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4243323" y="2755348"/>
              <a:ext cx="66169" cy="41659"/>
            </a:xfrm>
            <a:custGeom>
              <a:avLst/>
              <a:gdLst>
                <a:gd name="T0" fmla="*/ 4061 w 86"/>
                <a:gd name="T1" fmla="*/ 10319 h 52"/>
                <a:gd name="T2" fmla="*/ 4061 w 86"/>
                <a:gd name="T3" fmla="*/ 7144 h 52"/>
                <a:gd name="T4" fmla="*/ 0 w 86"/>
                <a:gd name="T5" fmla="*/ 3969 h 52"/>
                <a:gd name="T6" fmla="*/ 0 w 86"/>
                <a:gd name="T7" fmla="*/ 0 h 52"/>
                <a:gd name="T8" fmla="*/ 4061 w 86"/>
                <a:gd name="T9" fmla="*/ 0 h 52"/>
                <a:gd name="T10" fmla="*/ 7310 w 86"/>
                <a:gd name="T11" fmla="*/ 0 h 52"/>
                <a:gd name="T12" fmla="*/ 10559 w 86"/>
                <a:gd name="T13" fmla="*/ 0 h 52"/>
                <a:gd name="T14" fmla="*/ 18681 w 86"/>
                <a:gd name="T15" fmla="*/ 3969 h 52"/>
                <a:gd name="T16" fmla="*/ 14620 w 86"/>
                <a:gd name="T17" fmla="*/ 7144 h 52"/>
                <a:gd name="T18" fmla="*/ 10559 w 86"/>
                <a:gd name="T19" fmla="*/ 10319 h 52"/>
                <a:gd name="T20" fmla="*/ 7310 w 86"/>
                <a:gd name="T21" fmla="*/ 10319 h 52"/>
                <a:gd name="T22" fmla="*/ 4061 w 86"/>
                <a:gd name="T23" fmla="*/ 10319 h 5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6"/>
                <a:gd name="T37" fmla="*/ 0 h 52"/>
                <a:gd name="T38" fmla="*/ 86 w 86"/>
                <a:gd name="T39" fmla="*/ 52 h 5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6" h="52">
                  <a:moveTo>
                    <a:pt x="17" y="52"/>
                  </a:moveTo>
                  <a:lnTo>
                    <a:pt x="17" y="34"/>
                  </a:lnTo>
                  <a:lnTo>
                    <a:pt x="0" y="17"/>
                  </a:lnTo>
                  <a:lnTo>
                    <a:pt x="0" y="0"/>
                  </a:lnTo>
                  <a:lnTo>
                    <a:pt x="17" y="0"/>
                  </a:lnTo>
                  <a:lnTo>
                    <a:pt x="34" y="0"/>
                  </a:lnTo>
                  <a:lnTo>
                    <a:pt x="51" y="0"/>
                  </a:lnTo>
                  <a:lnTo>
                    <a:pt x="86" y="17"/>
                  </a:lnTo>
                  <a:lnTo>
                    <a:pt x="69" y="34"/>
                  </a:lnTo>
                  <a:lnTo>
                    <a:pt x="51" y="52"/>
                  </a:lnTo>
                  <a:lnTo>
                    <a:pt x="34" y="52"/>
                  </a:lnTo>
                  <a:lnTo>
                    <a:pt x="17" y="52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56" name="Freeform 31">
              <a:extLst>
                <a:ext uri="{FF2B5EF4-FFF2-40B4-BE49-F238E27FC236}">
                  <a16:creationId xmlns:a16="http://schemas.microsoft.com/office/drawing/2014/main" id="{1C983D21-3427-B95C-2CB2-40FBE890BBEC}"/>
                </a:ext>
              </a:extLst>
            </p:cNvPr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3751784" y="2797007"/>
              <a:ext cx="11029" cy="0"/>
            </a:xfrm>
            <a:custGeom>
              <a:avLst/>
              <a:gdLst>
                <a:gd name="T0" fmla="*/ 0 w 13"/>
                <a:gd name="T1" fmla="*/ 3419 w 13"/>
                <a:gd name="T2" fmla="*/ 0 w 13"/>
                <a:gd name="T3" fmla="*/ 0 60000 65536"/>
                <a:gd name="T4" fmla="*/ 0 60000 65536"/>
                <a:gd name="T5" fmla="*/ 0 60000 65536"/>
                <a:gd name="T6" fmla="*/ 0 w 13"/>
                <a:gd name="T7" fmla="*/ 13 w 13"/>
              </a:gdLst>
              <a:ahLst/>
              <a:cxnLst>
                <a:cxn ang="T3">
                  <a:pos x="T0" y="0"/>
                </a:cxn>
                <a:cxn ang="T4">
                  <a:pos x="T1" y="0"/>
                </a:cxn>
                <a:cxn ang="T5">
                  <a:pos x="T2" y="0"/>
                </a:cxn>
              </a:cxnLst>
              <a:rect l="T6" t="0" r="T7" b="0"/>
              <a:pathLst>
                <a:path w="13">
                  <a:moveTo>
                    <a:pt x="0" y="0"/>
                  </a:moveTo>
                  <a:lnTo>
                    <a:pt x="1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57" name="Freeform 32">
              <a:extLst>
                <a:ext uri="{FF2B5EF4-FFF2-40B4-BE49-F238E27FC236}">
                  <a16:creationId xmlns:a16="http://schemas.microsoft.com/office/drawing/2014/main" id="{9EFD372A-1DAF-3258-82C4-7A78CFE0B166}"/>
                </a:ext>
              </a:extLst>
            </p:cNvPr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4892406" y="2893658"/>
              <a:ext cx="201657" cy="83320"/>
            </a:xfrm>
            <a:custGeom>
              <a:avLst/>
              <a:gdLst>
                <a:gd name="T0" fmla="*/ 53382 w 265"/>
                <a:gd name="T1" fmla="*/ 10419 h 103"/>
                <a:gd name="T2" fmla="*/ 49398 w 265"/>
                <a:gd name="T3" fmla="*/ 10419 h 103"/>
                <a:gd name="T4" fmla="*/ 45415 w 265"/>
                <a:gd name="T5" fmla="*/ 14426 h 103"/>
                <a:gd name="T6" fmla="*/ 45415 w 265"/>
                <a:gd name="T7" fmla="*/ 17632 h 103"/>
                <a:gd name="T8" fmla="*/ 39041 w 265"/>
                <a:gd name="T9" fmla="*/ 17632 h 103"/>
                <a:gd name="T10" fmla="*/ 35057 w 265"/>
                <a:gd name="T11" fmla="*/ 20838 h 103"/>
                <a:gd name="T12" fmla="*/ 27886 w 265"/>
                <a:gd name="T13" fmla="*/ 20838 h 103"/>
                <a:gd name="T14" fmla="*/ 21512 w 265"/>
                <a:gd name="T15" fmla="*/ 20838 h 103"/>
                <a:gd name="T16" fmla="*/ 17528 w 265"/>
                <a:gd name="T17" fmla="*/ 20838 h 103"/>
                <a:gd name="T18" fmla="*/ 11154 w 265"/>
                <a:gd name="T19" fmla="*/ 17632 h 103"/>
                <a:gd name="T20" fmla="*/ 7171 w 265"/>
                <a:gd name="T21" fmla="*/ 14426 h 103"/>
                <a:gd name="T22" fmla="*/ 3984 w 265"/>
                <a:gd name="T23" fmla="*/ 14426 h 103"/>
                <a:gd name="T24" fmla="*/ 7171 w 265"/>
                <a:gd name="T25" fmla="*/ 14426 h 103"/>
                <a:gd name="T26" fmla="*/ 7171 w 265"/>
                <a:gd name="T27" fmla="*/ 10419 h 103"/>
                <a:gd name="T28" fmla="*/ 3984 w 265"/>
                <a:gd name="T29" fmla="*/ 10419 h 103"/>
                <a:gd name="T30" fmla="*/ 0 w 265"/>
                <a:gd name="T31" fmla="*/ 10419 h 103"/>
                <a:gd name="T32" fmla="*/ 7171 w 265"/>
                <a:gd name="T33" fmla="*/ 10419 h 103"/>
                <a:gd name="T34" fmla="*/ 11154 w 265"/>
                <a:gd name="T35" fmla="*/ 6412 h 103"/>
                <a:gd name="T36" fmla="*/ 7171 w 265"/>
                <a:gd name="T37" fmla="*/ 6412 h 103"/>
                <a:gd name="T38" fmla="*/ 3984 w 265"/>
                <a:gd name="T39" fmla="*/ 6412 h 103"/>
                <a:gd name="T40" fmla="*/ 0 w 265"/>
                <a:gd name="T41" fmla="*/ 3206 h 103"/>
                <a:gd name="T42" fmla="*/ 0 w 265"/>
                <a:gd name="T43" fmla="*/ 0 h 103"/>
                <a:gd name="T44" fmla="*/ 0 w 265"/>
                <a:gd name="T45" fmla="*/ 3206 h 103"/>
                <a:gd name="T46" fmla="*/ 0 w 265"/>
                <a:gd name="T47" fmla="*/ 0 h 103"/>
                <a:gd name="T48" fmla="*/ 3984 w 265"/>
                <a:gd name="T49" fmla="*/ 0 h 103"/>
                <a:gd name="T50" fmla="*/ 7171 w 265"/>
                <a:gd name="T51" fmla="*/ 0 h 103"/>
                <a:gd name="T52" fmla="*/ 11154 w 265"/>
                <a:gd name="T53" fmla="*/ 3206 h 103"/>
                <a:gd name="T54" fmla="*/ 11154 w 265"/>
                <a:gd name="T55" fmla="*/ 6412 h 103"/>
                <a:gd name="T56" fmla="*/ 11154 w 265"/>
                <a:gd name="T57" fmla="*/ 3206 h 103"/>
                <a:gd name="T58" fmla="*/ 14341 w 265"/>
                <a:gd name="T59" fmla="*/ 3206 h 103"/>
                <a:gd name="T60" fmla="*/ 14341 w 265"/>
                <a:gd name="T61" fmla="*/ 0 h 103"/>
                <a:gd name="T62" fmla="*/ 14341 w 265"/>
                <a:gd name="T63" fmla="*/ 3206 h 103"/>
                <a:gd name="T64" fmla="*/ 17528 w 265"/>
                <a:gd name="T65" fmla="*/ 3206 h 103"/>
                <a:gd name="T66" fmla="*/ 21512 w 265"/>
                <a:gd name="T67" fmla="*/ 3206 h 103"/>
                <a:gd name="T68" fmla="*/ 21512 w 265"/>
                <a:gd name="T69" fmla="*/ 0 h 103"/>
                <a:gd name="T70" fmla="*/ 24699 w 265"/>
                <a:gd name="T71" fmla="*/ 0 h 103"/>
                <a:gd name="T72" fmla="*/ 27886 w 265"/>
                <a:gd name="T73" fmla="*/ 0 h 103"/>
                <a:gd name="T74" fmla="*/ 31870 w 265"/>
                <a:gd name="T75" fmla="*/ 3206 h 103"/>
                <a:gd name="T76" fmla="*/ 31870 w 265"/>
                <a:gd name="T77" fmla="*/ 0 h 103"/>
                <a:gd name="T78" fmla="*/ 35057 w 265"/>
                <a:gd name="T79" fmla="*/ 0 h 103"/>
                <a:gd name="T80" fmla="*/ 39041 w 265"/>
                <a:gd name="T81" fmla="*/ 0 h 103"/>
                <a:gd name="T82" fmla="*/ 42228 w 265"/>
                <a:gd name="T83" fmla="*/ 0 h 103"/>
                <a:gd name="T84" fmla="*/ 45415 w 265"/>
                <a:gd name="T85" fmla="*/ 0 h 103"/>
                <a:gd name="T86" fmla="*/ 45415 w 265"/>
                <a:gd name="T87" fmla="*/ 6412 h 103"/>
                <a:gd name="T88" fmla="*/ 53382 w 265"/>
                <a:gd name="T89" fmla="*/ 10419 h 10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65"/>
                <a:gd name="T136" fmla="*/ 0 h 103"/>
                <a:gd name="T137" fmla="*/ 265 w 265"/>
                <a:gd name="T138" fmla="*/ 103 h 10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65" h="103">
                  <a:moveTo>
                    <a:pt x="265" y="49"/>
                  </a:moveTo>
                  <a:lnTo>
                    <a:pt x="245" y="49"/>
                  </a:lnTo>
                  <a:lnTo>
                    <a:pt x="228" y="69"/>
                  </a:lnTo>
                  <a:lnTo>
                    <a:pt x="228" y="86"/>
                  </a:lnTo>
                  <a:lnTo>
                    <a:pt x="194" y="86"/>
                  </a:lnTo>
                  <a:lnTo>
                    <a:pt x="176" y="103"/>
                  </a:lnTo>
                  <a:lnTo>
                    <a:pt x="140" y="103"/>
                  </a:lnTo>
                  <a:lnTo>
                    <a:pt x="105" y="103"/>
                  </a:lnTo>
                  <a:lnTo>
                    <a:pt x="88" y="103"/>
                  </a:lnTo>
                  <a:lnTo>
                    <a:pt x="53" y="86"/>
                  </a:lnTo>
                  <a:lnTo>
                    <a:pt x="34" y="69"/>
                  </a:lnTo>
                  <a:lnTo>
                    <a:pt x="17" y="69"/>
                  </a:lnTo>
                  <a:lnTo>
                    <a:pt x="34" y="69"/>
                  </a:lnTo>
                  <a:lnTo>
                    <a:pt x="34" y="49"/>
                  </a:lnTo>
                  <a:lnTo>
                    <a:pt x="17" y="49"/>
                  </a:lnTo>
                  <a:lnTo>
                    <a:pt x="0" y="49"/>
                  </a:lnTo>
                  <a:lnTo>
                    <a:pt x="34" y="49"/>
                  </a:lnTo>
                  <a:lnTo>
                    <a:pt x="53" y="32"/>
                  </a:lnTo>
                  <a:lnTo>
                    <a:pt x="34" y="32"/>
                  </a:lnTo>
                  <a:lnTo>
                    <a:pt x="17" y="32"/>
                  </a:lnTo>
                  <a:lnTo>
                    <a:pt x="0" y="15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7" y="0"/>
                  </a:lnTo>
                  <a:lnTo>
                    <a:pt x="34" y="0"/>
                  </a:lnTo>
                  <a:lnTo>
                    <a:pt x="53" y="15"/>
                  </a:lnTo>
                  <a:lnTo>
                    <a:pt x="53" y="32"/>
                  </a:lnTo>
                  <a:lnTo>
                    <a:pt x="53" y="15"/>
                  </a:lnTo>
                  <a:lnTo>
                    <a:pt x="71" y="15"/>
                  </a:lnTo>
                  <a:lnTo>
                    <a:pt x="71" y="0"/>
                  </a:lnTo>
                  <a:lnTo>
                    <a:pt x="71" y="15"/>
                  </a:lnTo>
                  <a:lnTo>
                    <a:pt x="88" y="15"/>
                  </a:lnTo>
                  <a:lnTo>
                    <a:pt x="105" y="15"/>
                  </a:lnTo>
                  <a:lnTo>
                    <a:pt x="105" y="0"/>
                  </a:lnTo>
                  <a:lnTo>
                    <a:pt x="123" y="0"/>
                  </a:lnTo>
                  <a:lnTo>
                    <a:pt x="140" y="0"/>
                  </a:lnTo>
                  <a:lnTo>
                    <a:pt x="159" y="15"/>
                  </a:lnTo>
                  <a:lnTo>
                    <a:pt x="159" y="0"/>
                  </a:lnTo>
                  <a:lnTo>
                    <a:pt x="176" y="0"/>
                  </a:lnTo>
                  <a:lnTo>
                    <a:pt x="194" y="0"/>
                  </a:lnTo>
                  <a:lnTo>
                    <a:pt x="211" y="0"/>
                  </a:lnTo>
                  <a:lnTo>
                    <a:pt x="228" y="0"/>
                  </a:lnTo>
                  <a:lnTo>
                    <a:pt x="228" y="32"/>
                  </a:lnTo>
                  <a:lnTo>
                    <a:pt x="265" y="49"/>
                  </a:lnTo>
                  <a:close/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58" name="Freeform 33">
              <a:extLst>
                <a:ext uri="{FF2B5EF4-FFF2-40B4-BE49-F238E27FC236}">
                  <a16:creationId xmlns:a16="http://schemas.microsoft.com/office/drawing/2014/main" id="{A898CC25-ECD3-C0B7-73C6-5DB668F573F9}"/>
                </a:ext>
              </a:extLst>
            </p:cNvPr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3843160" y="2838668"/>
              <a:ext cx="28358" cy="13331"/>
            </a:xfrm>
            <a:custGeom>
              <a:avLst/>
              <a:gdLst>
                <a:gd name="T0" fmla="*/ 4189 w 36"/>
                <a:gd name="T1" fmla="*/ 4202 h 17"/>
                <a:gd name="T2" fmla="*/ 0 w 36"/>
                <a:gd name="T3" fmla="*/ 4202 h 17"/>
                <a:gd name="T4" fmla="*/ 0 w 36"/>
                <a:gd name="T5" fmla="*/ 0 h 17"/>
                <a:gd name="T6" fmla="*/ 4189 w 36"/>
                <a:gd name="T7" fmla="*/ 0 h 17"/>
                <a:gd name="T8" fmla="*/ 8379 w 36"/>
                <a:gd name="T9" fmla="*/ 4202 h 17"/>
                <a:gd name="T10" fmla="*/ 4189 w 36"/>
                <a:gd name="T11" fmla="*/ 4202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6"/>
                <a:gd name="T19" fmla="*/ 0 h 17"/>
                <a:gd name="T20" fmla="*/ 36 w 36"/>
                <a:gd name="T21" fmla="*/ 17 h 1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6" h="17">
                  <a:moveTo>
                    <a:pt x="17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17" y="0"/>
                  </a:lnTo>
                  <a:lnTo>
                    <a:pt x="36" y="17"/>
                  </a:lnTo>
                  <a:lnTo>
                    <a:pt x="17" y="17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59" name="Freeform 34">
              <a:extLst>
                <a:ext uri="{FF2B5EF4-FFF2-40B4-BE49-F238E27FC236}">
                  <a16:creationId xmlns:a16="http://schemas.microsoft.com/office/drawing/2014/main" id="{AF887E4F-1758-A5E3-CBB5-FC220A4806A9}"/>
                </a:ext>
              </a:extLst>
            </p:cNvPr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4974329" y="2533717"/>
              <a:ext cx="51990" cy="31662"/>
            </a:xfrm>
            <a:custGeom>
              <a:avLst/>
              <a:gdLst>
                <a:gd name="T0" fmla="*/ 4026 w 69"/>
                <a:gd name="T1" fmla="*/ 8379 h 36"/>
                <a:gd name="T2" fmla="*/ 4026 w 69"/>
                <a:gd name="T3" fmla="*/ 4189 h 36"/>
                <a:gd name="T4" fmla="*/ 0 w 69"/>
                <a:gd name="T5" fmla="*/ 4189 h 36"/>
                <a:gd name="T6" fmla="*/ 4026 w 69"/>
                <a:gd name="T7" fmla="*/ 4189 h 36"/>
                <a:gd name="T8" fmla="*/ 4026 w 69"/>
                <a:gd name="T9" fmla="*/ 0 h 36"/>
                <a:gd name="T10" fmla="*/ 7247 w 69"/>
                <a:gd name="T11" fmla="*/ 0 h 36"/>
                <a:gd name="T12" fmla="*/ 7247 w 69"/>
                <a:gd name="T13" fmla="*/ 4189 h 36"/>
                <a:gd name="T14" fmla="*/ 10468 w 69"/>
                <a:gd name="T15" fmla="*/ 4189 h 36"/>
                <a:gd name="T16" fmla="*/ 14495 w 69"/>
                <a:gd name="T17" fmla="*/ 4189 h 36"/>
                <a:gd name="T18" fmla="*/ 10468 w 69"/>
                <a:gd name="T19" fmla="*/ 4189 h 36"/>
                <a:gd name="T20" fmla="*/ 7247 w 69"/>
                <a:gd name="T21" fmla="*/ 8379 h 36"/>
                <a:gd name="T22" fmla="*/ 4026 w 69"/>
                <a:gd name="T23" fmla="*/ 8379 h 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9"/>
                <a:gd name="T37" fmla="*/ 0 h 36"/>
                <a:gd name="T38" fmla="*/ 69 w 69"/>
                <a:gd name="T39" fmla="*/ 36 h 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9" h="36">
                  <a:moveTo>
                    <a:pt x="17" y="36"/>
                  </a:moveTo>
                  <a:lnTo>
                    <a:pt x="17" y="19"/>
                  </a:lnTo>
                  <a:lnTo>
                    <a:pt x="0" y="19"/>
                  </a:lnTo>
                  <a:lnTo>
                    <a:pt x="17" y="19"/>
                  </a:lnTo>
                  <a:lnTo>
                    <a:pt x="17" y="0"/>
                  </a:lnTo>
                  <a:lnTo>
                    <a:pt x="35" y="0"/>
                  </a:lnTo>
                  <a:lnTo>
                    <a:pt x="35" y="19"/>
                  </a:lnTo>
                  <a:lnTo>
                    <a:pt x="52" y="19"/>
                  </a:lnTo>
                  <a:lnTo>
                    <a:pt x="69" y="19"/>
                  </a:lnTo>
                  <a:lnTo>
                    <a:pt x="52" y="19"/>
                  </a:lnTo>
                  <a:lnTo>
                    <a:pt x="35" y="36"/>
                  </a:lnTo>
                  <a:lnTo>
                    <a:pt x="17" y="36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60" name="Freeform 35">
              <a:extLst>
                <a:ext uri="{FF2B5EF4-FFF2-40B4-BE49-F238E27FC236}">
                  <a16:creationId xmlns:a16="http://schemas.microsoft.com/office/drawing/2014/main" id="{D5ACEEB7-96F5-6E3C-939E-4940B6EA5258}"/>
                </a:ext>
              </a:extLst>
            </p:cNvPr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1928994" y="2708689"/>
              <a:ext cx="773543" cy="778205"/>
            </a:xfrm>
            <a:custGeom>
              <a:avLst/>
              <a:gdLst>
                <a:gd name="T0" fmla="*/ 203399 w 1023"/>
                <a:gd name="T1" fmla="*/ 187133 h 975"/>
                <a:gd name="T2" fmla="*/ 193070 w 1023"/>
                <a:gd name="T3" fmla="*/ 171274 h 975"/>
                <a:gd name="T4" fmla="*/ 178768 w 1023"/>
                <a:gd name="T5" fmla="*/ 152244 h 975"/>
                <a:gd name="T6" fmla="*/ 168439 w 1023"/>
                <a:gd name="T7" fmla="*/ 145107 h 975"/>
                <a:gd name="T8" fmla="*/ 154933 w 1023"/>
                <a:gd name="T9" fmla="*/ 139557 h 975"/>
                <a:gd name="T10" fmla="*/ 144604 w 1023"/>
                <a:gd name="T11" fmla="*/ 139557 h 975"/>
                <a:gd name="T12" fmla="*/ 144604 w 1023"/>
                <a:gd name="T13" fmla="*/ 25374 h 975"/>
                <a:gd name="T14" fmla="*/ 123946 w 1023"/>
                <a:gd name="T15" fmla="*/ 22202 h 975"/>
                <a:gd name="T16" fmla="*/ 110439 w 1023"/>
                <a:gd name="T17" fmla="*/ 19030 h 975"/>
                <a:gd name="T18" fmla="*/ 86603 w 1023"/>
                <a:gd name="T19" fmla="*/ 12687 h 975"/>
                <a:gd name="T20" fmla="*/ 72302 w 1023"/>
                <a:gd name="T21" fmla="*/ 6343 h 975"/>
                <a:gd name="T22" fmla="*/ 62768 w 1023"/>
                <a:gd name="T23" fmla="*/ 0 h 975"/>
                <a:gd name="T24" fmla="*/ 48466 w 1023"/>
                <a:gd name="T25" fmla="*/ 9515 h 975"/>
                <a:gd name="T26" fmla="*/ 34959 w 1023"/>
                <a:gd name="T27" fmla="*/ 15859 h 975"/>
                <a:gd name="T28" fmla="*/ 24630 w 1023"/>
                <a:gd name="T29" fmla="*/ 34889 h 975"/>
                <a:gd name="T30" fmla="*/ 7151 w 1023"/>
                <a:gd name="T31" fmla="*/ 44404 h 975"/>
                <a:gd name="T32" fmla="*/ 24630 w 1023"/>
                <a:gd name="T33" fmla="*/ 60263 h 975"/>
                <a:gd name="T34" fmla="*/ 31781 w 1023"/>
                <a:gd name="T35" fmla="*/ 72950 h 975"/>
                <a:gd name="T36" fmla="*/ 20658 w 1023"/>
                <a:gd name="T37" fmla="*/ 66607 h 975"/>
                <a:gd name="T38" fmla="*/ 3973 w 1023"/>
                <a:gd name="T39" fmla="*/ 72950 h 975"/>
                <a:gd name="T40" fmla="*/ 7151 w 1023"/>
                <a:gd name="T41" fmla="*/ 82465 h 975"/>
                <a:gd name="T42" fmla="*/ 7151 w 1023"/>
                <a:gd name="T43" fmla="*/ 88809 h 975"/>
                <a:gd name="T44" fmla="*/ 20658 w 1023"/>
                <a:gd name="T45" fmla="*/ 91981 h 975"/>
                <a:gd name="T46" fmla="*/ 34959 w 1023"/>
                <a:gd name="T47" fmla="*/ 88809 h 975"/>
                <a:gd name="T48" fmla="*/ 38137 w 1023"/>
                <a:gd name="T49" fmla="*/ 97531 h 975"/>
                <a:gd name="T50" fmla="*/ 27808 w 1023"/>
                <a:gd name="T51" fmla="*/ 104668 h 975"/>
                <a:gd name="T52" fmla="*/ 20658 w 1023"/>
                <a:gd name="T53" fmla="*/ 107046 h 975"/>
                <a:gd name="T54" fmla="*/ 10329 w 1023"/>
                <a:gd name="T55" fmla="*/ 123698 h 975"/>
                <a:gd name="T56" fmla="*/ 24630 w 1023"/>
                <a:gd name="T57" fmla="*/ 142729 h 975"/>
                <a:gd name="T58" fmla="*/ 31781 w 1023"/>
                <a:gd name="T59" fmla="*/ 145107 h 975"/>
                <a:gd name="T60" fmla="*/ 34959 w 1023"/>
                <a:gd name="T61" fmla="*/ 152244 h 975"/>
                <a:gd name="T62" fmla="*/ 48466 w 1023"/>
                <a:gd name="T63" fmla="*/ 154623 h 975"/>
                <a:gd name="T64" fmla="*/ 55617 w 1023"/>
                <a:gd name="T65" fmla="*/ 152244 h 975"/>
                <a:gd name="T66" fmla="*/ 55617 w 1023"/>
                <a:gd name="T67" fmla="*/ 164138 h 975"/>
                <a:gd name="T68" fmla="*/ 27808 w 1023"/>
                <a:gd name="T69" fmla="*/ 180790 h 975"/>
                <a:gd name="T70" fmla="*/ 14301 w 1023"/>
                <a:gd name="T71" fmla="*/ 190305 h 975"/>
                <a:gd name="T72" fmla="*/ 34959 w 1023"/>
                <a:gd name="T73" fmla="*/ 183168 h 975"/>
                <a:gd name="T74" fmla="*/ 52439 w 1023"/>
                <a:gd name="T75" fmla="*/ 173653 h 975"/>
                <a:gd name="T76" fmla="*/ 76274 w 1023"/>
                <a:gd name="T77" fmla="*/ 154623 h 975"/>
                <a:gd name="T78" fmla="*/ 72302 w 1023"/>
                <a:gd name="T79" fmla="*/ 149072 h 975"/>
                <a:gd name="T80" fmla="*/ 82631 w 1023"/>
                <a:gd name="T81" fmla="*/ 139557 h 975"/>
                <a:gd name="T82" fmla="*/ 92960 w 1023"/>
                <a:gd name="T83" fmla="*/ 126077 h 975"/>
                <a:gd name="T84" fmla="*/ 92960 w 1023"/>
                <a:gd name="T85" fmla="*/ 130042 h 975"/>
                <a:gd name="T86" fmla="*/ 86603 w 1023"/>
                <a:gd name="T87" fmla="*/ 142729 h 975"/>
                <a:gd name="T88" fmla="*/ 86603 w 1023"/>
                <a:gd name="T89" fmla="*/ 149072 h 975"/>
                <a:gd name="T90" fmla="*/ 100110 w 1023"/>
                <a:gd name="T91" fmla="*/ 142729 h 975"/>
                <a:gd name="T92" fmla="*/ 107261 w 1023"/>
                <a:gd name="T93" fmla="*/ 135592 h 975"/>
                <a:gd name="T94" fmla="*/ 113617 w 1023"/>
                <a:gd name="T95" fmla="*/ 133213 h 975"/>
                <a:gd name="T96" fmla="*/ 138248 w 1023"/>
                <a:gd name="T97" fmla="*/ 139557 h 975"/>
                <a:gd name="T98" fmla="*/ 151754 w 1023"/>
                <a:gd name="T99" fmla="*/ 142729 h 975"/>
                <a:gd name="T100" fmla="*/ 168439 w 1023"/>
                <a:gd name="T101" fmla="*/ 158587 h 975"/>
                <a:gd name="T102" fmla="*/ 175590 w 1023"/>
                <a:gd name="T103" fmla="*/ 161759 h 975"/>
                <a:gd name="T104" fmla="*/ 175590 w 1023"/>
                <a:gd name="T105" fmla="*/ 158587 h 975"/>
                <a:gd name="T106" fmla="*/ 178768 w 1023"/>
                <a:gd name="T107" fmla="*/ 168103 h 975"/>
                <a:gd name="T108" fmla="*/ 189097 w 1023"/>
                <a:gd name="T109" fmla="*/ 171274 h 975"/>
                <a:gd name="T110" fmla="*/ 182741 w 1023"/>
                <a:gd name="T111" fmla="*/ 171274 h 975"/>
                <a:gd name="T112" fmla="*/ 185919 w 1023"/>
                <a:gd name="T113" fmla="*/ 173653 h 975"/>
                <a:gd name="T114" fmla="*/ 193070 w 1023"/>
                <a:gd name="T115" fmla="*/ 190305 h 975"/>
                <a:gd name="T116" fmla="*/ 189097 w 1023"/>
                <a:gd name="T117" fmla="*/ 177618 h 975"/>
                <a:gd name="T118" fmla="*/ 193070 w 1023"/>
                <a:gd name="T119" fmla="*/ 180790 h 975"/>
                <a:gd name="T120" fmla="*/ 200221 w 1023"/>
                <a:gd name="T121" fmla="*/ 190305 h 975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023"/>
                <a:gd name="T184" fmla="*/ 0 h 975"/>
                <a:gd name="T185" fmla="*/ 1023 w 1023"/>
                <a:gd name="T186" fmla="*/ 975 h 975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023" h="975">
                  <a:moveTo>
                    <a:pt x="1023" y="945"/>
                  </a:moveTo>
                  <a:lnTo>
                    <a:pt x="1023" y="945"/>
                  </a:lnTo>
                  <a:lnTo>
                    <a:pt x="1023" y="897"/>
                  </a:lnTo>
                  <a:lnTo>
                    <a:pt x="971" y="864"/>
                  </a:lnTo>
                  <a:lnTo>
                    <a:pt x="917" y="768"/>
                  </a:lnTo>
                  <a:lnTo>
                    <a:pt x="900" y="768"/>
                  </a:lnTo>
                  <a:lnTo>
                    <a:pt x="883" y="720"/>
                  </a:lnTo>
                  <a:lnTo>
                    <a:pt x="848" y="735"/>
                  </a:lnTo>
                  <a:lnTo>
                    <a:pt x="831" y="753"/>
                  </a:lnTo>
                  <a:lnTo>
                    <a:pt x="779" y="705"/>
                  </a:lnTo>
                  <a:lnTo>
                    <a:pt x="779" y="687"/>
                  </a:lnTo>
                  <a:lnTo>
                    <a:pt x="727" y="705"/>
                  </a:lnTo>
                  <a:lnTo>
                    <a:pt x="727" y="687"/>
                  </a:lnTo>
                  <a:lnTo>
                    <a:pt x="727" y="129"/>
                  </a:lnTo>
                  <a:lnTo>
                    <a:pt x="675" y="96"/>
                  </a:lnTo>
                  <a:lnTo>
                    <a:pt x="624" y="112"/>
                  </a:lnTo>
                  <a:lnTo>
                    <a:pt x="589" y="96"/>
                  </a:lnTo>
                  <a:lnTo>
                    <a:pt x="555" y="96"/>
                  </a:lnTo>
                  <a:lnTo>
                    <a:pt x="503" y="64"/>
                  </a:lnTo>
                  <a:lnTo>
                    <a:pt x="434" y="64"/>
                  </a:lnTo>
                  <a:lnTo>
                    <a:pt x="416" y="33"/>
                  </a:lnTo>
                  <a:lnTo>
                    <a:pt x="364" y="33"/>
                  </a:lnTo>
                  <a:lnTo>
                    <a:pt x="347" y="16"/>
                  </a:lnTo>
                  <a:lnTo>
                    <a:pt x="313" y="0"/>
                  </a:lnTo>
                  <a:lnTo>
                    <a:pt x="278" y="33"/>
                  </a:lnTo>
                  <a:lnTo>
                    <a:pt x="244" y="48"/>
                  </a:lnTo>
                  <a:lnTo>
                    <a:pt x="192" y="81"/>
                  </a:lnTo>
                  <a:lnTo>
                    <a:pt x="174" y="81"/>
                  </a:lnTo>
                  <a:lnTo>
                    <a:pt x="140" y="112"/>
                  </a:lnTo>
                  <a:lnTo>
                    <a:pt x="123" y="177"/>
                  </a:lnTo>
                  <a:lnTo>
                    <a:pt x="52" y="192"/>
                  </a:lnTo>
                  <a:lnTo>
                    <a:pt x="34" y="225"/>
                  </a:lnTo>
                  <a:lnTo>
                    <a:pt x="103" y="273"/>
                  </a:lnTo>
                  <a:lnTo>
                    <a:pt x="123" y="304"/>
                  </a:lnTo>
                  <a:lnTo>
                    <a:pt x="157" y="352"/>
                  </a:lnTo>
                  <a:lnTo>
                    <a:pt x="157" y="369"/>
                  </a:lnTo>
                  <a:lnTo>
                    <a:pt x="103" y="369"/>
                  </a:lnTo>
                  <a:lnTo>
                    <a:pt x="103" y="336"/>
                  </a:lnTo>
                  <a:lnTo>
                    <a:pt x="86" y="336"/>
                  </a:lnTo>
                  <a:lnTo>
                    <a:pt x="17" y="369"/>
                  </a:lnTo>
                  <a:lnTo>
                    <a:pt x="0" y="400"/>
                  </a:lnTo>
                  <a:lnTo>
                    <a:pt x="34" y="417"/>
                  </a:lnTo>
                  <a:lnTo>
                    <a:pt x="34" y="432"/>
                  </a:lnTo>
                  <a:lnTo>
                    <a:pt x="34" y="448"/>
                  </a:lnTo>
                  <a:lnTo>
                    <a:pt x="69" y="465"/>
                  </a:lnTo>
                  <a:lnTo>
                    <a:pt x="103" y="465"/>
                  </a:lnTo>
                  <a:lnTo>
                    <a:pt x="140" y="465"/>
                  </a:lnTo>
                  <a:lnTo>
                    <a:pt x="174" y="448"/>
                  </a:lnTo>
                  <a:lnTo>
                    <a:pt x="174" y="465"/>
                  </a:lnTo>
                  <a:lnTo>
                    <a:pt x="192" y="495"/>
                  </a:lnTo>
                  <a:lnTo>
                    <a:pt x="174" y="528"/>
                  </a:lnTo>
                  <a:lnTo>
                    <a:pt x="140" y="528"/>
                  </a:lnTo>
                  <a:lnTo>
                    <a:pt x="123" y="543"/>
                  </a:lnTo>
                  <a:lnTo>
                    <a:pt x="103" y="543"/>
                  </a:lnTo>
                  <a:lnTo>
                    <a:pt x="86" y="543"/>
                  </a:lnTo>
                  <a:lnTo>
                    <a:pt x="52" y="624"/>
                  </a:lnTo>
                  <a:lnTo>
                    <a:pt x="103" y="720"/>
                  </a:lnTo>
                  <a:lnTo>
                    <a:pt x="123" y="720"/>
                  </a:lnTo>
                  <a:lnTo>
                    <a:pt x="157" y="705"/>
                  </a:lnTo>
                  <a:lnTo>
                    <a:pt x="157" y="735"/>
                  </a:lnTo>
                  <a:lnTo>
                    <a:pt x="157" y="753"/>
                  </a:lnTo>
                  <a:lnTo>
                    <a:pt x="174" y="768"/>
                  </a:lnTo>
                  <a:lnTo>
                    <a:pt x="226" y="768"/>
                  </a:lnTo>
                  <a:lnTo>
                    <a:pt x="244" y="783"/>
                  </a:lnTo>
                  <a:lnTo>
                    <a:pt x="244" y="768"/>
                  </a:lnTo>
                  <a:lnTo>
                    <a:pt x="278" y="768"/>
                  </a:lnTo>
                  <a:lnTo>
                    <a:pt x="278" y="801"/>
                  </a:lnTo>
                  <a:lnTo>
                    <a:pt x="278" y="831"/>
                  </a:lnTo>
                  <a:lnTo>
                    <a:pt x="192" y="897"/>
                  </a:lnTo>
                  <a:lnTo>
                    <a:pt x="140" y="912"/>
                  </a:lnTo>
                  <a:lnTo>
                    <a:pt x="123" y="927"/>
                  </a:lnTo>
                  <a:lnTo>
                    <a:pt x="69" y="960"/>
                  </a:lnTo>
                  <a:lnTo>
                    <a:pt x="86" y="975"/>
                  </a:lnTo>
                  <a:lnTo>
                    <a:pt x="174" y="927"/>
                  </a:lnTo>
                  <a:lnTo>
                    <a:pt x="244" y="897"/>
                  </a:lnTo>
                  <a:lnTo>
                    <a:pt x="261" y="879"/>
                  </a:lnTo>
                  <a:lnTo>
                    <a:pt x="295" y="849"/>
                  </a:lnTo>
                  <a:lnTo>
                    <a:pt x="382" y="783"/>
                  </a:lnTo>
                  <a:lnTo>
                    <a:pt x="399" y="768"/>
                  </a:lnTo>
                  <a:lnTo>
                    <a:pt x="364" y="753"/>
                  </a:lnTo>
                  <a:lnTo>
                    <a:pt x="382" y="735"/>
                  </a:lnTo>
                  <a:lnTo>
                    <a:pt x="416" y="705"/>
                  </a:lnTo>
                  <a:lnTo>
                    <a:pt x="416" y="672"/>
                  </a:lnTo>
                  <a:lnTo>
                    <a:pt x="468" y="639"/>
                  </a:lnTo>
                  <a:lnTo>
                    <a:pt x="485" y="639"/>
                  </a:lnTo>
                  <a:lnTo>
                    <a:pt x="468" y="657"/>
                  </a:lnTo>
                  <a:lnTo>
                    <a:pt x="451" y="672"/>
                  </a:lnTo>
                  <a:lnTo>
                    <a:pt x="434" y="720"/>
                  </a:lnTo>
                  <a:lnTo>
                    <a:pt x="451" y="735"/>
                  </a:lnTo>
                  <a:lnTo>
                    <a:pt x="434" y="753"/>
                  </a:lnTo>
                  <a:lnTo>
                    <a:pt x="451" y="753"/>
                  </a:lnTo>
                  <a:lnTo>
                    <a:pt x="503" y="720"/>
                  </a:lnTo>
                  <a:lnTo>
                    <a:pt x="520" y="720"/>
                  </a:lnTo>
                  <a:lnTo>
                    <a:pt x="537" y="687"/>
                  </a:lnTo>
                  <a:lnTo>
                    <a:pt x="520" y="657"/>
                  </a:lnTo>
                  <a:lnTo>
                    <a:pt x="572" y="672"/>
                  </a:lnTo>
                  <a:lnTo>
                    <a:pt x="641" y="705"/>
                  </a:lnTo>
                  <a:lnTo>
                    <a:pt x="693" y="705"/>
                  </a:lnTo>
                  <a:lnTo>
                    <a:pt x="745" y="720"/>
                  </a:lnTo>
                  <a:lnTo>
                    <a:pt x="762" y="720"/>
                  </a:lnTo>
                  <a:lnTo>
                    <a:pt x="762" y="735"/>
                  </a:lnTo>
                  <a:lnTo>
                    <a:pt x="848" y="801"/>
                  </a:lnTo>
                  <a:lnTo>
                    <a:pt x="900" y="897"/>
                  </a:lnTo>
                  <a:lnTo>
                    <a:pt x="883" y="816"/>
                  </a:lnTo>
                  <a:lnTo>
                    <a:pt x="866" y="801"/>
                  </a:lnTo>
                  <a:lnTo>
                    <a:pt x="883" y="801"/>
                  </a:lnTo>
                  <a:lnTo>
                    <a:pt x="883" y="768"/>
                  </a:lnTo>
                  <a:lnTo>
                    <a:pt x="900" y="849"/>
                  </a:lnTo>
                  <a:lnTo>
                    <a:pt x="917" y="831"/>
                  </a:lnTo>
                  <a:lnTo>
                    <a:pt x="952" y="864"/>
                  </a:lnTo>
                  <a:lnTo>
                    <a:pt x="917" y="849"/>
                  </a:lnTo>
                  <a:lnTo>
                    <a:pt x="917" y="864"/>
                  </a:lnTo>
                  <a:lnTo>
                    <a:pt x="917" y="897"/>
                  </a:lnTo>
                  <a:lnTo>
                    <a:pt x="935" y="879"/>
                  </a:lnTo>
                  <a:lnTo>
                    <a:pt x="935" y="912"/>
                  </a:lnTo>
                  <a:lnTo>
                    <a:pt x="971" y="960"/>
                  </a:lnTo>
                  <a:lnTo>
                    <a:pt x="971" y="927"/>
                  </a:lnTo>
                  <a:lnTo>
                    <a:pt x="952" y="897"/>
                  </a:lnTo>
                  <a:lnTo>
                    <a:pt x="971" y="897"/>
                  </a:lnTo>
                  <a:lnTo>
                    <a:pt x="971" y="912"/>
                  </a:lnTo>
                  <a:lnTo>
                    <a:pt x="988" y="945"/>
                  </a:lnTo>
                  <a:lnTo>
                    <a:pt x="1006" y="960"/>
                  </a:lnTo>
                  <a:lnTo>
                    <a:pt x="1023" y="945"/>
                  </a:lnTo>
                </a:path>
              </a:pathLst>
            </a:custGeom>
            <a:solidFill>
              <a:srgbClr val="002060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61" name="Freeform 36">
              <a:extLst>
                <a:ext uri="{FF2B5EF4-FFF2-40B4-BE49-F238E27FC236}">
                  <a16:creationId xmlns:a16="http://schemas.microsoft.com/office/drawing/2014/main" id="{AA0F9F7C-3C64-4322-9BE8-23CEAF9BFB95}"/>
                </a:ext>
              </a:extLst>
            </p:cNvPr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3736029" y="3410240"/>
              <a:ext cx="26783" cy="24996"/>
            </a:xfrm>
            <a:custGeom>
              <a:avLst/>
              <a:gdLst>
                <a:gd name="T0" fmla="*/ 0 w 34"/>
                <a:gd name="T1" fmla="*/ 3079 h 33"/>
                <a:gd name="T2" fmla="*/ 0 w 34"/>
                <a:gd name="T3" fmla="*/ 3079 h 33"/>
                <a:gd name="T4" fmla="*/ 8404 w 34"/>
                <a:gd name="T5" fmla="*/ 6158 h 33"/>
                <a:gd name="T6" fmla="*/ 8404 w 34"/>
                <a:gd name="T7" fmla="*/ 0 h 33"/>
                <a:gd name="T8" fmla="*/ 0 w 34"/>
                <a:gd name="T9" fmla="*/ 3079 h 3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4"/>
                <a:gd name="T16" fmla="*/ 0 h 33"/>
                <a:gd name="T17" fmla="*/ 34 w 34"/>
                <a:gd name="T18" fmla="*/ 33 h 3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4" h="33">
                  <a:moveTo>
                    <a:pt x="0" y="18"/>
                  </a:moveTo>
                  <a:lnTo>
                    <a:pt x="0" y="18"/>
                  </a:lnTo>
                  <a:lnTo>
                    <a:pt x="34" y="33"/>
                  </a:lnTo>
                  <a:lnTo>
                    <a:pt x="34" y="0"/>
                  </a:lnTo>
                  <a:lnTo>
                    <a:pt x="0" y="18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62" name="Freeform 37">
              <a:extLst>
                <a:ext uri="{FF2B5EF4-FFF2-40B4-BE49-F238E27FC236}">
                  <a16:creationId xmlns:a16="http://schemas.microsoft.com/office/drawing/2014/main" id="{2E3E65AD-60A0-71E7-8DC0-529018C989EC}"/>
                </a:ext>
              </a:extLst>
            </p:cNvPr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3696644" y="3525221"/>
              <a:ext cx="26782" cy="14997"/>
            </a:xfrm>
            <a:custGeom>
              <a:avLst/>
              <a:gdLst>
                <a:gd name="T0" fmla="*/ 0 w 34"/>
                <a:gd name="T1" fmla="*/ 0 h 17"/>
                <a:gd name="T2" fmla="*/ 0 w 34"/>
                <a:gd name="T3" fmla="*/ 0 h 17"/>
                <a:gd name="T4" fmla="*/ 8404 w 34"/>
                <a:gd name="T5" fmla="*/ 4202 h 17"/>
                <a:gd name="T6" fmla="*/ 8404 w 34"/>
                <a:gd name="T7" fmla="*/ 0 h 17"/>
                <a:gd name="T8" fmla="*/ 0 w 34"/>
                <a:gd name="T9" fmla="*/ 0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4"/>
                <a:gd name="T16" fmla="*/ 0 h 17"/>
                <a:gd name="T17" fmla="*/ 34 w 34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4" h="17">
                  <a:moveTo>
                    <a:pt x="0" y="0"/>
                  </a:moveTo>
                  <a:lnTo>
                    <a:pt x="0" y="0"/>
                  </a:lnTo>
                  <a:lnTo>
                    <a:pt x="34" y="17"/>
                  </a:lnTo>
                  <a:lnTo>
                    <a:pt x="34" y="0"/>
                  </a:lnTo>
                  <a:lnTo>
                    <a:pt x="0" y="0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63" name="Freeform 38">
              <a:extLst>
                <a:ext uri="{FF2B5EF4-FFF2-40B4-BE49-F238E27FC236}">
                  <a16:creationId xmlns:a16="http://schemas.microsoft.com/office/drawing/2014/main" id="{B5B227E7-A524-C8E4-1AFD-91139354B62B}"/>
                </a:ext>
              </a:extLst>
            </p:cNvPr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1928994" y="3256932"/>
              <a:ext cx="39386" cy="24996"/>
            </a:xfrm>
            <a:custGeom>
              <a:avLst/>
              <a:gdLst>
                <a:gd name="T0" fmla="*/ 0 w 52"/>
                <a:gd name="T1" fmla="*/ 3079 h 33"/>
                <a:gd name="T2" fmla="*/ 0 w 52"/>
                <a:gd name="T3" fmla="*/ 3079 h 33"/>
                <a:gd name="T4" fmla="*/ 7144 w 52"/>
                <a:gd name="T5" fmla="*/ 6158 h 33"/>
                <a:gd name="T6" fmla="*/ 10319 w 52"/>
                <a:gd name="T7" fmla="*/ 3079 h 33"/>
                <a:gd name="T8" fmla="*/ 7144 w 52"/>
                <a:gd name="T9" fmla="*/ 0 h 33"/>
                <a:gd name="T10" fmla="*/ 0 w 52"/>
                <a:gd name="T11" fmla="*/ 3079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"/>
                <a:gd name="T19" fmla="*/ 0 h 33"/>
                <a:gd name="T20" fmla="*/ 52 w 52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" h="33">
                  <a:moveTo>
                    <a:pt x="0" y="18"/>
                  </a:moveTo>
                  <a:lnTo>
                    <a:pt x="0" y="18"/>
                  </a:lnTo>
                  <a:lnTo>
                    <a:pt x="34" y="33"/>
                  </a:lnTo>
                  <a:lnTo>
                    <a:pt x="52" y="18"/>
                  </a:lnTo>
                  <a:lnTo>
                    <a:pt x="34" y="0"/>
                  </a:lnTo>
                  <a:lnTo>
                    <a:pt x="0" y="18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64" name="Freeform 39">
              <a:extLst>
                <a:ext uri="{FF2B5EF4-FFF2-40B4-BE49-F238E27FC236}">
                  <a16:creationId xmlns:a16="http://schemas.microsoft.com/office/drawing/2014/main" id="{7ECE4905-2B20-894F-2ED7-33A012BDC1E2}"/>
                </a:ext>
              </a:extLst>
            </p:cNvPr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2192093" y="3333586"/>
              <a:ext cx="64594" cy="63323"/>
            </a:xfrm>
            <a:custGeom>
              <a:avLst/>
              <a:gdLst>
                <a:gd name="T0" fmla="*/ 0 w 87"/>
                <a:gd name="T1" fmla="*/ 12543 h 81"/>
                <a:gd name="T2" fmla="*/ 0 w 87"/>
                <a:gd name="T3" fmla="*/ 12543 h 81"/>
                <a:gd name="T4" fmla="*/ 3139 w 87"/>
                <a:gd name="T5" fmla="*/ 15679 h 81"/>
                <a:gd name="T6" fmla="*/ 10200 w 87"/>
                <a:gd name="T7" fmla="*/ 9407 h 81"/>
                <a:gd name="T8" fmla="*/ 13339 w 87"/>
                <a:gd name="T9" fmla="*/ 9407 h 81"/>
                <a:gd name="T10" fmla="*/ 13339 w 87"/>
                <a:gd name="T11" fmla="*/ 6272 h 81"/>
                <a:gd name="T12" fmla="*/ 10200 w 87"/>
                <a:gd name="T13" fmla="*/ 6272 h 81"/>
                <a:gd name="T14" fmla="*/ 16477 w 87"/>
                <a:gd name="T15" fmla="*/ 3136 h 81"/>
                <a:gd name="T16" fmla="*/ 13339 w 87"/>
                <a:gd name="T17" fmla="*/ 0 h 81"/>
                <a:gd name="T18" fmla="*/ 0 w 87"/>
                <a:gd name="T19" fmla="*/ 12543 h 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7"/>
                <a:gd name="T31" fmla="*/ 0 h 81"/>
                <a:gd name="T32" fmla="*/ 87 w 87"/>
                <a:gd name="T33" fmla="*/ 81 h 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7" h="81">
                  <a:moveTo>
                    <a:pt x="0" y="66"/>
                  </a:moveTo>
                  <a:lnTo>
                    <a:pt x="0" y="66"/>
                  </a:lnTo>
                  <a:lnTo>
                    <a:pt x="17" y="81"/>
                  </a:lnTo>
                  <a:lnTo>
                    <a:pt x="52" y="48"/>
                  </a:lnTo>
                  <a:lnTo>
                    <a:pt x="69" y="48"/>
                  </a:lnTo>
                  <a:lnTo>
                    <a:pt x="69" y="33"/>
                  </a:lnTo>
                  <a:lnTo>
                    <a:pt x="52" y="33"/>
                  </a:lnTo>
                  <a:lnTo>
                    <a:pt x="87" y="18"/>
                  </a:lnTo>
                  <a:lnTo>
                    <a:pt x="69" y="0"/>
                  </a:lnTo>
                  <a:lnTo>
                    <a:pt x="0" y="66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65" name="Freeform 40">
              <a:extLst>
                <a:ext uri="{FF2B5EF4-FFF2-40B4-BE49-F238E27FC236}">
                  <a16:creationId xmlns:a16="http://schemas.microsoft.com/office/drawing/2014/main" id="{8FE39991-86A1-85F3-5871-FA7E494B5A4A}"/>
                </a:ext>
              </a:extLst>
            </p:cNvPr>
            <p:cNvSpPr>
              <a:spLocks/>
            </p:cNvSpPr>
            <p:nvPr>
              <p:custDataLst>
                <p:tags r:id="rId51"/>
              </p:custDataLst>
            </p:nvPr>
          </p:nvSpPr>
          <p:spPr bwMode="auto">
            <a:xfrm>
              <a:off x="2647397" y="3486894"/>
              <a:ext cx="40962" cy="76654"/>
            </a:xfrm>
            <a:custGeom>
              <a:avLst/>
              <a:gdLst>
                <a:gd name="T0" fmla="*/ 0 w 54"/>
                <a:gd name="T1" fmla="*/ 0 h 96"/>
                <a:gd name="T2" fmla="*/ 0 w 54"/>
                <a:gd name="T3" fmla="*/ 0 h 96"/>
                <a:gd name="T4" fmla="*/ 0 w 54"/>
                <a:gd name="T5" fmla="*/ 7144 h 96"/>
                <a:gd name="T6" fmla="*/ 3969 w 54"/>
                <a:gd name="T7" fmla="*/ 16669 h 96"/>
                <a:gd name="T8" fmla="*/ 11113 w 54"/>
                <a:gd name="T9" fmla="*/ 19050 h 96"/>
                <a:gd name="T10" fmla="*/ 3969 w 54"/>
                <a:gd name="T11" fmla="*/ 13494 h 96"/>
                <a:gd name="T12" fmla="*/ 7144 w 54"/>
                <a:gd name="T13" fmla="*/ 9525 h 96"/>
                <a:gd name="T14" fmla="*/ 3969 w 54"/>
                <a:gd name="T15" fmla="*/ 7144 h 96"/>
                <a:gd name="T16" fmla="*/ 7144 w 54"/>
                <a:gd name="T17" fmla="*/ 0 h 96"/>
                <a:gd name="T18" fmla="*/ 0 w 54"/>
                <a:gd name="T19" fmla="*/ 0 h 9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4"/>
                <a:gd name="T31" fmla="*/ 0 h 96"/>
                <a:gd name="T32" fmla="*/ 54 w 54"/>
                <a:gd name="T33" fmla="*/ 96 h 9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4" h="96">
                  <a:moveTo>
                    <a:pt x="0" y="0"/>
                  </a:moveTo>
                  <a:lnTo>
                    <a:pt x="0" y="0"/>
                  </a:lnTo>
                  <a:lnTo>
                    <a:pt x="0" y="33"/>
                  </a:lnTo>
                  <a:lnTo>
                    <a:pt x="19" y="81"/>
                  </a:lnTo>
                  <a:lnTo>
                    <a:pt x="54" y="96"/>
                  </a:lnTo>
                  <a:lnTo>
                    <a:pt x="19" y="65"/>
                  </a:lnTo>
                  <a:lnTo>
                    <a:pt x="36" y="48"/>
                  </a:lnTo>
                  <a:lnTo>
                    <a:pt x="19" y="33"/>
                  </a:lnTo>
                  <a:lnTo>
                    <a:pt x="36" y="0"/>
                  </a:lnTo>
                  <a:lnTo>
                    <a:pt x="0" y="0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66" name="Freeform 41">
              <a:extLst>
                <a:ext uri="{FF2B5EF4-FFF2-40B4-BE49-F238E27FC236}">
                  <a16:creationId xmlns:a16="http://schemas.microsoft.com/office/drawing/2014/main" id="{F450FF60-939D-B099-2B85-79A764B61345}"/>
                </a:ext>
              </a:extLst>
            </p:cNvPr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2741924" y="3601875"/>
              <a:ext cx="105554" cy="76654"/>
            </a:xfrm>
            <a:custGeom>
              <a:avLst/>
              <a:gdLst>
                <a:gd name="T0" fmla="*/ 0 w 140"/>
                <a:gd name="T1" fmla="*/ 0 h 96"/>
                <a:gd name="T2" fmla="*/ 0 w 140"/>
                <a:gd name="T3" fmla="*/ 0 h 96"/>
                <a:gd name="T4" fmla="*/ 3175 w 140"/>
                <a:gd name="T5" fmla="*/ 7144 h 96"/>
                <a:gd name="T6" fmla="*/ 10319 w 140"/>
                <a:gd name="T7" fmla="*/ 9525 h 96"/>
                <a:gd name="T8" fmla="*/ 16669 w 140"/>
                <a:gd name="T9" fmla="*/ 13494 h 96"/>
                <a:gd name="T10" fmla="*/ 16669 w 140"/>
                <a:gd name="T11" fmla="*/ 16669 h 96"/>
                <a:gd name="T12" fmla="*/ 23812 w 140"/>
                <a:gd name="T13" fmla="*/ 19050 h 96"/>
                <a:gd name="T14" fmla="*/ 27781 w 140"/>
                <a:gd name="T15" fmla="*/ 19050 h 96"/>
                <a:gd name="T16" fmla="*/ 14287 w 140"/>
                <a:gd name="T17" fmla="*/ 3969 h 96"/>
                <a:gd name="T18" fmla="*/ 3175 w 140"/>
                <a:gd name="T19" fmla="*/ 0 h 96"/>
                <a:gd name="T20" fmla="*/ 0 w 140"/>
                <a:gd name="T21" fmla="*/ 0 h 9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40"/>
                <a:gd name="T34" fmla="*/ 0 h 96"/>
                <a:gd name="T35" fmla="*/ 140 w 140"/>
                <a:gd name="T36" fmla="*/ 96 h 9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40" h="96">
                  <a:moveTo>
                    <a:pt x="0" y="0"/>
                  </a:moveTo>
                  <a:lnTo>
                    <a:pt x="0" y="0"/>
                  </a:lnTo>
                  <a:lnTo>
                    <a:pt x="17" y="33"/>
                  </a:lnTo>
                  <a:lnTo>
                    <a:pt x="52" y="48"/>
                  </a:lnTo>
                  <a:lnTo>
                    <a:pt x="86" y="65"/>
                  </a:lnTo>
                  <a:lnTo>
                    <a:pt x="86" y="81"/>
                  </a:lnTo>
                  <a:lnTo>
                    <a:pt x="121" y="96"/>
                  </a:lnTo>
                  <a:lnTo>
                    <a:pt x="140" y="96"/>
                  </a:lnTo>
                  <a:lnTo>
                    <a:pt x="69" y="17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67" name="Freeform 21">
              <a:extLst>
                <a:ext uri="{FF2B5EF4-FFF2-40B4-BE49-F238E27FC236}">
                  <a16:creationId xmlns:a16="http://schemas.microsoft.com/office/drawing/2014/main" id="{4772D063-D841-6B97-F71C-E6435F061AED}"/>
                </a:ext>
              </a:extLst>
            </p:cNvPr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3482383" y="2163778"/>
              <a:ext cx="642782" cy="343277"/>
            </a:xfrm>
            <a:custGeom>
              <a:avLst/>
              <a:gdLst>
                <a:gd name="T0" fmla="*/ 134460 w 848"/>
                <a:gd name="T1" fmla="*/ 7144 h 430"/>
                <a:gd name="T2" fmla="*/ 151964 w 848"/>
                <a:gd name="T3" fmla="*/ 3969 h 430"/>
                <a:gd name="T4" fmla="*/ 165490 w 848"/>
                <a:gd name="T5" fmla="*/ 10319 h 430"/>
                <a:gd name="T6" fmla="*/ 165490 w 848"/>
                <a:gd name="T7" fmla="*/ 14288 h 430"/>
                <a:gd name="T8" fmla="*/ 137643 w 848"/>
                <a:gd name="T9" fmla="*/ 23813 h 430"/>
                <a:gd name="T10" fmla="*/ 151964 w 848"/>
                <a:gd name="T11" fmla="*/ 23813 h 430"/>
                <a:gd name="T12" fmla="*/ 130482 w 848"/>
                <a:gd name="T13" fmla="*/ 34925 h 430"/>
                <a:gd name="T14" fmla="*/ 112978 w 848"/>
                <a:gd name="T15" fmla="*/ 44450 h 430"/>
                <a:gd name="T16" fmla="*/ 102635 w 848"/>
                <a:gd name="T17" fmla="*/ 44450 h 430"/>
                <a:gd name="T18" fmla="*/ 95475 w 848"/>
                <a:gd name="T19" fmla="*/ 51594 h 430"/>
                <a:gd name="T20" fmla="*/ 95475 w 848"/>
                <a:gd name="T21" fmla="*/ 57944 h 430"/>
                <a:gd name="T22" fmla="*/ 85132 w 848"/>
                <a:gd name="T23" fmla="*/ 68263 h 430"/>
                <a:gd name="T24" fmla="*/ 77971 w 848"/>
                <a:gd name="T25" fmla="*/ 72231 h 430"/>
                <a:gd name="T26" fmla="*/ 73993 w 848"/>
                <a:gd name="T27" fmla="*/ 78581 h 430"/>
                <a:gd name="T28" fmla="*/ 70810 w 848"/>
                <a:gd name="T29" fmla="*/ 85725 h 430"/>
                <a:gd name="T30" fmla="*/ 56489 w 848"/>
                <a:gd name="T31" fmla="*/ 82550 h 430"/>
                <a:gd name="T32" fmla="*/ 38986 w 848"/>
                <a:gd name="T33" fmla="*/ 82550 h 430"/>
                <a:gd name="T34" fmla="*/ 32621 w 848"/>
                <a:gd name="T35" fmla="*/ 85725 h 430"/>
                <a:gd name="T36" fmla="*/ 14321 w 848"/>
                <a:gd name="T37" fmla="*/ 82550 h 430"/>
                <a:gd name="T38" fmla="*/ 28642 w 848"/>
                <a:gd name="T39" fmla="*/ 75406 h 430"/>
                <a:gd name="T40" fmla="*/ 24664 w 848"/>
                <a:gd name="T41" fmla="*/ 68263 h 430"/>
                <a:gd name="T42" fmla="*/ 38986 w 848"/>
                <a:gd name="T43" fmla="*/ 72231 h 430"/>
                <a:gd name="T44" fmla="*/ 35803 w 848"/>
                <a:gd name="T45" fmla="*/ 68263 h 430"/>
                <a:gd name="T46" fmla="*/ 28642 w 848"/>
                <a:gd name="T47" fmla="*/ 65088 h 430"/>
                <a:gd name="T48" fmla="*/ 24664 w 848"/>
                <a:gd name="T49" fmla="*/ 57944 h 430"/>
                <a:gd name="T50" fmla="*/ 35803 w 848"/>
                <a:gd name="T51" fmla="*/ 57944 h 430"/>
                <a:gd name="T52" fmla="*/ 38986 w 848"/>
                <a:gd name="T53" fmla="*/ 44450 h 430"/>
                <a:gd name="T54" fmla="*/ 32621 w 848"/>
                <a:gd name="T55" fmla="*/ 41275 h 430"/>
                <a:gd name="T56" fmla="*/ 32621 w 848"/>
                <a:gd name="T57" fmla="*/ 38100 h 430"/>
                <a:gd name="T58" fmla="*/ 42964 w 848"/>
                <a:gd name="T59" fmla="*/ 38100 h 430"/>
                <a:gd name="T60" fmla="*/ 56489 w 848"/>
                <a:gd name="T61" fmla="*/ 44450 h 430"/>
                <a:gd name="T62" fmla="*/ 49329 w 848"/>
                <a:gd name="T63" fmla="*/ 38100 h 430"/>
                <a:gd name="T64" fmla="*/ 60467 w 848"/>
                <a:gd name="T65" fmla="*/ 38100 h 430"/>
                <a:gd name="T66" fmla="*/ 70810 w 848"/>
                <a:gd name="T67" fmla="*/ 34925 h 430"/>
                <a:gd name="T68" fmla="*/ 56489 w 848"/>
                <a:gd name="T69" fmla="*/ 34925 h 430"/>
                <a:gd name="T70" fmla="*/ 42964 w 848"/>
                <a:gd name="T71" fmla="*/ 34925 h 430"/>
                <a:gd name="T72" fmla="*/ 32621 w 848"/>
                <a:gd name="T73" fmla="*/ 34925 h 430"/>
                <a:gd name="T74" fmla="*/ 18299 w 848"/>
                <a:gd name="T75" fmla="*/ 34925 h 430"/>
                <a:gd name="T76" fmla="*/ 21482 w 848"/>
                <a:gd name="T77" fmla="*/ 27781 h 430"/>
                <a:gd name="T78" fmla="*/ 14321 w 848"/>
                <a:gd name="T79" fmla="*/ 23813 h 430"/>
                <a:gd name="T80" fmla="*/ 21482 w 848"/>
                <a:gd name="T81" fmla="*/ 23813 h 430"/>
                <a:gd name="T82" fmla="*/ 11139 w 848"/>
                <a:gd name="T83" fmla="*/ 23813 h 430"/>
                <a:gd name="T84" fmla="*/ 7161 w 848"/>
                <a:gd name="T85" fmla="*/ 23813 h 430"/>
                <a:gd name="T86" fmla="*/ 3978 w 848"/>
                <a:gd name="T87" fmla="*/ 20638 h 430"/>
                <a:gd name="T88" fmla="*/ 24664 w 848"/>
                <a:gd name="T89" fmla="*/ 14288 h 430"/>
                <a:gd name="T90" fmla="*/ 38986 w 848"/>
                <a:gd name="T91" fmla="*/ 10319 h 430"/>
                <a:gd name="T92" fmla="*/ 49329 w 848"/>
                <a:gd name="T93" fmla="*/ 10319 h 430"/>
                <a:gd name="T94" fmla="*/ 60467 w 848"/>
                <a:gd name="T95" fmla="*/ 7144 h 430"/>
                <a:gd name="T96" fmla="*/ 70810 w 848"/>
                <a:gd name="T97" fmla="*/ 3969 h 430"/>
                <a:gd name="T98" fmla="*/ 88314 w 848"/>
                <a:gd name="T99" fmla="*/ 0 h 430"/>
                <a:gd name="T100" fmla="*/ 98657 w 848"/>
                <a:gd name="T101" fmla="*/ 3969 h 430"/>
                <a:gd name="T102" fmla="*/ 105818 w 848"/>
                <a:gd name="T103" fmla="*/ 0 h 430"/>
                <a:gd name="T104" fmla="*/ 120139 w 848"/>
                <a:gd name="T105" fmla="*/ 0 h 43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848"/>
                <a:gd name="T160" fmla="*/ 0 h 430"/>
                <a:gd name="T161" fmla="*/ 848 w 848"/>
                <a:gd name="T162" fmla="*/ 430 h 43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848" h="430">
                  <a:moveTo>
                    <a:pt x="708" y="17"/>
                  </a:moveTo>
                  <a:lnTo>
                    <a:pt x="689" y="35"/>
                  </a:lnTo>
                  <a:lnTo>
                    <a:pt x="672" y="35"/>
                  </a:lnTo>
                  <a:lnTo>
                    <a:pt x="708" y="35"/>
                  </a:lnTo>
                  <a:lnTo>
                    <a:pt x="725" y="17"/>
                  </a:lnTo>
                  <a:lnTo>
                    <a:pt x="760" y="17"/>
                  </a:lnTo>
                  <a:lnTo>
                    <a:pt x="777" y="35"/>
                  </a:lnTo>
                  <a:lnTo>
                    <a:pt x="814" y="52"/>
                  </a:lnTo>
                  <a:lnTo>
                    <a:pt x="831" y="52"/>
                  </a:lnTo>
                  <a:lnTo>
                    <a:pt x="848" y="52"/>
                  </a:lnTo>
                  <a:lnTo>
                    <a:pt x="848" y="69"/>
                  </a:lnTo>
                  <a:lnTo>
                    <a:pt x="831" y="69"/>
                  </a:lnTo>
                  <a:lnTo>
                    <a:pt x="777" y="87"/>
                  </a:lnTo>
                  <a:lnTo>
                    <a:pt x="743" y="104"/>
                  </a:lnTo>
                  <a:lnTo>
                    <a:pt x="689" y="121"/>
                  </a:lnTo>
                  <a:lnTo>
                    <a:pt x="708" y="121"/>
                  </a:lnTo>
                  <a:lnTo>
                    <a:pt x="743" y="121"/>
                  </a:lnTo>
                  <a:lnTo>
                    <a:pt x="760" y="121"/>
                  </a:lnTo>
                  <a:lnTo>
                    <a:pt x="725" y="138"/>
                  </a:lnTo>
                  <a:lnTo>
                    <a:pt x="689" y="156"/>
                  </a:lnTo>
                  <a:lnTo>
                    <a:pt x="654" y="173"/>
                  </a:lnTo>
                  <a:lnTo>
                    <a:pt x="620" y="173"/>
                  </a:lnTo>
                  <a:lnTo>
                    <a:pt x="583" y="207"/>
                  </a:lnTo>
                  <a:lnTo>
                    <a:pt x="566" y="225"/>
                  </a:lnTo>
                  <a:lnTo>
                    <a:pt x="549" y="225"/>
                  </a:lnTo>
                  <a:lnTo>
                    <a:pt x="531" y="225"/>
                  </a:lnTo>
                  <a:lnTo>
                    <a:pt x="514" y="225"/>
                  </a:lnTo>
                  <a:lnTo>
                    <a:pt x="478" y="242"/>
                  </a:lnTo>
                  <a:lnTo>
                    <a:pt x="459" y="257"/>
                  </a:lnTo>
                  <a:lnTo>
                    <a:pt x="478" y="257"/>
                  </a:lnTo>
                  <a:lnTo>
                    <a:pt x="478" y="275"/>
                  </a:lnTo>
                  <a:lnTo>
                    <a:pt x="459" y="275"/>
                  </a:lnTo>
                  <a:lnTo>
                    <a:pt x="478" y="292"/>
                  </a:lnTo>
                  <a:lnTo>
                    <a:pt x="459" y="309"/>
                  </a:lnTo>
                  <a:lnTo>
                    <a:pt x="441" y="326"/>
                  </a:lnTo>
                  <a:lnTo>
                    <a:pt x="424" y="344"/>
                  </a:lnTo>
                  <a:lnTo>
                    <a:pt x="407" y="344"/>
                  </a:lnTo>
                  <a:lnTo>
                    <a:pt x="389" y="344"/>
                  </a:lnTo>
                  <a:lnTo>
                    <a:pt x="389" y="361"/>
                  </a:lnTo>
                  <a:lnTo>
                    <a:pt x="353" y="378"/>
                  </a:lnTo>
                  <a:lnTo>
                    <a:pt x="353" y="396"/>
                  </a:lnTo>
                  <a:lnTo>
                    <a:pt x="372" y="396"/>
                  </a:lnTo>
                  <a:lnTo>
                    <a:pt x="389" y="396"/>
                  </a:lnTo>
                  <a:lnTo>
                    <a:pt x="372" y="413"/>
                  </a:lnTo>
                  <a:lnTo>
                    <a:pt x="353" y="430"/>
                  </a:lnTo>
                  <a:lnTo>
                    <a:pt x="318" y="430"/>
                  </a:lnTo>
                  <a:lnTo>
                    <a:pt x="301" y="430"/>
                  </a:lnTo>
                  <a:lnTo>
                    <a:pt x="284" y="413"/>
                  </a:lnTo>
                  <a:lnTo>
                    <a:pt x="247" y="413"/>
                  </a:lnTo>
                  <a:lnTo>
                    <a:pt x="213" y="413"/>
                  </a:lnTo>
                  <a:lnTo>
                    <a:pt x="196" y="413"/>
                  </a:lnTo>
                  <a:lnTo>
                    <a:pt x="196" y="430"/>
                  </a:lnTo>
                  <a:lnTo>
                    <a:pt x="178" y="430"/>
                  </a:lnTo>
                  <a:lnTo>
                    <a:pt x="161" y="430"/>
                  </a:lnTo>
                  <a:lnTo>
                    <a:pt x="124" y="413"/>
                  </a:lnTo>
                  <a:lnTo>
                    <a:pt x="90" y="413"/>
                  </a:lnTo>
                  <a:lnTo>
                    <a:pt x="71" y="413"/>
                  </a:lnTo>
                  <a:lnTo>
                    <a:pt x="90" y="396"/>
                  </a:lnTo>
                  <a:lnTo>
                    <a:pt x="124" y="378"/>
                  </a:lnTo>
                  <a:lnTo>
                    <a:pt x="142" y="378"/>
                  </a:lnTo>
                  <a:lnTo>
                    <a:pt x="124" y="361"/>
                  </a:lnTo>
                  <a:lnTo>
                    <a:pt x="107" y="344"/>
                  </a:lnTo>
                  <a:lnTo>
                    <a:pt x="124" y="344"/>
                  </a:lnTo>
                  <a:lnTo>
                    <a:pt x="161" y="344"/>
                  </a:lnTo>
                  <a:lnTo>
                    <a:pt x="178" y="344"/>
                  </a:lnTo>
                  <a:lnTo>
                    <a:pt x="196" y="361"/>
                  </a:lnTo>
                  <a:lnTo>
                    <a:pt x="213" y="361"/>
                  </a:lnTo>
                  <a:lnTo>
                    <a:pt x="196" y="344"/>
                  </a:lnTo>
                  <a:lnTo>
                    <a:pt x="178" y="344"/>
                  </a:lnTo>
                  <a:lnTo>
                    <a:pt x="178" y="326"/>
                  </a:lnTo>
                  <a:lnTo>
                    <a:pt x="161" y="326"/>
                  </a:lnTo>
                  <a:lnTo>
                    <a:pt x="142" y="326"/>
                  </a:lnTo>
                  <a:lnTo>
                    <a:pt x="124" y="326"/>
                  </a:lnTo>
                  <a:lnTo>
                    <a:pt x="124" y="309"/>
                  </a:lnTo>
                  <a:lnTo>
                    <a:pt x="124" y="292"/>
                  </a:lnTo>
                  <a:lnTo>
                    <a:pt x="142" y="292"/>
                  </a:lnTo>
                  <a:lnTo>
                    <a:pt x="161" y="292"/>
                  </a:lnTo>
                  <a:lnTo>
                    <a:pt x="178" y="292"/>
                  </a:lnTo>
                  <a:lnTo>
                    <a:pt x="196" y="275"/>
                  </a:lnTo>
                  <a:lnTo>
                    <a:pt x="213" y="257"/>
                  </a:lnTo>
                  <a:lnTo>
                    <a:pt x="196" y="225"/>
                  </a:lnTo>
                  <a:lnTo>
                    <a:pt x="161" y="225"/>
                  </a:lnTo>
                  <a:lnTo>
                    <a:pt x="142" y="207"/>
                  </a:lnTo>
                  <a:lnTo>
                    <a:pt x="161" y="207"/>
                  </a:lnTo>
                  <a:lnTo>
                    <a:pt x="178" y="207"/>
                  </a:lnTo>
                  <a:lnTo>
                    <a:pt x="161" y="207"/>
                  </a:lnTo>
                  <a:lnTo>
                    <a:pt x="161" y="190"/>
                  </a:lnTo>
                  <a:lnTo>
                    <a:pt x="178" y="190"/>
                  </a:lnTo>
                  <a:lnTo>
                    <a:pt x="196" y="190"/>
                  </a:lnTo>
                  <a:lnTo>
                    <a:pt x="213" y="190"/>
                  </a:lnTo>
                  <a:lnTo>
                    <a:pt x="247" y="207"/>
                  </a:lnTo>
                  <a:lnTo>
                    <a:pt x="247" y="225"/>
                  </a:lnTo>
                  <a:lnTo>
                    <a:pt x="284" y="225"/>
                  </a:lnTo>
                  <a:lnTo>
                    <a:pt x="267" y="225"/>
                  </a:lnTo>
                  <a:lnTo>
                    <a:pt x="247" y="207"/>
                  </a:lnTo>
                  <a:lnTo>
                    <a:pt x="247" y="190"/>
                  </a:lnTo>
                  <a:lnTo>
                    <a:pt x="267" y="190"/>
                  </a:lnTo>
                  <a:lnTo>
                    <a:pt x="284" y="190"/>
                  </a:lnTo>
                  <a:lnTo>
                    <a:pt x="301" y="190"/>
                  </a:lnTo>
                  <a:lnTo>
                    <a:pt x="318" y="173"/>
                  </a:lnTo>
                  <a:lnTo>
                    <a:pt x="336" y="173"/>
                  </a:lnTo>
                  <a:lnTo>
                    <a:pt x="353" y="173"/>
                  </a:lnTo>
                  <a:lnTo>
                    <a:pt x="336" y="173"/>
                  </a:lnTo>
                  <a:lnTo>
                    <a:pt x="301" y="173"/>
                  </a:lnTo>
                  <a:lnTo>
                    <a:pt x="284" y="173"/>
                  </a:lnTo>
                  <a:lnTo>
                    <a:pt x="247" y="173"/>
                  </a:lnTo>
                  <a:lnTo>
                    <a:pt x="230" y="173"/>
                  </a:lnTo>
                  <a:lnTo>
                    <a:pt x="213" y="173"/>
                  </a:lnTo>
                  <a:lnTo>
                    <a:pt x="196" y="173"/>
                  </a:lnTo>
                  <a:lnTo>
                    <a:pt x="178" y="173"/>
                  </a:lnTo>
                  <a:lnTo>
                    <a:pt x="161" y="173"/>
                  </a:lnTo>
                  <a:lnTo>
                    <a:pt x="142" y="173"/>
                  </a:lnTo>
                  <a:lnTo>
                    <a:pt x="124" y="173"/>
                  </a:lnTo>
                  <a:lnTo>
                    <a:pt x="90" y="173"/>
                  </a:lnTo>
                  <a:lnTo>
                    <a:pt x="71" y="156"/>
                  </a:lnTo>
                  <a:lnTo>
                    <a:pt x="90" y="156"/>
                  </a:lnTo>
                  <a:lnTo>
                    <a:pt x="107" y="138"/>
                  </a:lnTo>
                  <a:lnTo>
                    <a:pt x="90" y="138"/>
                  </a:lnTo>
                  <a:lnTo>
                    <a:pt x="71" y="138"/>
                  </a:lnTo>
                  <a:lnTo>
                    <a:pt x="71" y="121"/>
                  </a:lnTo>
                  <a:lnTo>
                    <a:pt x="90" y="121"/>
                  </a:lnTo>
                  <a:lnTo>
                    <a:pt x="124" y="121"/>
                  </a:lnTo>
                  <a:lnTo>
                    <a:pt x="107" y="121"/>
                  </a:lnTo>
                  <a:lnTo>
                    <a:pt x="90" y="121"/>
                  </a:lnTo>
                  <a:lnTo>
                    <a:pt x="71" y="121"/>
                  </a:lnTo>
                  <a:lnTo>
                    <a:pt x="53" y="121"/>
                  </a:lnTo>
                  <a:lnTo>
                    <a:pt x="71" y="121"/>
                  </a:lnTo>
                  <a:lnTo>
                    <a:pt x="53" y="121"/>
                  </a:lnTo>
                  <a:lnTo>
                    <a:pt x="36" y="121"/>
                  </a:lnTo>
                  <a:lnTo>
                    <a:pt x="17" y="121"/>
                  </a:lnTo>
                  <a:lnTo>
                    <a:pt x="0" y="121"/>
                  </a:lnTo>
                  <a:lnTo>
                    <a:pt x="17" y="104"/>
                  </a:lnTo>
                  <a:lnTo>
                    <a:pt x="71" y="87"/>
                  </a:lnTo>
                  <a:lnTo>
                    <a:pt x="107" y="69"/>
                  </a:lnTo>
                  <a:lnTo>
                    <a:pt x="124" y="69"/>
                  </a:lnTo>
                  <a:lnTo>
                    <a:pt x="161" y="52"/>
                  </a:lnTo>
                  <a:lnTo>
                    <a:pt x="178" y="52"/>
                  </a:lnTo>
                  <a:lnTo>
                    <a:pt x="196" y="52"/>
                  </a:lnTo>
                  <a:lnTo>
                    <a:pt x="213" y="52"/>
                  </a:lnTo>
                  <a:lnTo>
                    <a:pt x="247" y="69"/>
                  </a:lnTo>
                  <a:lnTo>
                    <a:pt x="247" y="52"/>
                  </a:lnTo>
                  <a:lnTo>
                    <a:pt x="267" y="35"/>
                  </a:lnTo>
                  <a:lnTo>
                    <a:pt x="284" y="35"/>
                  </a:lnTo>
                  <a:lnTo>
                    <a:pt x="301" y="35"/>
                  </a:lnTo>
                  <a:lnTo>
                    <a:pt x="301" y="17"/>
                  </a:lnTo>
                  <a:lnTo>
                    <a:pt x="318" y="17"/>
                  </a:lnTo>
                  <a:lnTo>
                    <a:pt x="353" y="17"/>
                  </a:lnTo>
                  <a:lnTo>
                    <a:pt x="389" y="17"/>
                  </a:lnTo>
                  <a:lnTo>
                    <a:pt x="424" y="17"/>
                  </a:lnTo>
                  <a:lnTo>
                    <a:pt x="441" y="0"/>
                  </a:lnTo>
                  <a:lnTo>
                    <a:pt x="459" y="0"/>
                  </a:lnTo>
                  <a:lnTo>
                    <a:pt x="478" y="17"/>
                  </a:lnTo>
                  <a:lnTo>
                    <a:pt x="495" y="17"/>
                  </a:lnTo>
                  <a:lnTo>
                    <a:pt x="495" y="0"/>
                  </a:lnTo>
                  <a:lnTo>
                    <a:pt x="514" y="0"/>
                  </a:lnTo>
                  <a:lnTo>
                    <a:pt x="531" y="0"/>
                  </a:lnTo>
                  <a:lnTo>
                    <a:pt x="549" y="0"/>
                  </a:lnTo>
                  <a:lnTo>
                    <a:pt x="566" y="0"/>
                  </a:lnTo>
                  <a:lnTo>
                    <a:pt x="602" y="0"/>
                  </a:lnTo>
                  <a:lnTo>
                    <a:pt x="654" y="17"/>
                  </a:lnTo>
                  <a:lnTo>
                    <a:pt x="708" y="17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68" name="Freeform 29">
              <a:extLst>
                <a:ext uri="{FF2B5EF4-FFF2-40B4-BE49-F238E27FC236}">
                  <a16:creationId xmlns:a16="http://schemas.microsoft.com/office/drawing/2014/main" id="{4703EFB4-5FB8-5C85-C289-5D96A9A23E51}"/>
                </a:ext>
              </a:extLst>
            </p:cNvPr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3914055" y="2107954"/>
              <a:ext cx="1220971" cy="964841"/>
            </a:xfrm>
            <a:custGeom>
              <a:avLst/>
              <a:gdLst>
                <a:gd name="T0" fmla="*/ 119063 w 1618"/>
                <a:gd name="T1" fmla="*/ 153860 h 1209"/>
                <a:gd name="T2" fmla="*/ 104775 w 1618"/>
                <a:gd name="T3" fmla="*/ 150688 h 1209"/>
                <a:gd name="T4" fmla="*/ 104775 w 1618"/>
                <a:gd name="T5" fmla="*/ 140378 h 1209"/>
                <a:gd name="T6" fmla="*/ 90488 w 1618"/>
                <a:gd name="T7" fmla="*/ 140378 h 1209"/>
                <a:gd name="T8" fmla="*/ 90488 w 1618"/>
                <a:gd name="T9" fmla="*/ 126102 h 1209"/>
                <a:gd name="T10" fmla="*/ 69850 w 1618"/>
                <a:gd name="T11" fmla="*/ 99137 h 1209"/>
                <a:gd name="T12" fmla="*/ 41275 w 1618"/>
                <a:gd name="T13" fmla="*/ 95171 h 1209"/>
                <a:gd name="T14" fmla="*/ 31750 w 1618"/>
                <a:gd name="T15" fmla="*/ 95171 h 1209"/>
                <a:gd name="T16" fmla="*/ 23813 w 1618"/>
                <a:gd name="T17" fmla="*/ 88826 h 1209"/>
                <a:gd name="T18" fmla="*/ 10319 w 1618"/>
                <a:gd name="T19" fmla="*/ 85654 h 1209"/>
                <a:gd name="T20" fmla="*/ 23813 w 1618"/>
                <a:gd name="T21" fmla="*/ 81689 h 1209"/>
                <a:gd name="T22" fmla="*/ 31750 w 1618"/>
                <a:gd name="T23" fmla="*/ 75344 h 1209"/>
                <a:gd name="T24" fmla="*/ 7144 w 1618"/>
                <a:gd name="T25" fmla="*/ 75344 h 1209"/>
                <a:gd name="T26" fmla="*/ 14288 w 1618"/>
                <a:gd name="T27" fmla="*/ 65034 h 1209"/>
                <a:gd name="T28" fmla="*/ 34925 w 1618"/>
                <a:gd name="T29" fmla="*/ 57896 h 1209"/>
                <a:gd name="T30" fmla="*/ 27781 w 1618"/>
                <a:gd name="T31" fmla="*/ 44413 h 1209"/>
                <a:gd name="T32" fmla="*/ 52388 w 1618"/>
                <a:gd name="T33" fmla="*/ 30138 h 1209"/>
                <a:gd name="T34" fmla="*/ 69850 w 1618"/>
                <a:gd name="T35" fmla="*/ 23793 h 1209"/>
                <a:gd name="T36" fmla="*/ 94456 w 1618"/>
                <a:gd name="T37" fmla="*/ 16655 h 1209"/>
                <a:gd name="T38" fmla="*/ 104775 w 1618"/>
                <a:gd name="T39" fmla="*/ 19827 h 1209"/>
                <a:gd name="T40" fmla="*/ 129381 w 1618"/>
                <a:gd name="T41" fmla="*/ 16655 h 1209"/>
                <a:gd name="T42" fmla="*/ 132556 w 1618"/>
                <a:gd name="T43" fmla="*/ 16655 h 1209"/>
                <a:gd name="T44" fmla="*/ 139700 w 1618"/>
                <a:gd name="T45" fmla="*/ 6345 h 1209"/>
                <a:gd name="T46" fmla="*/ 163513 w 1618"/>
                <a:gd name="T47" fmla="*/ 6345 h 1209"/>
                <a:gd name="T48" fmla="*/ 191294 w 1618"/>
                <a:gd name="T49" fmla="*/ 0 h 1209"/>
                <a:gd name="T50" fmla="*/ 237331 w 1618"/>
                <a:gd name="T51" fmla="*/ 3172 h 1209"/>
                <a:gd name="T52" fmla="*/ 272256 w 1618"/>
                <a:gd name="T53" fmla="*/ 13483 h 1209"/>
                <a:gd name="T54" fmla="*/ 234156 w 1618"/>
                <a:gd name="T55" fmla="*/ 19827 h 1209"/>
                <a:gd name="T56" fmla="*/ 241300 w 1618"/>
                <a:gd name="T57" fmla="*/ 19827 h 1209"/>
                <a:gd name="T58" fmla="*/ 251619 w 1618"/>
                <a:gd name="T59" fmla="*/ 30138 h 1209"/>
                <a:gd name="T60" fmla="*/ 272256 w 1618"/>
                <a:gd name="T61" fmla="*/ 26965 h 1209"/>
                <a:gd name="T62" fmla="*/ 272256 w 1618"/>
                <a:gd name="T63" fmla="*/ 30138 h 1209"/>
                <a:gd name="T64" fmla="*/ 293688 w 1618"/>
                <a:gd name="T65" fmla="*/ 26965 h 1209"/>
                <a:gd name="T66" fmla="*/ 311150 w 1618"/>
                <a:gd name="T67" fmla="*/ 23793 h 1209"/>
                <a:gd name="T68" fmla="*/ 321469 w 1618"/>
                <a:gd name="T69" fmla="*/ 30138 h 1209"/>
                <a:gd name="T70" fmla="*/ 300038 w 1618"/>
                <a:gd name="T71" fmla="*/ 44413 h 1209"/>
                <a:gd name="T72" fmla="*/ 286544 w 1618"/>
                <a:gd name="T73" fmla="*/ 51551 h 1209"/>
                <a:gd name="T74" fmla="*/ 276225 w 1618"/>
                <a:gd name="T75" fmla="*/ 65034 h 1209"/>
                <a:gd name="T76" fmla="*/ 286544 w 1618"/>
                <a:gd name="T77" fmla="*/ 71378 h 1209"/>
                <a:gd name="T78" fmla="*/ 293688 w 1618"/>
                <a:gd name="T79" fmla="*/ 81689 h 1209"/>
                <a:gd name="T80" fmla="*/ 276225 w 1618"/>
                <a:gd name="T81" fmla="*/ 88826 h 1209"/>
                <a:gd name="T82" fmla="*/ 286544 w 1618"/>
                <a:gd name="T83" fmla="*/ 102309 h 1209"/>
                <a:gd name="T84" fmla="*/ 286544 w 1618"/>
                <a:gd name="T85" fmla="*/ 109447 h 1209"/>
                <a:gd name="T86" fmla="*/ 272256 w 1618"/>
                <a:gd name="T87" fmla="*/ 122929 h 1209"/>
                <a:gd name="T88" fmla="*/ 269081 w 1618"/>
                <a:gd name="T89" fmla="*/ 122929 h 1209"/>
                <a:gd name="T90" fmla="*/ 261938 w 1618"/>
                <a:gd name="T91" fmla="*/ 130067 h 1209"/>
                <a:gd name="T92" fmla="*/ 272256 w 1618"/>
                <a:gd name="T93" fmla="*/ 140378 h 1209"/>
                <a:gd name="T94" fmla="*/ 261938 w 1618"/>
                <a:gd name="T95" fmla="*/ 143550 h 1209"/>
                <a:gd name="T96" fmla="*/ 255588 w 1618"/>
                <a:gd name="T97" fmla="*/ 153860 h 1209"/>
                <a:gd name="T98" fmla="*/ 258763 w 1618"/>
                <a:gd name="T99" fmla="*/ 160205 h 1209"/>
                <a:gd name="T100" fmla="*/ 223838 w 1618"/>
                <a:gd name="T101" fmla="*/ 170515 h 1209"/>
                <a:gd name="T102" fmla="*/ 213519 w 1618"/>
                <a:gd name="T103" fmla="*/ 177653 h 1209"/>
                <a:gd name="T104" fmla="*/ 195263 w 1618"/>
                <a:gd name="T105" fmla="*/ 191135 h 1209"/>
                <a:gd name="T106" fmla="*/ 184944 w 1618"/>
                <a:gd name="T107" fmla="*/ 191135 h 1209"/>
                <a:gd name="T108" fmla="*/ 170656 w 1618"/>
                <a:gd name="T109" fmla="*/ 205411 h 1209"/>
                <a:gd name="T110" fmla="*/ 160338 w 1618"/>
                <a:gd name="T111" fmla="*/ 218894 h 1209"/>
                <a:gd name="T112" fmla="*/ 157163 w 1618"/>
                <a:gd name="T113" fmla="*/ 239514 h 1209"/>
                <a:gd name="T114" fmla="*/ 146844 w 1618"/>
                <a:gd name="T115" fmla="*/ 235549 h 1209"/>
                <a:gd name="T116" fmla="*/ 129381 w 1618"/>
                <a:gd name="T117" fmla="*/ 229204 h 1209"/>
                <a:gd name="T118" fmla="*/ 115094 w 1618"/>
                <a:gd name="T119" fmla="*/ 211756 h 1209"/>
                <a:gd name="T120" fmla="*/ 111919 w 1618"/>
                <a:gd name="T121" fmla="*/ 201446 h 1209"/>
                <a:gd name="T122" fmla="*/ 100806 w 1618"/>
                <a:gd name="T123" fmla="*/ 188756 h 1209"/>
                <a:gd name="T124" fmla="*/ 108744 w 1618"/>
                <a:gd name="T125" fmla="*/ 170515 h 120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618"/>
                <a:gd name="T190" fmla="*/ 0 h 1209"/>
                <a:gd name="T191" fmla="*/ 1618 w 1618"/>
                <a:gd name="T192" fmla="*/ 1209 h 1209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618" h="1209">
                  <a:moveTo>
                    <a:pt x="545" y="846"/>
                  </a:moveTo>
                  <a:lnTo>
                    <a:pt x="562" y="846"/>
                  </a:lnTo>
                  <a:lnTo>
                    <a:pt x="562" y="829"/>
                  </a:lnTo>
                  <a:lnTo>
                    <a:pt x="579" y="811"/>
                  </a:lnTo>
                  <a:lnTo>
                    <a:pt x="599" y="777"/>
                  </a:lnTo>
                  <a:lnTo>
                    <a:pt x="562" y="777"/>
                  </a:lnTo>
                  <a:lnTo>
                    <a:pt x="510" y="777"/>
                  </a:lnTo>
                  <a:lnTo>
                    <a:pt x="493" y="742"/>
                  </a:lnTo>
                  <a:lnTo>
                    <a:pt x="510" y="742"/>
                  </a:lnTo>
                  <a:lnTo>
                    <a:pt x="527" y="760"/>
                  </a:lnTo>
                  <a:lnTo>
                    <a:pt x="545" y="760"/>
                  </a:lnTo>
                  <a:lnTo>
                    <a:pt x="562" y="760"/>
                  </a:lnTo>
                  <a:lnTo>
                    <a:pt x="562" y="742"/>
                  </a:lnTo>
                  <a:lnTo>
                    <a:pt x="562" y="725"/>
                  </a:lnTo>
                  <a:lnTo>
                    <a:pt x="527" y="708"/>
                  </a:lnTo>
                  <a:lnTo>
                    <a:pt x="510" y="691"/>
                  </a:lnTo>
                  <a:lnTo>
                    <a:pt x="510" y="708"/>
                  </a:lnTo>
                  <a:lnTo>
                    <a:pt x="493" y="708"/>
                  </a:lnTo>
                  <a:lnTo>
                    <a:pt x="476" y="725"/>
                  </a:lnTo>
                  <a:lnTo>
                    <a:pt x="458" y="708"/>
                  </a:lnTo>
                  <a:lnTo>
                    <a:pt x="458" y="691"/>
                  </a:lnTo>
                  <a:lnTo>
                    <a:pt x="458" y="673"/>
                  </a:lnTo>
                  <a:lnTo>
                    <a:pt x="476" y="673"/>
                  </a:lnTo>
                  <a:lnTo>
                    <a:pt x="476" y="656"/>
                  </a:lnTo>
                  <a:lnTo>
                    <a:pt x="458" y="639"/>
                  </a:lnTo>
                  <a:lnTo>
                    <a:pt x="458" y="621"/>
                  </a:lnTo>
                  <a:lnTo>
                    <a:pt x="458" y="589"/>
                  </a:lnTo>
                  <a:lnTo>
                    <a:pt x="422" y="552"/>
                  </a:lnTo>
                  <a:lnTo>
                    <a:pt x="405" y="518"/>
                  </a:lnTo>
                  <a:lnTo>
                    <a:pt x="351" y="501"/>
                  </a:lnTo>
                  <a:lnTo>
                    <a:pt x="316" y="466"/>
                  </a:lnTo>
                  <a:lnTo>
                    <a:pt x="263" y="466"/>
                  </a:lnTo>
                  <a:lnTo>
                    <a:pt x="245" y="466"/>
                  </a:lnTo>
                  <a:lnTo>
                    <a:pt x="228" y="466"/>
                  </a:lnTo>
                  <a:lnTo>
                    <a:pt x="211" y="483"/>
                  </a:lnTo>
                  <a:lnTo>
                    <a:pt x="193" y="483"/>
                  </a:lnTo>
                  <a:lnTo>
                    <a:pt x="193" y="466"/>
                  </a:lnTo>
                  <a:lnTo>
                    <a:pt x="176" y="466"/>
                  </a:lnTo>
                  <a:lnTo>
                    <a:pt x="176" y="483"/>
                  </a:lnTo>
                  <a:lnTo>
                    <a:pt x="157" y="483"/>
                  </a:lnTo>
                  <a:lnTo>
                    <a:pt x="140" y="483"/>
                  </a:lnTo>
                  <a:lnTo>
                    <a:pt x="122" y="466"/>
                  </a:lnTo>
                  <a:lnTo>
                    <a:pt x="105" y="466"/>
                  </a:lnTo>
                  <a:lnTo>
                    <a:pt x="105" y="449"/>
                  </a:lnTo>
                  <a:lnTo>
                    <a:pt x="122" y="449"/>
                  </a:lnTo>
                  <a:lnTo>
                    <a:pt x="122" y="432"/>
                  </a:lnTo>
                  <a:lnTo>
                    <a:pt x="105" y="432"/>
                  </a:lnTo>
                  <a:lnTo>
                    <a:pt x="88" y="432"/>
                  </a:lnTo>
                  <a:lnTo>
                    <a:pt x="71" y="432"/>
                  </a:lnTo>
                  <a:lnTo>
                    <a:pt x="53" y="432"/>
                  </a:lnTo>
                  <a:lnTo>
                    <a:pt x="53" y="414"/>
                  </a:lnTo>
                  <a:lnTo>
                    <a:pt x="71" y="414"/>
                  </a:lnTo>
                  <a:lnTo>
                    <a:pt x="88" y="414"/>
                  </a:lnTo>
                  <a:lnTo>
                    <a:pt x="105" y="414"/>
                  </a:lnTo>
                  <a:lnTo>
                    <a:pt x="122" y="414"/>
                  </a:lnTo>
                  <a:lnTo>
                    <a:pt x="122" y="397"/>
                  </a:lnTo>
                  <a:lnTo>
                    <a:pt x="157" y="397"/>
                  </a:lnTo>
                  <a:lnTo>
                    <a:pt x="176" y="397"/>
                  </a:lnTo>
                  <a:lnTo>
                    <a:pt x="176" y="380"/>
                  </a:lnTo>
                  <a:lnTo>
                    <a:pt x="157" y="380"/>
                  </a:lnTo>
                  <a:lnTo>
                    <a:pt x="140" y="380"/>
                  </a:lnTo>
                  <a:lnTo>
                    <a:pt x="122" y="380"/>
                  </a:lnTo>
                  <a:lnTo>
                    <a:pt x="105" y="380"/>
                  </a:lnTo>
                  <a:lnTo>
                    <a:pt x="71" y="380"/>
                  </a:lnTo>
                  <a:lnTo>
                    <a:pt x="36" y="380"/>
                  </a:lnTo>
                  <a:lnTo>
                    <a:pt x="0" y="345"/>
                  </a:lnTo>
                  <a:lnTo>
                    <a:pt x="17" y="328"/>
                  </a:lnTo>
                  <a:lnTo>
                    <a:pt x="36" y="328"/>
                  </a:lnTo>
                  <a:lnTo>
                    <a:pt x="53" y="328"/>
                  </a:lnTo>
                  <a:lnTo>
                    <a:pt x="71" y="328"/>
                  </a:lnTo>
                  <a:lnTo>
                    <a:pt x="88" y="311"/>
                  </a:lnTo>
                  <a:lnTo>
                    <a:pt x="105" y="311"/>
                  </a:lnTo>
                  <a:lnTo>
                    <a:pt x="122" y="311"/>
                  </a:lnTo>
                  <a:lnTo>
                    <a:pt x="157" y="311"/>
                  </a:lnTo>
                  <a:lnTo>
                    <a:pt x="176" y="293"/>
                  </a:lnTo>
                  <a:lnTo>
                    <a:pt x="193" y="278"/>
                  </a:lnTo>
                  <a:lnTo>
                    <a:pt x="211" y="261"/>
                  </a:lnTo>
                  <a:lnTo>
                    <a:pt x="176" y="243"/>
                  </a:lnTo>
                  <a:lnTo>
                    <a:pt x="157" y="243"/>
                  </a:lnTo>
                  <a:lnTo>
                    <a:pt x="140" y="226"/>
                  </a:lnTo>
                  <a:lnTo>
                    <a:pt x="157" y="209"/>
                  </a:lnTo>
                  <a:lnTo>
                    <a:pt x="193" y="209"/>
                  </a:lnTo>
                  <a:lnTo>
                    <a:pt x="228" y="192"/>
                  </a:lnTo>
                  <a:lnTo>
                    <a:pt x="245" y="155"/>
                  </a:lnTo>
                  <a:lnTo>
                    <a:pt x="263" y="155"/>
                  </a:lnTo>
                  <a:lnTo>
                    <a:pt x="280" y="172"/>
                  </a:lnTo>
                  <a:lnTo>
                    <a:pt x="297" y="155"/>
                  </a:lnTo>
                  <a:lnTo>
                    <a:pt x="297" y="138"/>
                  </a:lnTo>
                  <a:lnTo>
                    <a:pt x="316" y="121"/>
                  </a:lnTo>
                  <a:lnTo>
                    <a:pt x="351" y="121"/>
                  </a:lnTo>
                  <a:lnTo>
                    <a:pt x="368" y="103"/>
                  </a:lnTo>
                  <a:lnTo>
                    <a:pt x="405" y="103"/>
                  </a:lnTo>
                  <a:lnTo>
                    <a:pt x="422" y="86"/>
                  </a:lnTo>
                  <a:lnTo>
                    <a:pt x="458" y="86"/>
                  </a:lnTo>
                  <a:lnTo>
                    <a:pt x="476" y="86"/>
                  </a:lnTo>
                  <a:lnTo>
                    <a:pt x="493" y="103"/>
                  </a:lnTo>
                  <a:lnTo>
                    <a:pt x="510" y="121"/>
                  </a:lnTo>
                  <a:lnTo>
                    <a:pt x="510" y="103"/>
                  </a:lnTo>
                  <a:lnTo>
                    <a:pt x="510" y="86"/>
                  </a:lnTo>
                  <a:lnTo>
                    <a:pt x="527" y="103"/>
                  </a:lnTo>
                  <a:lnTo>
                    <a:pt x="562" y="103"/>
                  </a:lnTo>
                  <a:lnTo>
                    <a:pt x="562" y="86"/>
                  </a:lnTo>
                  <a:lnTo>
                    <a:pt x="579" y="86"/>
                  </a:lnTo>
                  <a:lnTo>
                    <a:pt x="616" y="86"/>
                  </a:lnTo>
                  <a:lnTo>
                    <a:pt x="650" y="86"/>
                  </a:lnTo>
                  <a:lnTo>
                    <a:pt x="668" y="103"/>
                  </a:lnTo>
                  <a:lnTo>
                    <a:pt x="685" y="103"/>
                  </a:lnTo>
                  <a:lnTo>
                    <a:pt x="702" y="103"/>
                  </a:lnTo>
                  <a:lnTo>
                    <a:pt x="685" y="103"/>
                  </a:lnTo>
                  <a:lnTo>
                    <a:pt x="668" y="86"/>
                  </a:lnTo>
                  <a:lnTo>
                    <a:pt x="650" y="69"/>
                  </a:lnTo>
                  <a:lnTo>
                    <a:pt x="668" y="69"/>
                  </a:lnTo>
                  <a:lnTo>
                    <a:pt x="685" y="69"/>
                  </a:lnTo>
                  <a:lnTo>
                    <a:pt x="685" y="52"/>
                  </a:lnTo>
                  <a:lnTo>
                    <a:pt x="702" y="34"/>
                  </a:lnTo>
                  <a:lnTo>
                    <a:pt x="739" y="34"/>
                  </a:lnTo>
                  <a:lnTo>
                    <a:pt x="756" y="34"/>
                  </a:lnTo>
                  <a:lnTo>
                    <a:pt x="773" y="34"/>
                  </a:lnTo>
                  <a:lnTo>
                    <a:pt x="808" y="34"/>
                  </a:lnTo>
                  <a:lnTo>
                    <a:pt x="827" y="34"/>
                  </a:lnTo>
                  <a:lnTo>
                    <a:pt x="844" y="34"/>
                  </a:lnTo>
                  <a:lnTo>
                    <a:pt x="862" y="34"/>
                  </a:lnTo>
                  <a:lnTo>
                    <a:pt x="881" y="34"/>
                  </a:lnTo>
                  <a:lnTo>
                    <a:pt x="915" y="17"/>
                  </a:lnTo>
                  <a:lnTo>
                    <a:pt x="967" y="0"/>
                  </a:lnTo>
                  <a:lnTo>
                    <a:pt x="1004" y="0"/>
                  </a:lnTo>
                  <a:lnTo>
                    <a:pt x="1055" y="0"/>
                  </a:lnTo>
                  <a:lnTo>
                    <a:pt x="1090" y="0"/>
                  </a:lnTo>
                  <a:lnTo>
                    <a:pt x="1161" y="0"/>
                  </a:lnTo>
                  <a:lnTo>
                    <a:pt x="1196" y="17"/>
                  </a:lnTo>
                  <a:lnTo>
                    <a:pt x="1249" y="34"/>
                  </a:lnTo>
                  <a:lnTo>
                    <a:pt x="1286" y="52"/>
                  </a:lnTo>
                  <a:lnTo>
                    <a:pt x="1320" y="52"/>
                  </a:lnTo>
                  <a:lnTo>
                    <a:pt x="1338" y="52"/>
                  </a:lnTo>
                  <a:lnTo>
                    <a:pt x="1372" y="69"/>
                  </a:lnTo>
                  <a:lnTo>
                    <a:pt x="1355" y="86"/>
                  </a:lnTo>
                  <a:lnTo>
                    <a:pt x="1320" y="86"/>
                  </a:lnTo>
                  <a:lnTo>
                    <a:pt x="1267" y="86"/>
                  </a:lnTo>
                  <a:lnTo>
                    <a:pt x="1249" y="103"/>
                  </a:lnTo>
                  <a:lnTo>
                    <a:pt x="1178" y="103"/>
                  </a:lnTo>
                  <a:lnTo>
                    <a:pt x="1090" y="103"/>
                  </a:lnTo>
                  <a:lnTo>
                    <a:pt x="1073" y="103"/>
                  </a:lnTo>
                  <a:lnTo>
                    <a:pt x="1090" y="121"/>
                  </a:lnTo>
                  <a:lnTo>
                    <a:pt x="1161" y="103"/>
                  </a:lnTo>
                  <a:lnTo>
                    <a:pt x="1213" y="103"/>
                  </a:lnTo>
                  <a:lnTo>
                    <a:pt x="1267" y="103"/>
                  </a:lnTo>
                  <a:lnTo>
                    <a:pt x="1249" y="121"/>
                  </a:lnTo>
                  <a:lnTo>
                    <a:pt x="1230" y="155"/>
                  </a:lnTo>
                  <a:lnTo>
                    <a:pt x="1213" y="155"/>
                  </a:lnTo>
                  <a:lnTo>
                    <a:pt x="1267" y="155"/>
                  </a:lnTo>
                  <a:lnTo>
                    <a:pt x="1303" y="121"/>
                  </a:lnTo>
                  <a:lnTo>
                    <a:pt x="1338" y="103"/>
                  </a:lnTo>
                  <a:lnTo>
                    <a:pt x="1355" y="103"/>
                  </a:lnTo>
                  <a:lnTo>
                    <a:pt x="1355" y="121"/>
                  </a:lnTo>
                  <a:lnTo>
                    <a:pt x="1372" y="138"/>
                  </a:lnTo>
                  <a:lnTo>
                    <a:pt x="1338" y="155"/>
                  </a:lnTo>
                  <a:lnTo>
                    <a:pt x="1320" y="192"/>
                  </a:lnTo>
                  <a:lnTo>
                    <a:pt x="1303" y="209"/>
                  </a:lnTo>
                  <a:lnTo>
                    <a:pt x="1338" y="192"/>
                  </a:lnTo>
                  <a:lnTo>
                    <a:pt x="1372" y="155"/>
                  </a:lnTo>
                  <a:lnTo>
                    <a:pt x="1389" y="138"/>
                  </a:lnTo>
                  <a:lnTo>
                    <a:pt x="1407" y="138"/>
                  </a:lnTo>
                  <a:lnTo>
                    <a:pt x="1443" y="138"/>
                  </a:lnTo>
                  <a:lnTo>
                    <a:pt x="1460" y="138"/>
                  </a:lnTo>
                  <a:lnTo>
                    <a:pt x="1478" y="138"/>
                  </a:lnTo>
                  <a:lnTo>
                    <a:pt x="1495" y="138"/>
                  </a:lnTo>
                  <a:lnTo>
                    <a:pt x="1495" y="121"/>
                  </a:lnTo>
                  <a:lnTo>
                    <a:pt x="1512" y="121"/>
                  </a:lnTo>
                  <a:lnTo>
                    <a:pt x="1547" y="121"/>
                  </a:lnTo>
                  <a:lnTo>
                    <a:pt x="1566" y="121"/>
                  </a:lnTo>
                  <a:lnTo>
                    <a:pt x="1566" y="103"/>
                  </a:lnTo>
                  <a:lnTo>
                    <a:pt x="1601" y="103"/>
                  </a:lnTo>
                  <a:lnTo>
                    <a:pt x="1618" y="121"/>
                  </a:lnTo>
                  <a:lnTo>
                    <a:pt x="1618" y="138"/>
                  </a:lnTo>
                  <a:lnTo>
                    <a:pt x="1618" y="155"/>
                  </a:lnTo>
                  <a:lnTo>
                    <a:pt x="1566" y="172"/>
                  </a:lnTo>
                  <a:lnTo>
                    <a:pt x="1547" y="192"/>
                  </a:lnTo>
                  <a:lnTo>
                    <a:pt x="1512" y="209"/>
                  </a:lnTo>
                  <a:lnTo>
                    <a:pt x="1530" y="209"/>
                  </a:lnTo>
                  <a:lnTo>
                    <a:pt x="1512" y="226"/>
                  </a:lnTo>
                  <a:lnTo>
                    <a:pt x="1495" y="226"/>
                  </a:lnTo>
                  <a:lnTo>
                    <a:pt x="1495" y="243"/>
                  </a:lnTo>
                  <a:lnTo>
                    <a:pt x="1478" y="261"/>
                  </a:lnTo>
                  <a:lnTo>
                    <a:pt x="1460" y="261"/>
                  </a:lnTo>
                  <a:lnTo>
                    <a:pt x="1443" y="261"/>
                  </a:lnTo>
                  <a:lnTo>
                    <a:pt x="1443" y="278"/>
                  </a:lnTo>
                  <a:lnTo>
                    <a:pt x="1443" y="293"/>
                  </a:lnTo>
                  <a:lnTo>
                    <a:pt x="1426" y="311"/>
                  </a:lnTo>
                  <a:lnTo>
                    <a:pt x="1407" y="328"/>
                  </a:lnTo>
                  <a:lnTo>
                    <a:pt x="1389" y="328"/>
                  </a:lnTo>
                  <a:lnTo>
                    <a:pt x="1389" y="345"/>
                  </a:lnTo>
                  <a:lnTo>
                    <a:pt x="1389" y="362"/>
                  </a:lnTo>
                  <a:lnTo>
                    <a:pt x="1407" y="362"/>
                  </a:lnTo>
                  <a:lnTo>
                    <a:pt x="1426" y="362"/>
                  </a:lnTo>
                  <a:lnTo>
                    <a:pt x="1443" y="362"/>
                  </a:lnTo>
                  <a:lnTo>
                    <a:pt x="1443" y="380"/>
                  </a:lnTo>
                  <a:lnTo>
                    <a:pt x="1460" y="380"/>
                  </a:lnTo>
                  <a:lnTo>
                    <a:pt x="1443" y="380"/>
                  </a:lnTo>
                  <a:lnTo>
                    <a:pt x="1478" y="397"/>
                  </a:lnTo>
                  <a:lnTo>
                    <a:pt x="1478" y="414"/>
                  </a:lnTo>
                  <a:lnTo>
                    <a:pt x="1460" y="432"/>
                  </a:lnTo>
                  <a:lnTo>
                    <a:pt x="1443" y="432"/>
                  </a:lnTo>
                  <a:lnTo>
                    <a:pt x="1407" y="432"/>
                  </a:lnTo>
                  <a:lnTo>
                    <a:pt x="1389" y="432"/>
                  </a:lnTo>
                  <a:lnTo>
                    <a:pt x="1389" y="449"/>
                  </a:lnTo>
                  <a:lnTo>
                    <a:pt x="1407" y="449"/>
                  </a:lnTo>
                  <a:lnTo>
                    <a:pt x="1426" y="449"/>
                  </a:lnTo>
                  <a:lnTo>
                    <a:pt x="1443" y="483"/>
                  </a:lnTo>
                  <a:lnTo>
                    <a:pt x="1443" y="501"/>
                  </a:lnTo>
                  <a:lnTo>
                    <a:pt x="1443" y="518"/>
                  </a:lnTo>
                  <a:lnTo>
                    <a:pt x="1426" y="518"/>
                  </a:lnTo>
                  <a:lnTo>
                    <a:pt x="1407" y="518"/>
                  </a:lnTo>
                  <a:lnTo>
                    <a:pt x="1407" y="535"/>
                  </a:lnTo>
                  <a:lnTo>
                    <a:pt x="1426" y="552"/>
                  </a:lnTo>
                  <a:lnTo>
                    <a:pt x="1443" y="552"/>
                  </a:lnTo>
                  <a:lnTo>
                    <a:pt x="1426" y="572"/>
                  </a:lnTo>
                  <a:lnTo>
                    <a:pt x="1407" y="572"/>
                  </a:lnTo>
                  <a:lnTo>
                    <a:pt x="1407" y="589"/>
                  </a:lnTo>
                  <a:lnTo>
                    <a:pt x="1389" y="606"/>
                  </a:lnTo>
                  <a:lnTo>
                    <a:pt x="1372" y="621"/>
                  </a:lnTo>
                  <a:lnTo>
                    <a:pt x="1355" y="621"/>
                  </a:lnTo>
                  <a:lnTo>
                    <a:pt x="1338" y="606"/>
                  </a:lnTo>
                  <a:lnTo>
                    <a:pt x="1320" y="606"/>
                  </a:lnTo>
                  <a:lnTo>
                    <a:pt x="1338" y="621"/>
                  </a:lnTo>
                  <a:lnTo>
                    <a:pt x="1355" y="621"/>
                  </a:lnTo>
                  <a:lnTo>
                    <a:pt x="1372" y="656"/>
                  </a:lnTo>
                  <a:lnTo>
                    <a:pt x="1372" y="673"/>
                  </a:lnTo>
                  <a:lnTo>
                    <a:pt x="1355" y="673"/>
                  </a:lnTo>
                  <a:lnTo>
                    <a:pt x="1338" y="673"/>
                  </a:lnTo>
                  <a:lnTo>
                    <a:pt x="1320" y="656"/>
                  </a:lnTo>
                  <a:lnTo>
                    <a:pt x="1303" y="621"/>
                  </a:lnTo>
                  <a:lnTo>
                    <a:pt x="1286" y="621"/>
                  </a:lnTo>
                  <a:lnTo>
                    <a:pt x="1286" y="639"/>
                  </a:lnTo>
                  <a:lnTo>
                    <a:pt x="1338" y="673"/>
                  </a:lnTo>
                  <a:lnTo>
                    <a:pt x="1372" y="708"/>
                  </a:lnTo>
                  <a:lnTo>
                    <a:pt x="1389" y="742"/>
                  </a:lnTo>
                  <a:lnTo>
                    <a:pt x="1389" y="760"/>
                  </a:lnTo>
                  <a:lnTo>
                    <a:pt x="1372" y="760"/>
                  </a:lnTo>
                  <a:lnTo>
                    <a:pt x="1338" y="742"/>
                  </a:lnTo>
                  <a:lnTo>
                    <a:pt x="1320" y="725"/>
                  </a:lnTo>
                  <a:lnTo>
                    <a:pt x="1286" y="725"/>
                  </a:lnTo>
                  <a:lnTo>
                    <a:pt x="1267" y="725"/>
                  </a:lnTo>
                  <a:lnTo>
                    <a:pt x="1286" y="725"/>
                  </a:lnTo>
                  <a:lnTo>
                    <a:pt x="1267" y="742"/>
                  </a:lnTo>
                  <a:lnTo>
                    <a:pt x="1286" y="777"/>
                  </a:lnTo>
                  <a:lnTo>
                    <a:pt x="1338" y="777"/>
                  </a:lnTo>
                  <a:lnTo>
                    <a:pt x="1372" y="777"/>
                  </a:lnTo>
                  <a:lnTo>
                    <a:pt x="1355" y="777"/>
                  </a:lnTo>
                  <a:lnTo>
                    <a:pt x="1338" y="794"/>
                  </a:lnTo>
                  <a:lnTo>
                    <a:pt x="1303" y="811"/>
                  </a:lnTo>
                  <a:lnTo>
                    <a:pt x="1267" y="829"/>
                  </a:lnTo>
                  <a:lnTo>
                    <a:pt x="1213" y="846"/>
                  </a:lnTo>
                  <a:lnTo>
                    <a:pt x="1196" y="846"/>
                  </a:lnTo>
                  <a:lnTo>
                    <a:pt x="1161" y="863"/>
                  </a:lnTo>
                  <a:lnTo>
                    <a:pt x="1125" y="863"/>
                  </a:lnTo>
                  <a:lnTo>
                    <a:pt x="1107" y="863"/>
                  </a:lnTo>
                  <a:lnTo>
                    <a:pt x="1090" y="863"/>
                  </a:lnTo>
                  <a:lnTo>
                    <a:pt x="1090" y="881"/>
                  </a:lnTo>
                  <a:lnTo>
                    <a:pt x="1090" y="898"/>
                  </a:lnTo>
                  <a:lnTo>
                    <a:pt x="1073" y="898"/>
                  </a:lnTo>
                  <a:lnTo>
                    <a:pt x="1055" y="915"/>
                  </a:lnTo>
                  <a:lnTo>
                    <a:pt x="1038" y="932"/>
                  </a:lnTo>
                  <a:lnTo>
                    <a:pt x="1038" y="952"/>
                  </a:lnTo>
                  <a:lnTo>
                    <a:pt x="1021" y="952"/>
                  </a:lnTo>
                  <a:lnTo>
                    <a:pt x="984" y="967"/>
                  </a:lnTo>
                  <a:lnTo>
                    <a:pt x="967" y="967"/>
                  </a:lnTo>
                  <a:lnTo>
                    <a:pt x="950" y="967"/>
                  </a:lnTo>
                  <a:lnTo>
                    <a:pt x="950" y="952"/>
                  </a:lnTo>
                  <a:lnTo>
                    <a:pt x="933" y="952"/>
                  </a:lnTo>
                  <a:lnTo>
                    <a:pt x="933" y="967"/>
                  </a:lnTo>
                  <a:lnTo>
                    <a:pt x="933" y="984"/>
                  </a:lnTo>
                  <a:lnTo>
                    <a:pt x="915" y="1001"/>
                  </a:lnTo>
                  <a:lnTo>
                    <a:pt x="862" y="1001"/>
                  </a:lnTo>
                  <a:lnTo>
                    <a:pt x="862" y="1019"/>
                  </a:lnTo>
                  <a:lnTo>
                    <a:pt x="862" y="1036"/>
                  </a:lnTo>
                  <a:lnTo>
                    <a:pt x="862" y="1053"/>
                  </a:lnTo>
                  <a:lnTo>
                    <a:pt x="862" y="1070"/>
                  </a:lnTo>
                  <a:lnTo>
                    <a:pt x="827" y="1070"/>
                  </a:lnTo>
                  <a:lnTo>
                    <a:pt x="827" y="1105"/>
                  </a:lnTo>
                  <a:lnTo>
                    <a:pt x="808" y="1105"/>
                  </a:lnTo>
                  <a:lnTo>
                    <a:pt x="808" y="1122"/>
                  </a:lnTo>
                  <a:lnTo>
                    <a:pt x="827" y="1157"/>
                  </a:lnTo>
                  <a:lnTo>
                    <a:pt x="808" y="1157"/>
                  </a:lnTo>
                  <a:lnTo>
                    <a:pt x="808" y="1191"/>
                  </a:lnTo>
                  <a:lnTo>
                    <a:pt x="790" y="1209"/>
                  </a:lnTo>
                  <a:lnTo>
                    <a:pt x="773" y="1209"/>
                  </a:lnTo>
                  <a:lnTo>
                    <a:pt x="773" y="1191"/>
                  </a:lnTo>
                  <a:lnTo>
                    <a:pt x="756" y="1191"/>
                  </a:lnTo>
                  <a:lnTo>
                    <a:pt x="756" y="1209"/>
                  </a:lnTo>
                  <a:lnTo>
                    <a:pt x="739" y="1191"/>
                  </a:lnTo>
                  <a:lnTo>
                    <a:pt x="721" y="1157"/>
                  </a:lnTo>
                  <a:lnTo>
                    <a:pt x="702" y="1157"/>
                  </a:lnTo>
                  <a:lnTo>
                    <a:pt x="685" y="1157"/>
                  </a:lnTo>
                  <a:lnTo>
                    <a:pt x="668" y="1157"/>
                  </a:lnTo>
                  <a:lnTo>
                    <a:pt x="650" y="1157"/>
                  </a:lnTo>
                  <a:lnTo>
                    <a:pt x="633" y="1157"/>
                  </a:lnTo>
                  <a:lnTo>
                    <a:pt x="633" y="1140"/>
                  </a:lnTo>
                  <a:lnTo>
                    <a:pt x="633" y="1122"/>
                  </a:lnTo>
                  <a:lnTo>
                    <a:pt x="616" y="1105"/>
                  </a:lnTo>
                  <a:lnTo>
                    <a:pt x="579" y="1070"/>
                  </a:lnTo>
                  <a:lnTo>
                    <a:pt x="562" y="1053"/>
                  </a:lnTo>
                  <a:lnTo>
                    <a:pt x="562" y="1036"/>
                  </a:lnTo>
                  <a:lnTo>
                    <a:pt x="579" y="1036"/>
                  </a:lnTo>
                  <a:lnTo>
                    <a:pt x="579" y="1019"/>
                  </a:lnTo>
                  <a:lnTo>
                    <a:pt x="562" y="1019"/>
                  </a:lnTo>
                  <a:lnTo>
                    <a:pt x="545" y="1019"/>
                  </a:lnTo>
                  <a:lnTo>
                    <a:pt x="545" y="1001"/>
                  </a:lnTo>
                  <a:lnTo>
                    <a:pt x="527" y="1001"/>
                  </a:lnTo>
                  <a:lnTo>
                    <a:pt x="510" y="967"/>
                  </a:lnTo>
                  <a:lnTo>
                    <a:pt x="510" y="952"/>
                  </a:lnTo>
                  <a:lnTo>
                    <a:pt x="510" y="932"/>
                  </a:lnTo>
                  <a:lnTo>
                    <a:pt x="510" y="915"/>
                  </a:lnTo>
                  <a:lnTo>
                    <a:pt x="510" y="898"/>
                  </a:lnTo>
                  <a:lnTo>
                    <a:pt x="527" y="881"/>
                  </a:lnTo>
                  <a:lnTo>
                    <a:pt x="545" y="863"/>
                  </a:lnTo>
                  <a:lnTo>
                    <a:pt x="545" y="846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69" name="Freeform 43">
              <a:extLst>
                <a:ext uri="{FF2B5EF4-FFF2-40B4-BE49-F238E27FC236}">
                  <a16:creationId xmlns:a16="http://schemas.microsoft.com/office/drawing/2014/main" id="{546A818C-D3A9-D20B-9924-69A1B58D13BB}"/>
                </a:ext>
              </a:extLst>
            </p:cNvPr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1928994" y="3501892"/>
              <a:ext cx="26782" cy="9998"/>
            </a:xfrm>
            <a:custGeom>
              <a:avLst/>
              <a:gdLst>
                <a:gd name="T0" fmla="*/ 0 w 34"/>
                <a:gd name="T1" fmla="*/ 2084 h 16"/>
                <a:gd name="T2" fmla="*/ 0 w 34"/>
                <a:gd name="T3" fmla="*/ 2084 h 16"/>
                <a:gd name="T4" fmla="*/ 8404 w 34"/>
                <a:gd name="T5" fmla="*/ 2084 h 16"/>
                <a:gd name="T6" fmla="*/ 8404 w 34"/>
                <a:gd name="T7" fmla="*/ 0 h 16"/>
                <a:gd name="T8" fmla="*/ 4202 w 34"/>
                <a:gd name="T9" fmla="*/ 0 h 16"/>
                <a:gd name="T10" fmla="*/ 4202 w 34"/>
                <a:gd name="T11" fmla="*/ 2084 h 16"/>
                <a:gd name="T12" fmla="*/ 0 w 34"/>
                <a:gd name="T13" fmla="*/ 2084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4"/>
                <a:gd name="T22" fmla="*/ 0 h 16"/>
                <a:gd name="T23" fmla="*/ 34 w 34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4" h="16">
                  <a:moveTo>
                    <a:pt x="0" y="16"/>
                  </a:moveTo>
                  <a:lnTo>
                    <a:pt x="0" y="16"/>
                  </a:lnTo>
                  <a:lnTo>
                    <a:pt x="34" y="16"/>
                  </a:lnTo>
                  <a:lnTo>
                    <a:pt x="34" y="0"/>
                  </a:lnTo>
                  <a:lnTo>
                    <a:pt x="17" y="0"/>
                  </a:lnTo>
                  <a:lnTo>
                    <a:pt x="17" y="16"/>
                  </a:lnTo>
                  <a:lnTo>
                    <a:pt x="0" y="16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70" name="Freeform 44">
              <a:extLst>
                <a:ext uri="{FF2B5EF4-FFF2-40B4-BE49-F238E27FC236}">
                  <a16:creationId xmlns:a16="http://schemas.microsoft.com/office/drawing/2014/main" id="{62580474-2E0A-36BA-D8FE-EB5934E3C366}"/>
                </a:ext>
              </a:extLst>
            </p:cNvPr>
            <p:cNvSpPr>
              <a:spLocks/>
            </p:cNvSpPr>
            <p:nvPr>
              <p:custDataLst>
                <p:tags r:id="rId56"/>
              </p:custDataLst>
            </p:nvPr>
          </p:nvSpPr>
          <p:spPr bwMode="auto">
            <a:xfrm>
              <a:off x="2480400" y="2688692"/>
              <a:ext cx="1766074" cy="1181472"/>
            </a:xfrm>
            <a:custGeom>
              <a:avLst/>
              <a:gdLst>
                <a:gd name="T0" fmla="*/ 336550 w 2338"/>
                <a:gd name="T1" fmla="*/ 284163 h 1478"/>
                <a:gd name="T2" fmla="*/ 319088 w 2338"/>
                <a:gd name="T3" fmla="*/ 284163 h 1478"/>
                <a:gd name="T4" fmla="*/ 329406 w 2338"/>
                <a:gd name="T5" fmla="*/ 274638 h 1478"/>
                <a:gd name="T6" fmla="*/ 305594 w 2338"/>
                <a:gd name="T7" fmla="*/ 258763 h 1478"/>
                <a:gd name="T8" fmla="*/ 288131 w 2338"/>
                <a:gd name="T9" fmla="*/ 239713 h 1478"/>
                <a:gd name="T10" fmla="*/ 254000 w 2338"/>
                <a:gd name="T11" fmla="*/ 242888 h 1478"/>
                <a:gd name="T12" fmla="*/ 96044 w 2338"/>
                <a:gd name="T13" fmla="*/ 239713 h 1478"/>
                <a:gd name="T14" fmla="*/ 71438 w 2338"/>
                <a:gd name="T15" fmla="*/ 223838 h 1478"/>
                <a:gd name="T16" fmla="*/ 57944 w 2338"/>
                <a:gd name="T17" fmla="*/ 197644 h 1478"/>
                <a:gd name="T18" fmla="*/ 37306 w 2338"/>
                <a:gd name="T19" fmla="*/ 156369 h 1478"/>
                <a:gd name="T20" fmla="*/ 20638 w 2338"/>
                <a:gd name="T21" fmla="*/ 153988 h 1478"/>
                <a:gd name="T22" fmla="*/ 0 w 2338"/>
                <a:gd name="T23" fmla="*/ 141288 h 1478"/>
                <a:gd name="T24" fmla="*/ 27781 w 2338"/>
                <a:gd name="T25" fmla="*/ 36513 h 1478"/>
                <a:gd name="T26" fmla="*/ 61119 w 2338"/>
                <a:gd name="T27" fmla="*/ 20638 h 1478"/>
                <a:gd name="T28" fmla="*/ 78581 w 2338"/>
                <a:gd name="T29" fmla="*/ 23019 h 1478"/>
                <a:gd name="T30" fmla="*/ 88900 w 2338"/>
                <a:gd name="T31" fmla="*/ 33338 h 1478"/>
                <a:gd name="T32" fmla="*/ 113506 w 2338"/>
                <a:gd name="T33" fmla="*/ 33338 h 1478"/>
                <a:gd name="T34" fmla="*/ 144463 w 2338"/>
                <a:gd name="T35" fmla="*/ 42069 h 1478"/>
                <a:gd name="T36" fmla="*/ 150813 w 2338"/>
                <a:gd name="T37" fmla="*/ 58738 h 1478"/>
                <a:gd name="T38" fmla="*/ 174625 w 2338"/>
                <a:gd name="T39" fmla="*/ 49213 h 1478"/>
                <a:gd name="T40" fmla="*/ 213519 w 2338"/>
                <a:gd name="T41" fmla="*/ 55563 h 1478"/>
                <a:gd name="T42" fmla="*/ 233363 w 2338"/>
                <a:gd name="T43" fmla="*/ 45244 h 1478"/>
                <a:gd name="T44" fmla="*/ 240506 w 2338"/>
                <a:gd name="T45" fmla="*/ 36513 h 1478"/>
                <a:gd name="T46" fmla="*/ 243681 w 2338"/>
                <a:gd name="T47" fmla="*/ 58738 h 1478"/>
                <a:gd name="T48" fmla="*/ 254000 w 2338"/>
                <a:gd name="T49" fmla="*/ 33338 h 1478"/>
                <a:gd name="T50" fmla="*/ 254000 w 2338"/>
                <a:gd name="T51" fmla="*/ 0 h 1478"/>
                <a:gd name="T52" fmla="*/ 278606 w 2338"/>
                <a:gd name="T53" fmla="*/ 45244 h 1478"/>
                <a:gd name="T54" fmla="*/ 292100 w 2338"/>
                <a:gd name="T55" fmla="*/ 61913 h 1478"/>
                <a:gd name="T56" fmla="*/ 302419 w 2338"/>
                <a:gd name="T57" fmla="*/ 26988 h 1478"/>
                <a:gd name="T58" fmla="*/ 323056 w 2338"/>
                <a:gd name="T59" fmla="*/ 36513 h 1478"/>
                <a:gd name="T60" fmla="*/ 323056 w 2338"/>
                <a:gd name="T61" fmla="*/ 58738 h 1478"/>
                <a:gd name="T62" fmla="*/ 302419 w 2338"/>
                <a:gd name="T63" fmla="*/ 71438 h 1478"/>
                <a:gd name="T64" fmla="*/ 292100 w 2338"/>
                <a:gd name="T65" fmla="*/ 89694 h 1478"/>
                <a:gd name="T66" fmla="*/ 274638 w 2338"/>
                <a:gd name="T67" fmla="*/ 115888 h 1478"/>
                <a:gd name="T68" fmla="*/ 257969 w 2338"/>
                <a:gd name="T69" fmla="*/ 128588 h 1478"/>
                <a:gd name="T70" fmla="*/ 261144 w 2338"/>
                <a:gd name="T71" fmla="*/ 156369 h 1478"/>
                <a:gd name="T72" fmla="*/ 288131 w 2338"/>
                <a:gd name="T73" fmla="*/ 182563 h 1478"/>
                <a:gd name="T74" fmla="*/ 319088 w 2338"/>
                <a:gd name="T75" fmla="*/ 211138 h 1478"/>
                <a:gd name="T76" fmla="*/ 339725 w 2338"/>
                <a:gd name="T77" fmla="*/ 192088 h 1478"/>
                <a:gd name="T78" fmla="*/ 339725 w 2338"/>
                <a:gd name="T79" fmla="*/ 153988 h 1478"/>
                <a:gd name="T80" fmla="*/ 339725 w 2338"/>
                <a:gd name="T81" fmla="*/ 138113 h 1478"/>
                <a:gd name="T82" fmla="*/ 343694 w 2338"/>
                <a:gd name="T83" fmla="*/ 119063 h 1478"/>
                <a:gd name="T84" fmla="*/ 374650 w 2338"/>
                <a:gd name="T85" fmla="*/ 131763 h 1478"/>
                <a:gd name="T86" fmla="*/ 398463 w 2338"/>
                <a:gd name="T87" fmla="*/ 163513 h 1478"/>
                <a:gd name="T88" fmla="*/ 408781 w 2338"/>
                <a:gd name="T89" fmla="*/ 146844 h 1478"/>
                <a:gd name="T90" fmla="*/ 430213 w 2338"/>
                <a:gd name="T91" fmla="*/ 182563 h 1478"/>
                <a:gd name="T92" fmla="*/ 446881 w 2338"/>
                <a:gd name="T93" fmla="*/ 192088 h 1478"/>
                <a:gd name="T94" fmla="*/ 454025 w 2338"/>
                <a:gd name="T95" fmla="*/ 204788 h 1478"/>
                <a:gd name="T96" fmla="*/ 464344 w 2338"/>
                <a:gd name="T97" fmla="*/ 217488 h 1478"/>
                <a:gd name="T98" fmla="*/ 430213 w 2338"/>
                <a:gd name="T99" fmla="*/ 233363 h 1478"/>
                <a:gd name="T100" fmla="*/ 395288 w 2338"/>
                <a:gd name="T101" fmla="*/ 239713 h 1478"/>
                <a:gd name="T102" fmla="*/ 392113 w 2338"/>
                <a:gd name="T103" fmla="*/ 246063 h 1478"/>
                <a:gd name="T104" fmla="*/ 416719 w 2338"/>
                <a:gd name="T105" fmla="*/ 246063 h 1478"/>
                <a:gd name="T106" fmla="*/ 412750 w 2338"/>
                <a:gd name="T107" fmla="*/ 249238 h 1478"/>
                <a:gd name="T108" fmla="*/ 430213 w 2338"/>
                <a:gd name="T109" fmla="*/ 265113 h 1478"/>
                <a:gd name="T110" fmla="*/ 440531 w 2338"/>
                <a:gd name="T111" fmla="*/ 261938 h 1478"/>
                <a:gd name="T112" fmla="*/ 408781 w 2338"/>
                <a:gd name="T113" fmla="*/ 280988 h 1478"/>
                <a:gd name="T114" fmla="*/ 412750 w 2338"/>
                <a:gd name="T115" fmla="*/ 265113 h 1478"/>
                <a:gd name="T116" fmla="*/ 395288 w 2338"/>
                <a:gd name="T117" fmla="*/ 255588 h 1478"/>
                <a:gd name="T118" fmla="*/ 381794 w 2338"/>
                <a:gd name="T119" fmla="*/ 268288 h 1478"/>
                <a:gd name="T120" fmla="*/ 346869 w 2338"/>
                <a:gd name="T121" fmla="*/ 277813 h 147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38"/>
                <a:gd name="T184" fmla="*/ 0 h 1478"/>
                <a:gd name="T185" fmla="*/ 2338 w 2338"/>
                <a:gd name="T186" fmla="*/ 1478 h 147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38" h="1478">
                  <a:moveTo>
                    <a:pt x="1682" y="1415"/>
                  </a:moveTo>
                  <a:lnTo>
                    <a:pt x="1682" y="1415"/>
                  </a:lnTo>
                  <a:lnTo>
                    <a:pt x="1697" y="1415"/>
                  </a:lnTo>
                  <a:lnTo>
                    <a:pt x="1697" y="1430"/>
                  </a:lnTo>
                  <a:lnTo>
                    <a:pt x="1628" y="1447"/>
                  </a:lnTo>
                  <a:lnTo>
                    <a:pt x="1611" y="1463"/>
                  </a:lnTo>
                  <a:lnTo>
                    <a:pt x="1576" y="1478"/>
                  </a:lnTo>
                  <a:lnTo>
                    <a:pt x="1611" y="1430"/>
                  </a:lnTo>
                  <a:lnTo>
                    <a:pt x="1594" y="1430"/>
                  </a:lnTo>
                  <a:lnTo>
                    <a:pt x="1628" y="1415"/>
                  </a:lnTo>
                  <a:lnTo>
                    <a:pt x="1628" y="1351"/>
                  </a:lnTo>
                  <a:lnTo>
                    <a:pt x="1663" y="1382"/>
                  </a:lnTo>
                  <a:lnTo>
                    <a:pt x="1682" y="1367"/>
                  </a:lnTo>
                  <a:lnTo>
                    <a:pt x="1645" y="1334"/>
                  </a:lnTo>
                  <a:lnTo>
                    <a:pt x="1559" y="1319"/>
                  </a:lnTo>
                  <a:lnTo>
                    <a:pt x="1542" y="1303"/>
                  </a:lnTo>
                  <a:lnTo>
                    <a:pt x="1525" y="1255"/>
                  </a:lnTo>
                  <a:lnTo>
                    <a:pt x="1507" y="1255"/>
                  </a:lnTo>
                  <a:lnTo>
                    <a:pt x="1490" y="1223"/>
                  </a:lnTo>
                  <a:lnTo>
                    <a:pt x="1455" y="1207"/>
                  </a:lnTo>
                  <a:lnTo>
                    <a:pt x="1404" y="1255"/>
                  </a:lnTo>
                  <a:lnTo>
                    <a:pt x="1352" y="1255"/>
                  </a:lnTo>
                  <a:lnTo>
                    <a:pt x="1317" y="1223"/>
                  </a:lnTo>
                  <a:lnTo>
                    <a:pt x="1281" y="1223"/>
                  </a:lnTo>
                  <a:lnTo>
                    <a:pt x="1265" y="1190"/>
                  </a:lnTo>
                  <a:lnTo>
                    <a:pt x="1248" y="1207"/>
                  </a:lnTo>
                  <a:lnTo>
                    <a:pt x="501" y="1207"/>
                  </a:lnTo>
                  <a:lnTo>
                    <a:pt x="486" y="1207"/>
                  </a:lnTo>
                  <a:lnTo>
                    <a:pt x="486" y="1190"/>
                  </a:lnTo>
                  <a:lnTo>
                    <a:pt x="467" y="1190"/>
                  </a:lnTo>
                  <a:lnTo>
                    <a:pt x="415" y="1159"/>
                  </a:lnTo>
                  <a:lnTo>
                    <a:pt x="363" y="1127"/>
                  </a:lnTo>
                  <a:lnTo>
                    <a:pt x="346" y="1079"/>
                  </a:lnTo>
                  <a:lnTo>
                    <a:pt x="328" y="1063"/>
                  </a:lnTo>
                  <a:lnTo>
                    <a:pt x="277" y="1015"/>
                  </a:lnTo>
                  <a:lnTo>
                    <a:pt x="294" y="998"/>
                  </a:lnTo>
                  <a:lnTo>
                    <a:pt x="294" y="968"/>
                  </a:lnTo>
                  <a:lnTo>
                    <a:pt x="294" y="920"/>
                  </a:lnTo>
                  <a:lnTo>
                    <a:pt x="242" y="887"/>
                  </a:lnTo>
                  <a:lnTo>
                    <a:pt x="188" y="791"/>
                  </a:lnTo>
                  <a:lnTo>
                    <a:pt x="173" y="791"/>
                  </a:lnTo>
                  <a:lnTo>
                    <a:pt x="156" y="743"/>
                  </a:lnTo>
                  <a:lnTo>
                    <a:pt x="121" y="758"/>
                  </a:lnTo>
                  <a:lnTo>
                    <a:pt x="104" y="776"/>
                  </a:lnTo>
                  <a:lnTo>
                    <a:pt x="52" y="728"/>
                  </a:lnTo>
                  <a:lnTo>
                    <a:pt x="52" y="710"/>
                  </a:lnTo>
                  <a:lnTo>
                    <a:pt x="0" y="728"/>
                  </a:lnTo>
                  <a:lnTo>
                    <a:pt x="0" y="710"/>
                  </a:lnTo>
                  <a:lnTo>
                    <a:pt x="0" y="152"/>
                  </a:lnTo>
                  <a:lnTo>
                    <a:pt x="33" y="152"/>
                  </a:lnTo>
                  <a:lnTo>
                    <a:pt x="137" y="215"/>
                  </a:lnTo>
                  <a:lnTo>
                    <a:pt x="137" y="183"/>
                  </a:lnTo>
                  <a:lnTo>
                    <a:pt x="156" y="167"/>
                  </a:lnTo>
                  <a:lnTo>
                    <a:pt x="188" y="152"/>
                  </a:lnTo>
                  <a:lnTo>
                    <a:pt x="208" y="167"/>
                  </a:lnTo>
                  <a:lnTo>
                    <a:pt x="311" y="104"/>
                  </a:lnTo>
                  <a:lnTo>
                    <a:pt x="311" y="135"/>
                  </a:lnTo>
                  <a:lnTo>
                    <a:pt x="346" y="135"/>
                  </a:lnTo>
                  <a:lnTo>
                    <a:pt x="363" y="87"/>
                  </a:lnTo>
                  <a:lnTo>
                    <a:pt x="398" y="119"/>
                  </a:lnTo>
                  <a:lnTo>
                    <a:pt x="398" y="152"/>
                  </a:lnTo>
                  <a:lnTo>
                    <a:pt x="434" y="167"/>
                  </a:lnTo>
                  <a:lnTo>
                    <a:pt x="449" y="135"/>
                  </a:lnTo>
                  <a:lnTo>
                    <a:pt x="449" y="167"/>
                  </a:lnTo>
                  <a:lnTo>
                    <a:pt x="486" y="167"/>
                  </a:lnTo>
                  <a:lnTo>
                    <a:pt x="486" y="135"/>
                  </a:lnTo>
                  <a:lnTo>
                    <a:pt x="538" y="135"/>
                  </a:lnTo>
                  <a:lnTo>
                    <a:pt x="570" y="167"/>
                  </a:lnTo>
                  <a:lnTo>
                    <a:pt x="605" y="183"/>
                  </a:lnTo>
                  <a:lnTo>
                    <a:pt x="641" y="200"/>
                  </a:lnTo>
                  <a:lnTo>
                    <a:pt x="676" y="200"/>
                  </a:lnTo>
                  <a:lnTo>
                    <a:pt x="728" y="215"/>
                  </a:lnTo>
                  <a:lnTo>
                    <a:pt x="728" y="248"/>
                  </a:lnTo>
                  <a:lnTo>
                    <a:pt x="709" y="263"/>
                  </a:lnTo>
                  <a:lnTo>
                    <a:pt x="709" y="279"/>
                  </a:lnTo>
                  <a:lnTo>
                    <a:pt x="760" y="296"/>
                  </a:lnTo>
                  <a:lnTo>
                    <a:pt x="849" y="263"/>
                  </a:lnTo>
                  <a:lnTo>
                    <a:pt x="901" y="296"/>
                  </a:lnTo>
                  <a:lnTo>
                    <a:pt x="901" y="263"/>
                  </a:lnTo>
                  <a:lnTo>
                    <a:pt x="883" y="248"/>
                  </a:lnTo>
                  <a:lnTo>
                    <a:pt x="901" y="231"/>
                  </a:lnTo>
                  <a:lnTo>
                    <a:pt x="970" y="200"/>
                  </a:lnTo>
                  <a:lnTo>
                    <a:pt x="987" y="248"/>
                  </a:lnTo>
                  <a:lnTo>
                    <a:pt x="1073" y="279"/>
                  </a:lnTo>
                  <a:lnTo>
                    <a:pt x="1125" y="296"/>
                  </a:lnTo>
                  <a:lnTo>
                    <a:pt x="1162" y="296"/>
                  </a:lnTo>
                  <a:lnTo>
                    <a:pt x="1162" y="248"/>
                  </a:lnTo>
                  <a:lnTo>
                    <a:pt x="1177" y="231"/>
                  </a:lnTo>
                  <a:lnTo>
                    <a:pt x="1125" y="200"/>
                  </a:lnTo>
                  <a:lnTo>
                    <a:pt x="1162" y="183"/>
                  </a:lnTo>
                  <a:lnTo>
                    <a:pt x="1177" y="135"/>
                  </a:lnTo>
                  <a:lnTo>
                    <a:pt x="1214" y="183"/>
                  </a:lnTo>
                  <a:lnTo>
                    <a:pt x="1248" y="215"/>
                  </a:lnTo>
                  <a:lnTo>
                    <a:pt x="1214" y="248"/>
                  </a:lnTo>
                  <a:lnTo>
                    <a:pt x="1214" y="279"/>
                  </a:lnTo>
                  <a:lnTo>
                    <a:pt x="1229" y="296"/>
                  </a:lnTo>
                  <a:lnTo>
                    <a:pt x="1248" y="263"/>
                  </a:lnTo>
                  <a:lnTo>
                    <a:pt x="1281" y="231"/>
                  </a:lnTo>
                  <a:lnTo>
                    <a:pt x="1265" y="200"/>
                  </a:lnTo>
                  <a:lnTo>
                    <a:pt x="1281" y="167"/>
                  </a:lnTo>
                  <a:lnTo>
                    <a:pt x="1248" y="135"/>
                  </a:lnTo>
                  <a:lnTo>
                    <a:pt x="1214" y="104"/>
                  </a:lnTo>
                  <a:lnTo>
                    <a:pt x="1229" y="8"/>
                  </a:lnTo>
                  <a:lnTo>
                    <a:pt x="1283" y="0"/>
                  </a:lnTo>
                  <a:lnTo>
                    <a:pt x="1352" y="119"/>
                  </a:lnTo>
                  <a:lnTo>
                    <a:pt x="1333" y="152"/>
                  </a:lnTo>
                  <a:lnTo>
                    <a:pt x="1352" y="167"/>
                  </a:lnTo>
                  <a:lnTo>
                    <a:pt x="1404" y="231"/>
                  </a:lnTo>
                  <a:lnTo>
                    <a:pt x="1421" y="183"/>
                  </a:lnTo>
                  <a:lnTo>
                    <a:pt x="1455" y="215"/>
                  </a:lnTo>
                  <a:lnTo>
                    <a:pt x="1436" y="279"/>
                  </a:lnTo>
                  <a:lnTo>
                    <a:pt x="1473" y="311"/>
                  </a:lnTo>
                  <a:lnTo>
                    <a:pt x="1490" y="311"/>
                  </a:lnTo>
                  <a:lnTo>
                    <a:pt x="1490" y="279"/>
                  </a:lnTo>
                  <a:lnTo>
                    <a:pt x="1525" y="263"/>
                  </a:lnTo>
                  <a:lnTo>
                    <a:pt x="1525" y="135"/>
                  </a:lnTo>
                  <a:lnTo>
                    <a:pt x="1559" y="135"/>
                  </a:lnTo>
                  <a:lnTo>
                    <a:pt x="1594" y="152"/>
                  </a:lnTo>
                  <a:lnTo>
                    <a:pt x="1594" y="183"/>
                  </a:lnTo>
                  <a:lnTo>
                    <a:pt x="1628" y="183"/>
                  </a:lnTo>
                  <a:lnTo>
                    <a:pt x="1628" y="231"/>
                  </a:lnTo>
                  <a:lnTo>
                    <a:pt x="1594" y="248"/>
                  </a:lnTo>
                  <a:lnTo>
                    <a:pt x="1594" y="279"/>
                  </a:lnTo>
                  <a:lnTo>
                    <a:pt x="1628" y="296"/>
                  </a:lnTo>
                  <a:lnTo>
                    <a:pt x="1628" y="327"/>
                  </a:lnTo>
                  <a:lnTo>
                    <a:pt x="1559" y="392"/>
                  </a:lnTo>
                  <a:lnTo>
                    <a:pt x="1525" y="375"/>
                  </a:lnTo>
                  <a:lnTo>
                    <a:pt x="1525" y="359"/>
                  </a:lnTo>
                  <a:lnTo>
                    <a:pt x="1490" y="359"/>
                  </a:lnTo>
                  <a:lnTo>
                    <a:pt x="1507" y="392"/>
                  </a:lnTo>
                  <a:lnTo>
                    <a:pt x="1473" y="423"/>
                  </a:lnTo>
                  <a:lnTo>
                    <a:pt x="1473" y="455"/>
                  </a:lnTo>
                  <a:lnTo>
                    <a:pt x="1436" y="518"/>
                  </a:lnTo>
                  <a:lnTo>
                    <a:pt x="1404" y="518"/>
                  </a:lnTo>
                  <a:lnTo>
                    <a:pt x="1369" y="551"/>
                  </a:lnTo>
                  <a:lnTo>
                    <a:pt x="1384" y="584"/>
                  </a:lnTo>
                  <a:lnTo>
                    <a:pt x="1333" y="599"/>
                  </a:lnTo>
                  <a:lnTo>
                    <a:pt x="1333" y="632"/>
                  </a:lnTo>
                  <a:lnTo>
                    <a:pt x="1317" y="632"/>
                  </a:lnTo>
                  <a:lnTo>
                    <a:pt x="1300" y="647"/>
                  </a:lnTo>
                  <a:lnTo>
                    <a:pt x="1265" y="728"/>
                  </a:lnTo>
                  <a:lnTo>
                    <a:pt x="1265" y="776"/>
                  </a:lnTo>
                  <a:lnTo>
                    <a:pt x="1281" y="791"/>
                  </a:lnTo>
                  <a:lnTo>
                    <a:pt x="1317" y="791"/>
                  </a:lnTo>
                  <a:lnTo>
                    <a:pt x="1333" y="887"/>
                  </a:lnTo>
                  <a:lnTo>
                    <a:pt x="1369" y="872"/>
                  </a:lnTo>
                  <a:lnTo>
                    <a:pt x="1421" y="887"/>
                  </a:lnTo>
                  <a:lnTo>
                    <a:pt x="1455" y="920"/>
                  </a:lnTo>
                  <a:lnTo>
                    <a:pt x="1525" y="950"/>
                  </a:lnTo>
                  <a:lnTo>
                    <a:pt x="1594" y="950"/>
                  </a:lnTo>
                  <a:lnTo>
                    <a:pt x="1611" y="968"/>
                  </a:lnTo>
                  <a:lnTo>
                    <a:pt x="1611" y="1063"/>
                  </a:lnTo>
                  <a:lnTo>
                    <a:pt x="1682" y="1127"/>
                  </a:lnTo>
                  <a:lnTo>
                    <a:pt x="1715" y="1094"/>
                  </a:lnTo>
                  <a:lnTo>
                    <a:pt x="1682" y="983"/>
                  </a:lnTo>
                  <a:lnTo>
                    <a:pt x="1715" y="968"/>
                  </a:lnTo>
                  <a:lnTo>
                    <a:pt x="1749" y="920"/>
                  </a:lnTo>
                  <a:lnTo>
                    <a:pt x="1734" y="824"/>
                  </a:lnTo>
                  <a:lnTo>
                    <a:pt x="1697" y="791"/>
                  </a:lnTo>
                  <a:lnTo>
                    <a:pt x="1715" y="776"/>
                  </a:lnTo>
                  <a:lnTo>
                    <a:pt x="1734" y="776"/>
                  </a:lnTo>
                  <a:lnTo>
                    <a:pt x="1734" y="758"/>
                  </a:lnTo>
                  <a:lnTo>
                    <a:pt x="1734" y="710"/>
                  </a:lnTo>
                  <a:lnTo>
                    <a:pt x="1715" y="695"/>
                  </a:lnTo>
                  <a:lnTo>
                    <a:pt x="1734" y="647"/>
                  </a:lnTo>
                  <a:lnTo>
                    <a:pt x="1715" y="632"/>
                  </a:lnTo>
                  <a:lnTo>
                    <a:pt x="1715" y="614"/>
                  </a:lnTo>
                  <a:lnTo>
                    <a:pt x="1734" y="599"/>
                  </a:lnTo>
                  <a:lnTo>
                    <a:pt x="1786" y="614"/>
                  </a:lnTo>
                  <a:lnTo>
                    <a:pt x="1837" y="599"/>
                  </a:lnTo>
                  <a:lnTo>
                    <a:pt x="1905" y="647"/>
                  </a:lnTo>
                  <a:lnTo>
                    <a:pt x="1889" y="662"/>
                  </a:lnTo>
                  <a:lnTo>
                    <a:pt x="1905" y="680"/>
                  </a:lnTo>
                  <a:lnTo>
                    <a:pt x="1956" y="680"/>
                  </a:lnTo>
                  <a:lnTo>
                    <a:pt x="1956" y="776"/>
                  </a:lnTo>
                  <a:lnTo>
                    <a:pt x="2008" y="824"/>
                  </a:lnTo>
                  <a:lnTo>
                    <a:pt x="2027" y="806"/>
                  </a:lnTo>
                  <a:lnTo>
                    <a:pt x="2060" y="776"/>
                  </a:lnTo>
                  <a:lnTo>
                    <a:pt x="2079" y="758"/>
                  </a:lnTo>
                  <a:lnTo>
                    <a:pt x="2060" y="743"/>
                  </a:lnTo>
                  <a:lnTo>
                    <a:pt x="2079" y="710"/>
                  </a:lnTo>
                  <a:lnTo>
                    <a:pt x="2183" y="872"/>
                  </a:lnTo>
                  <a:lnTo>
                    <a:pt x="2166" y="887"/>
                  </a:lnTo>
                  <a:lnTo>
                    <a:pt x="2166" y="920"/>
                  </a:lnTo>
                  <a:lnTo>
                    <a:pt x="2200" y="935"/>
                  </a:lnTo>
                  <a:lnTo>
                    <a:pt x="2200" y="950"/>
                  </a:lnTo>
                  <a:lnTo>
                    <a:pt x="2235" y="968"/>
                  </a:lnTo>
                  <a:lnTo>
                    <a:pt x="2252" y="968"/>
                  </a:lnTo>
                  <a:lnTo>
                    <a:pt x="2287" y="983"/>
                  </a:lnTo>
                  <a:lnTo>
                    <a:pt x="2252" y="998"/>
                  </a:lnTo>
                  <a:lnTo>
                    <a:pt x="2287" y="998"/>
                  </a:lnTo>
                  <a:lnTo>
                    <a:pt x="2287" y="1031"/>
                  </a:lnTo>
                  <a:lnTo>
                    <a:pt x="2306" y="1031"/>
                  </a:lnTo>
                  <a:lnTo>
                    <a:pt x="2321" y="1046"/>
                  </a:lnTo>
                  <a:lnTo>
                    <a:pt x="2321" y="1063"/>
                  </a:lnTo>
                  <a:lnTo>
                    <a:pt x="2338" y="1094"/>
                  </a:lnTo>
                  <a:lnTo>
                    <a:pt x="2306" y="1111"/>
                  </a:lnTo>
                  <a:lnTo>
                    <a:pt x="2252" y="1127"/>
                  </a:lnTo>
                  <a:lnTo>
                    <a:pt x="2218" y="1175"/>
                  </a:lnTo>
                  <a:lnTo>
                    <a:pt x="2166" y="1175"/>
                  </a:lnTo>
                  <a:lnTo>
                    <a:pt x="2114" y="1159"/>
                  </a:lnTo>
                  <a:lnTo>
                    <a:pt x="2027" y="1175"/>
                  </a:lnTo>
                  <a:lnTo>
                    <a:pt x="2008" y="1207"/>
                  </a:lnTo>
                  <a:lnTo>
                    <a:pt x="1993" y="1207"/>
                  </a:lnTo>
                  <a:lnTo>
                    <a:pt x="1956" y="1223"/>
                  </a:lnTo>
                  <a:lnTo>
                    <a:pt x="1905" y="1286"/>
                  </a:lnTo>
                  <a:lnTo>
                    <a:pt x="1924" y="1286"/>
                  </a:lnTo>
                  <a:lnTo>
                    <a:pt x="1976" y="1238"/>
                  </a:lnTo>
                  <a:lnTo>
                    <a:pt x="2027" y="1207"/>
                  </a:lnTo>
                  <a:lnTo>
                    <a:pt x="2079" y="1207"/>
                  </a:lnTo>
                  <a:lnTo>
                    <a:pt x="2097" y="1207"/>
                  </a:lnTo>
                  <a:lnTo>
                    <a:pt x="2097" y="1238"/>
                  </a:lnTo>
                  <a:lnTo>
                    <a:pt x="2060" y="1255"/>
                  </a:lnTo>
                  <a:lnTo>
                    <a:pt x="2045" y="1255"/>
                  </a:lnTo>
                  <a:lnTo>
                    <a:pt x="2060" y="1271"/>
                  </a:lnTo>
                  <a:lnTo>
                    <a:pt x="2079" y="1255"/>
                  </a:lnTo>
                  <a:lnTo>
                    <a:pt x="2079" y="1303"/>
                  </a:lnTo>
                  <a:lnTo>
                    <a:pt x="2097" y="1319"/>
                  </a:lnTo>
                  <a:lnTo>
                    <a:pt x="2131" y="1334"/>
                  </a:lnTo>
                  <a:lnTo>
                    <a:pt x="2166" y="1334"/>
                  </a:lnTo>
                  <a:lnTo>
                    <a:pt x="2166" y="1319"/>
                  </a:lnTo>
                  <a:lnTo>
                    <a:pt x="2200" y="1286"/>
                  </a:lnTo>
                  <a:lnTo>
                    <a:pt x="2200" y="1319"/>
                  </a:lnTo>
                  <a:lnTo>
                    <a:pt x="2218" y="1319"/>
                  </a:lnTo>
                  <a:lnTo>
                    <a:pt x="2183" y="1334"/>
                  </a:lnTo>
                  <a:lnTo>
                    <a:pt x="2183" y="1351"/>
                  </a:lnTo>
                  <a:lnTo>
                    <a:pt x="2097" y="1382"/>
                  </a:lnTo>
                  <a:lnTo>
                    <a:pt x="2060" y="1415"/>
                  </a:lnTo>
                  <a:lnTo>
                    <a:pt x="2045" y="1382"/>
                  </a:lnTo>
                  <a:lnTo>
                    <a:pt x="2097" y="1351"/>
                  </a:lnTo>
                  <a:lnTo>
                    <a:pt x="2079" y="1351"/>
                  </a:lnTo>
                  <a:lnTo>
                    <a:pt x="2079" y="1334"/>
                  </a:lnTo>
                  <a:lnTo>
                    <a:pt x="2045" y="1351"/>
                  </a:lnTo>
                  <a:lnTo>
                    <a:pt x="2027" y="1351"/>
                  </a:lnTo>
                  <a:lnTo>
                    <a:pt x="2008" y="1334"/>
                  </a:lnTo>
                  <a:lnTo>
                    <a:pt x="1993" y="1286"/>
                  </a:lnTo>
                  <a:lnTo>
                    <a:pt x="1993" y="1271"/>
                  </a:lnTo>
                  <a:lnTo>
                    <a:pt x="1976" y="1286"/>
                  </a:lnTo>
                  <a:lnTo>
                    <a:pt x="1956" y="1271"/>
                  </a:lnTo>
                  <a:lnTo>
                    <a:pt x="1924" y="1351"/>
                  </a:lnTo>
                  <a:lnTo>
                    <a:pt x="1889" y="1367"/>
                  </a:lnTo>
                  <a:lnTo>
                    <a:pt x="1801" y="1367"/>
                  </a:lnTo>
                  <a:lnTo>
                    <a:pt x="1766" y="1382"/>
                  </a:lnTo>
                  <a:lnTo>
                    <a:pt x="1749" y="1399"/>
                  </a:lnTo>
                  <a:lnTo>
                    <a:pt x="1682" y="1415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71" name="Freeform 45">
              <a:extLst>
                <a:ext uri="{FF2B5EF4-FFF2-40B4-BE49-F238E27FC236}">
                  <a16:creationId xmlns:a16="http://schemas.microsoft.com/office/drawing/2014/main" id="{A2DE185B-685C-A99A-1BC9-24E105B5D5CA}"/>
                </a:ext>
              </a:extLst>
            </p:cNvPr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3906177" y="4381747"/>
              <a:ext cx="78772" cy="51658"/>
            </a:xfrm>
            <a:custGeom>
              <a:avLst/>
              <a:gdLst>
                <a:gd name="T0" fmla="*/ 0 w 104"/>
                <a:gd name="T1" fmla="*/ 9676 h 63"/>
                <a:gd name="T2" fmla="*/ 0 w 104"/>
                <a:gd name="T3" fmla="*/ 9676 h 63"/>
                <a:gd name="T4" fmla="*/ 0 w 104"/>
                <a:gd name="T5" fmla="*/ 0 h 63"/>
                <a:gd name="T6" fmla="*/ 10319 w 104"/>
                <a:gd name="T7" fmla="*/ 0 h 63"/>
                <a:gd name="T8" fmla="*/ 10319 w 104"/>
                <a:gd name="T9" fmla="*/ 3225 h 63"/>
                <a:gd name="T10" fmla="*/ 14288 w 104"/>
                <a:gd name="T11" fmla="*/ 3225 h 63"/>
                <a:gd name="T12" fmla="*/ 20638 w 104"/>
                <a:gd name="T13" fmla="*/ 6451 h 63"/>
                <a:gd name="T14" fmla="*/ 17463 w 104"/>
                <a:gd name="T15" fmla="*/ 9676 h 63"/>
                <a:gd name="T16" fmla="*/ 17463 w 104"/>
                <a:gd name="T17" fmla="*/ 6451 h 63"/>
                <a:gd name="T18" fmla="*/ 7144 w 104"/>
                <a:gd name="T19" fmla="*/ 9676 h 63"/>
                <a:gd name="T20" fmla="*/ 7144 w 104"/>
                <a:gd name="T21" fmla="*/ 6451 h 63"/>
                <a:gd name="T22" fmla="*/ 3969 w 104"/>
                <a:gd name="T23" fmla="*/ 9676 h 63"/>
                <a:gd name="T24" fmla="*/ 3969 w 104"/>
                <a:gd name="T25" fmla="*/ 12902 h 63"/>
                <a:gd name="T26" fmla="*/ 0 w 104"/>
                <a:gd name="T27" fmla="*/ 9676 h 6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04"/>
                <a:gd name="T43" fmla="*/ 0 h 63"/>
                <a:gd name="T44" fmla="*/ 104 w 104"/>
                <a:gd name="T45" fmla="*/ 63 h 63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04" h="63">
                  <a:moveTo>
                    <a:pt x="0" y="48"/>
                  </a:moveTo>
                  <a:lnTo>
                    <a:pt x="0" y="48"/>
                  </a:lnTo>
                  <a:lnTo>
                    <a:pt x="0" y="0"/>
                  </a:lnTo>
                  <a:lnTo>
                    <a:pt x="52" y="0"/>
                  </a:lnTo>
                  <a:lnTo>
                    <a:pt x="52" y="15"/>
                  </a:lnTo>
                  <a:lnTo>
                    <a:pt x="69" y="15"/>
                  </a:lnTo>
                  <a:lnTo>
                    <a:pt x="104" y="31"/>
                  </a:lnTo>
                  <a:lnTo>
                    <a:pt x="87" y="48"/>
                  </a:lnTo>
                  <a:lnTo>
                    <a:pt x="87" y="31"/>
                  </a:lnTo>
                  <a:lnTo>
                    <a:pt x="35" y="48"/>
                  </a:lnTo>
                  <a:lnTo>
                    <a:pt x="35" y="31"/>
                  </a:lnTo>
                  <a:lnTo>
                    <a:pt x="18" y="48"/>
                  </a:lnTo>
                  <a:lnTo>
                    <a:pt x="18" y="63"/>
                  </a:lnTo>
                  <a:lnTo>
                    <a:pt x="0" y="48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72" name="Freeform 46">
              <a:extLst>
                <a:ext uri="{FF2B5EF4-FFF2-40B4-BE49-F238E27FC236}">
                  <a16:creationId xmlns:a16="http://schemas.microsoft.com/office/drawing/2014/main" id="{309C2928-B4E3-5058-0166-155E450EE529}"/>
                </a:ext>
              </a:extLst>
            </p:cNvPr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3852612" y="4381747"/>
              <a:ext cx="53565" cy="38326"/>
            </a:xfrm>
            <a:custGeom>
              <a:avLst/>
              <a:gdLst>
                <a:gd name="T0" fmla="*/ 14495 w 69"/>
                <a:gd name="T1" fmla="*/ 9525 h 48"/>
                <a:gd name="T2" fmla="*/ 14495 w 69"/>
                <a:gd name="T3" fmla="*/ 9525 h 48"/>
                <a:gd name="T4" fmla="*/ 14495 w 69"/>
                <a:gd name="T5" fmla="*/ 0 h 48"/>
                <a:gd name="T6" fmla="*/ 7247 w 69"/>
                <a:gd name="T7" fmla="*/ 0 h 48"/>
                <a:gd name="T8" fmla="*/ 10468 w 69"/>
                <a:gd name="T9" fmla="*/ 5556 h 48"/>
                <a:gd name="T10" fmla="*/ 0 w 69"/>
                <a:gd name="T11" fmla="*/ 9525 h 48"/>
                <a:gd name="T12" fmla="*/ 4026 w 69"/>
                <a:gd name="T13" fmla="*/ 9525 h 48"/>
                <a:gd name="T14" fmla="*/ 14495 w 69"/>
                <a:gd name="T15" fmla="*/ 9525 h 4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9"/>
                <a:gd name="T25" fmla="*/ 0 h 48"/>
                <a:gd name="T26" fmla="*/ 69 w 69"/>
                <a:gd name="T27" fmla="*/ 48 h 4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9" h="48">
                  <a:moveTo>
                    <a:pt x="69" y="48"/>
                  </a:moveTo>
                  <a:lnTo>
                    <a:pt x="69" y="48"/>
                  </a:lnTo>
                  <a:lnTo>
                    <a:pt x="69" y="0"/>
                  </a:lnTo>
                  <a:lnTo>
                    <a:pt x="35" y="0"/>
                  </a:lnTo>
                  <a:lnTo>
                    <a:pt x="52" y="31"/>
                  </a:lnTo>
                  <a:lnTo>
                    <a:pt x="0" y="48"/>
                  </a:lnTo>
                  <a:lnTo>
                    <a:pt x="18" y="48"/>
                  </a:lnTo>
                  <a:lnTo>
                    <a:pt x="69" y="48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73" name="Freeform 47">
              <a:extLst>
                <a:ext uri="{FF2B5EF4-FFF2-40B4-BE49-F238E27FC236}">
                  <a16:creationId xmlns:a16="http://schemas.microsoft.com/office/drawing/2014/main" id="{116E254B-1132-69AF-D883-4A34B81249A7}"/>
                </a:ext>
              </a:extLst>
            </p:cNvPr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4115712" y="4573382"/>
              <a:ext cx="12604" cy="13331"/>
            </a:xfrm>
            <a:custGeom>
              <a:avLst/>
              <a:gdLst>
                <a:gd name="T0" fmla="*/ 0 w 17"/>
                <a:gd name="T1" fmla="*/ 3387 h 15"/>
                <a:gd name="T2" fmla="*/ 0 w 17"/>
                <a:gd name="T3" fmla="*/ 3387 h 15"/>
                <a:gd name="T4" fmla="*/ 2988 w 17"/>
                <a:gd name="T5" fmla="*/ 3387 h 15"/>
                <a:gd name="T6" fmla="*/ 2988 w 17"/>
                <a:gd name="T7" fmla="*/ 0 h 15"/>
                <a:gd name="T8" fmla="*/ 0 w 17"/>
                <a:gd name="T9" fmla="*/ 0 h 15"/>
                <a:gd name="T10" fmla="*/ 0 w 17"/>
                <a:gd name="T11" fmla="*/ 3387 h 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15"/>
                <a:gd name="T20" fmla="*/ 17 w 17"/>
                <a:gd name="T21" fmla="*/ 15 h 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15">
                  <a:moveTo>
                    <a:pt x="0" y="15"/>
                  </a:moveTo>
                  <a:lnTo>
                    <a:pt x="0" y="15"/>
                  </a:lnTo>
                  <a:lnTo>
                    <a:pt x="17" y="15"/>
                  </a:lnTo>
                  <a:lnTo>
                    <a:pt x="17" y="0"/>
                  </a:lnTo>
                  <a:lnTo>
                    <a:pt x="0" y="0"/>
                  </a:lnTo>
                  <a:lnTo>
                    <a:pt x="0" y="15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74" name="Freeform 48">
              <a:extLst>
                <a:ext uri="{FF2B5EF4-FFF2-40B4-BE49-F238E27FC236}">
                  <a16:creationId xmlns:a16="http://schemas.microsoft.com/office/drawing/2014/main" id="{2F6292DD-7E3D-0097-BF6B-3B163B811527}"/>
                </a:ext>
              </a:extLst>
            </p:cNvPr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3775416" y="4406742"/>
              <a:ext cx="37811" cy="26662"/>
            </a:xfrm>
            <a:custGeom>
              <a:avLst/>
              <a:gdLst>
                <a:gd name="T0" fmla="*/ 0 w 51"/>
                <a:gd name="T1" fmla="*/ 3175 h 32"/>
                <a:gd name="T2" fmla="*/ 0 w 51"/>
                <a:gd name="T3" fmla="*/ 3175 h 32"/>
                <a:gd name="T4" fmla="*/ 7284 w 51"/>
                <a:gd name="T5" fmla="*/ 6350 h 32"/>
                <a:gd name="T6" fmla="*/ 10521 w 51"/>
                <a:gd name="T7" fmla="*/ 3175 h 32"/>
                <a:gd name="T8" fmla="*/ 4047 w 51"/>
                <a:gd name="T9" fmla="*/ 0 h 32"/>
                <a:gd name="T10" fmla="*/ 0 w 51"/>
                <a:gd name="T11" fmla="*/ 3175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1"/>
                <a:gd name="T19" fmla="*/ 0 h 32"/>
                <a:gd name="T20" fmla="*/ 51 w 51"/>
                <a:gd name="T21" fmla="*/ 32 h 3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1" h="32">
                  <a:moveTo>
                    <a:pt x="0" y="17"/>
                  </a:moveTo>
                  <a:lnTo>
                    <a:pt x="0" y="17"/>
                  </a:lnTo>
                  <a:lnTo>
                    <a:pt x="34" y="32"/>
                  </a:lnTo>
                  <a:lnTo>
                    <a:pt x="51" y="17"/>
                  </a:lnTo>
                  <a:lnTo>
                    <a:pt x="17" y="0"/>
                  </a:lnTo>
                  <a:lnTo>
                    <a:pt x="0" y="17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75" name="Freeform 49">
              <a:extLst>
                <a:ext uri="{FF2B5EF4-FFF2-40B4-BE49-F238E27FC236}">
                  <a16:creationId xmlns:a16="http://schemas.microsoft.com/office/drawing/2014/main" id="{66A53813-26E8-9CE8-AF8E-692A456520B0}"/>
                </a:ext>
              </a:extLst>
            </p:cNvPr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3644653" y="4305093"/>
              <a:ext cx="207959" cy="76654"/>
            </a:xfrm>
            <a:custGeom>
              <a:avLst/>
              <a:gdLst>
                <a:gd name="T0" fmla="*/ 0 w 276"/>
                <a:gd name="T1" fmla="*/ 9525 h 96"/>
                <a:gd name="T2" fmla="*/ 0 w 276"/>
                <a:gd name="T3" fmla="*/ 9525 h 96"/>
                <a:gd name="T4" fmla="*/ 3175 w 276"/>
                <a:gd name="T5" fmla="*/ 9525 h 96"/>
                <a:gd name="T6" fmla="*/ 10319 w 276"/>
                <a:gd name="T7" fmla="*/ 2381 h 96"/>
                <a:gd name="T8" fmla="*/ 16669 w 276"/>
                <a:gd name="T9" fmla="*/ 5556 h 96"/>
                <a:gd name="T10" fmla="*/ 13494 w 276"/>
                <a:gd name="T11" fmla="*/ 5556 h 96"/>
                <a:gd name="T12" fmla="*/ 16669 w 276"/>
                <a:gd name="T13" fmla="*/ 5556 h 96"/>
                <a:gd name="T14" fmla="*/ 30162 w 276"/>
                <a:gd name="T15" fmla="*/ 9525 h 96"/>
                <a:gd name="T16" fmla="*/ 34131 w 276"/>
                <a:gd name="T17" fmla="*/ 15875 h 96"/>
                <a:gd name="T18" fmla="*/ 40481 w 276"/>
                <a:gd name="T19" fmla="*/ 15875 h 96"/>
                <a:gd name="T20" fmla="*/ 37306 w 276"/>
                <a:gd name="T21" fmla="*/ 19050 h 96"/>
                <a:gd name="T22" fmla="*/ 54769 w 276"/>
                <a:gd name="T23" fmla="*/ 19050 h 96"/>
                <a:gd name="T24" fmla="*/ 51594 w 276"/>
                <a:gd name="T25" fmla="*/ 15875 h 96"/>
                <a:gd name="T26" fmla="*/ 47625 w 276"/>
                <a:gd name="T27" fmla="*/ 15875 h 96"/>
                <a:gd name="T28" fmla="*/ 47625 w 276"/>
                <a:gd name="T29" fmla="*/ 11906 h 96"/>
                <a:gd name="T30" fmla="*/ 34131 w 276"/>
                <a:gd name="T31" fmla="*/ 5556 h 96"/>
                <a:gd name="T32" fmla="*/ 16669 w 276"/>
                <a:gd name="T33" fmla="*/ 0 h 96"/>
                <a:gd name="T34" fmla="*/ 7144 w 276"/>
                <a:gd name="T35" fmla="*/ 2381 h 96"/>
                <a:gd name="T36" fmla="*/ 0 w 276"/>
                <a:gd name="T37" fmla="*/ 9525 h 9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76"/>
                <a:gd name="T58" fmla="*/ 0 h 96"/>
                <a:gd name="T59" fmla="*/ 276 w 276"/>
                <a:gd name="T60" fmla="*/ 96 h 9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76" h="96">
                  <a:moveTo>
                    <a:pt x="0" y="48"/>
                  </a:moveTo>
                  <a:lnTo>
                    <a:pt x="0" y="48"/>
                  </a:lnTo>
                  <a:lnTo>
                    <a:pt x="17" y="48"/>
                  </a:lnTo>
                  <a:lnTo>
                    <a:pt x="52" y="15"/>
                  </a:lnTo>
                  <a:lnTo>
                    <a:pt x="86" y="31"/>
                  </a:lnTo>
                  <a:lnTo>
                    <a:pt x="69" y="31"/>
                  </a:lnTo>
                  <a:lnTo>
                    <a:pt x="86" y="31"/>
                  </a:lnTo>
                  <a:lnTo>
                    <a:pt x="155" y="48"/>
                  </a:lnTo>
                  <a:lnTo>
                    <a:pt x="173" y="79"/>
                  </a:lnTo>
                  <a:lnTo>
                    <a:pt x="207" y="79"/>
                  </a:lnTo>
                  <a:lnTo>
                    <a:pt x="190" y="96"/>
                  </a:lnTo>
                  <a:lnTo>
                    <a:pt x="276" y="96"/>
                  </a:lnTo>
                  <a:lnTo>
                    <a:pt x="259" y="79"/>
                  </a:lnTo>
                  <a:lnTo>
                    <a:pt x="242" y="79"/>
                  </a:lnTo>
                  <a:lnTo>
                    <a:pt x="242" y="63"/>
                  </a:lnTo>
                  <a:lnTo>
                    <a:pt x="173" y="31"/>
                  </a:lnTo>
                  <a:lnTo>
                    <a:pt x="86" y="0"/>
                  </a:lnTo>
                  <a:lnTo>
                    <a:pt x="34" y="15"/>
                  </a:lnTo>
                  <a:lnTo>
                    <a:pt x="0" y="48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76" name="Freeform 50">
              <a:extLst>
                <a:ext uri="{FF2B5EF4-FFF2-40B4-BE49-F238E27FC236}">
                  <a16:creationId xmlns:a16="http://schemas.microsoft.com/office/drawing/2014/main" id="{7372B105-DFB4-DC92-626E-1AE870088356}"/>
                </a:ext>
              </a:extLst>
            </p:cNvPr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4011733" y="4406742"/>
              <a:ext cx="23631" cy="13331"/>
            </a:xfrm>
            <a:custGeom>
              <a:avLst/>
              <a:gdLst>
                <a:gd name="T0" fmla="*/ 0 w 33"/>
                <a:gd name="T1" fmla="*/ 2988 h 17"/>
                <a:gd name="T2" fmla="*/ 0 w 33"/>
                <a:gd name="T3" fmla="*/ 2988 h 17"/>
                <a:gd name="T4" fmla="*/ 6158 w 33"/>
                <a:gd name="T5" fmla="*/ 2988 h 17"/>
                <a:gd name="T6" fmla="*/ 0 w 33"/>
                <a:gd name="T7" fmla="*/ 0 h 17"/>
                <a:gd name="T8" fmla="*/ 0 w 33"/>
                <a:gd name="T9" fmla="*/ 2988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"/>
                <a:gd name="T16" fmla="*/ 0 h 17"/>
                <a:gd name="T17" fmla="*/ 33 w 33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" h="17">
                  <a:moveTo>
                    <a:pt x="0" y="17"/>
                  </a:moveTo>
                  <a:lnTo>
                    <a:pt x="0" y="17"/>
                  </a:lnTo>
                  <a:lnTo>
                    <a:pt x="33" y="17"/>
                  </a:lnTo>
                  <a:lnTo>
                    <a:pt x="0" y="0"/>
                  </a:lnTo>
                  <a:lnTo>
                    <a:pt x="0" y="17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77" name="Freeform 51">
              <a:extLst>
                <a:ext uri="{FF2B5EF4-FFF2-40B4-BE49-F238E27FC236}">
                  <a16:creationId xmlns:a16="http://schemas.microsoft.com/office/drawing/2014/main" id="{328E0648-55A0-FBF2-A9E4-49A9717CA69F}"/>
                </a:ext>
              </a:extLst>
            </p:cNvPr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4115712" y="4458401"/>
              <a:ext cx="12604" cy="13331"/>
            </a:xfrm>
            <a:custGeom>
              <a:avLst/>
              <a:gdLst>
                <a:gd name="T0" fmla="*/ 0 w 17"/>
                <a:gd name="T1" fmla="*/ 0 h 15"/>
                <a:gd name="T2" fmla="*/ 0 w 17"/>
                <a:gd name="T3" fmla="*/ 0 h 15"/>
                <a:gd name="T4" fmla="*/ 0 w 17"/>
                <a:gd name="T5" fmla="*/ 3387 h 15"/>
                <a:gd name="T6" fmla="*/ 2988 w 17"/>
                <a:gd name="T7" fmla="*/ 0 h 15"/>
                <a:gd name="T8" fmla="*/ 0 w 17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5"/>
                <a:gd name="T17" fmla="*/ 17 w 17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5">
                  <a:moveTo>
                    <a:pt x="0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78" name="Freeform 52">
              <a:extLst>
                <a:ext uri="{FF2B5EF4-FFF2-40B4-BE49-F238E27FC236}">
                  <a16:creationId xmlns:a16="http://schemas.microsoft.com/office/drawing/2014/main" id="{9D14D5B1-C4DC-4D1E-FB71-67DF5C095219}"/>
                </a:ext>
              </a:extLst>
            </p:cNvPr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3775416" y="4266765"/>
              <a:ext cx="12604" cy="38328"/>
            </a:xfrm>
            <a:custGeom>
              <a:avLst/>
              <a:gdLst>
                <a:gd name="T0" fmla="*/ 0 w 17"/>
                <a:gd name="T1" fmla="*/ 0 h 48"/>
                <a:gd name="T2" fmla="*/ 0 w 17"/>
                <a:gd name="T3" fmla="*/ 0 h 48"/>
                <a:gd name="T4" fmla="*/ 0 w 17"/>
                <a:gd name="T5" fmla="*/ 2381 h 48"/>
                <a:gd name="T6" fmla="*/ 4202 w 17"/>
                <a:gd name="T7" fmla="*/ 9525 h 48"/>
                <a:gd name="T8" fmla="*/ 4202 w 17"/>
                <a:gd name="T9" fmla="*/ 2381 h 48"/>
                <a:gd name="T10" fmla="*/ 0 w 17"/>
                <a:gd name="T11" fmla="*/ 0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48"/>
                <a:gd name="T20" fmla="*/ 17 w 17"/>
                <a:gd name="T21" fmla="*/ 48 h 4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48">
                  <a:moveTo>
                    <a:pt x="0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17" y="48"/>
                  </a:lnTo>
                  <a:lnTo>
                    <a:pt x="17" y="15"/>
                  </a:lnTo>
                  <a:lnTo>
                    <a:pt x="0" y="0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79" name="Freeform 53">
              <a:extLst>
                <a:ext uri="{FF2B5EF4-FFF2-40B4-BE49-F238E27FC236}">
                  <a16:creationId xmlns:a16="http://schemas.microsoft.com/office/drawing/2014/main" id="{2D00562B-16E9-7495-498D-7317A28F003C}"/>
                </a:ext>
              </a:extLst>
            </p:cNvPr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3866792" y="3885162"/>
              <a:ext cx="39386" cy="9998"/>
            </a:xfrm>
            <a:custGeom>
              <a:avLst/>
              <a:gdLst>
                <a:gd name="T0" fmla="*/ 0 w 51"/>
                <a:gd name="T1" fmla="*/ 2084 h 16"/>
                <a:gd name="T2" fmla="*/ 10521 w 51"/>
                <a:gd name="T3" fmla="*/ 0 h 16"/>
                <a:gd name="T4" fmla="*/ 7284 w 51"/>
                <a:gd name="T5" fmla="*/ 0 h 16"/>
                <a:gd name="T6" fmla="*/ 0 w 51"/>
                <a:gd name="T7" fmla="*/ 2084 h 1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1"/>
                <a:gd name="T13" fmla="*/ 0 h 16"/>
                <a:gd name="T14" fmla="*/ 51 w 51"/>
                <a:gd name="T15" fmla="*/ 16 h 1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1" h="16">
                  <a:moveTo>
                    <a:pt x="0" y="16"/>
                  </a:moveTo>
                  <a:lnTo>
                    <a:pt x="51" y="0"/>
                  </a:lnTo>
                  <a:lnTo>
                    <a:pt x="34" y="0"/>
                  </a:lnTo>
                  <a:lnTo>
                    <a:pt x="0" y="16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80" name="Freeform 54">
              <a:extLst>
                <a:ext uri="{FF2B5EF4-FFF2-40B4-BE49-F238E27FC236}">
                  <a16:creationId xmlns:a16="http://schemas.microsoft.com/office/drawing/2014/main" id="{2D6C4BD2-3C65-C970-51A1-9D726AB3FA8E}"/>
                </a:ext>
              </a:extLst>
            </p:cNvPr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4062147" y="3626871"/>
              <a:ext cx="53565" cy="28329"/>
            </a:xfrm>
            <a:custGeom>
              <a:avLst/>
              <a:gdLst>
                <a:gd name="T0" fmla="*/ 0 w 71"/>
                <a:gd name="T1" fmla="*/ 0 h 32"/>
                <a:gd name="T2" fmla="*/ 0 w 71"/>
                <a:gd name="T3" fmla="*/ 0 h 32"/>
                <a:gd name="T4" fmla="*/ 7244 w 71"/>
                <a:gd name="T5" fmla="*/ 7590 h 32"/>
                <a:gd name="T6" fmla="*/ 14489 w 71"/>
                <a:gd name="T7" fmla="*/ 7590 h 32"/>
                <a:gd name="T8" fmla="*/ 7244 w 71"/>
                <a:gd name="T9" fmla="*/ 3374 h 32"/>
                <a:gd name="T10" fmla="*/ 0 w 71"/>
                <a:gd name="T11" fmla="*/ 0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1"/>
                <a:gd name="T19" fmla="*/ 0 h 32"/>
                <a:gd name="T20" fmla="*/ 71 w 71"/>
                <a:gd name="T21" fmla="*/ 32 h 3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1" h="32">
                  <a:moveTo>
                    <a:pt x="0" y="0"/>
                  </a:moveTo>
                  <a:lnTo>
                    <a:pt x="0" y="0"/>
                  </a:lnTo>
                  <a:lnTo>
                    <a:pt x="34" y="32"/>
                  </a:lnTo>
                  <a:lnTo>
                    <a:pt x="71" y="32"/>
                  </a:lnTo>
                  <a:lnTo>
                    <a:pt x="34" y="15"/>
                  </a:lnTo>
                  <a:lnTo>
                    <a:pt x="0" y="0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81" name="Freeform 55">
              <a:extLst>
                <a:ext uri="{FF2B5EF4-FFF2-40B4-BE49-F238E27FC236}">
                  <a16:creationId xmlns:a16="http://schemas.microsoft.com/office/drawing/2014/main" id="{7B8D156B-6965-52B7-76E7-5FFF4F9DF753}"/>
                </a:ext>
              </a:extLst>
            </p:cNvPr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4062147" y="3716856"/>
              <a:ext cx="53565" cy="38328"/>
            </a:xfrm>
            <a:custGeom>
              <a:avLst/>
              <a:gdLst>
                <a:gd name="T0" fmla="*/ 0 w 71"/>
                <a:gd name="T1" fmla="*/ 3969 h 48"/>
                <a:gd name="T2" fmla="*/ 0 w 71"/>
                <a:gd name="T3" fmla="*/ 3969 h 48"/>
                <a:gd name="T4" fmla="*/ 10464 w 71"/>
                <a:gd name="T5" fmla="*/ 9525 h 48"/>
                <a:gd name="T6" fmla="*/ 10464 w 71"/>
                <a:gd name="T7" fmla="*/ 7144 h 48"/>
                <a:gd name="T8" fmla="*/ 14489 w 71"/>
                <a:gd name="T9" fmla="*/ 3969 h 48"/>
                <a:gd name="T10" fmla="*/ 7244 w 71"/>
                <a:gd name="T11" fmla="*/ 3969 h 48"/>
                <a:gd name="T12" fmla="*/ 4025 w 71"/>
                <a:gd name="T13" fmla="*/ 3969 h 48"/>
                <a:gd name="T14" fmla="*/ 4025 w 71"/>
                <a:gd name="T15" fmla="*/ 0 h 48"/>
                <a:gd name="T16" fmla="*/ 0 w 71"/>
                <a:gd name="T17" fmla="*/ 3969 h 4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1"/>
                <a:gd name="T28" fmla="*/ 0 h 48"/>
                <a:gd name="T29" fmla="*/ 71 w 71"/>
                <a:gd name="T30" fmla="*/ 48 h 4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1" h="48">
                  <a:moveTo>
                    <a:pt x="0" y="17"/>
                  </a:moveTo>
                  <a:lnTo>
                    <a:pt x="0" y="17"/>
                  </a:lnTo>
                  <a:lnTo>
                    <a:pt x="52" y="48"/>
                  </a:lnTo>
                  <a:lnTo>
                    <a:pt x="52" y="33"/>
                  </a:lnTo>
                  <a:lnTo>
                    <a:pt x="71" y="17"/>
                  </a:lnTo>
                  <a:lnTo>
                    <a:pt x="34" y="17"/>
                  </a:lnTo>
                  <a:lnTo>
                    <a:pt x="17" y="17"/>
                  </a:lnTo>
                  <a:lnTo>
                    <a:pt x="17" y="0"/>
                  </a:lnTo>
                  <a:lnTo>
                    <a:pt x="0" y="17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82" name="Freeform 56">
              <a:extLst>
                <a:ext uri="{FF2B5EF4-FFF2-40B4-BE49-F238E27FC236}">
                  <a16:creationId xmlns:a16="http://schemas.microsoft.com/office/drawing/2014/main" id="{2801A1D4-58C4-84BC-1DFD-13C67EF6D188}"/>
                </a:ext>
              </a:extLst>
            </p:cNvPr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4166126" y="3578546"/>
              <a:ext cx="132337" cy="153308"/>
            </a:xfrm>
            <a:custGeom>
              <a:avLst/>
              <a:gdLst>
                <a:gd name="T0" fmla="*/ 0 w 175"/>
                <a:gd name="T1" fmla="*/ 28575 h 192"/>
                <a:gd name="T2" fmla="*/ 0 w 175"/>
                <a:gd name="T3" fmla="*/ 28575 h 192"/>
                <a:gd name="T4" fmla="*/ 0 w 175"/>
                <a:gd name="T5" fmla="*/ 31750 h 192"/>
                <a:gd name="T6" fmla="*/ 3991 w 175"/>
                <a:gd name="T7" fmla="*/ 31750 h 192"/>
                <a:gd name="T8" fmla="*/ 20755 w 175"/>
                <a:gd name="T9" fmla="*/ 31750 h 192"/>
                <a:gd name="T10" fmla="*/ 20755 w 175"/>
                <a:gd name="T11" fmla="*/ 34925 h 192"/>
                <a:gd name="T12" fmla="*/ 17562 w 175"/>
                <a:gd name="T13" fmla="*/ 34925 h 192"/>
                <a:gd name="T14" fmla="*/ 20755 w 175"/>
                <a:gd name="T15" fmla="*/ 34925 h 192"/>
                <a:gd name="T16" fmla="*/ 24747 w 175"/>
                <a:gd name="T17" fmla="*/ 31750 h 192"/>
                <a:gd name="T18" fmla="*/ 27940 w 175"/>
                <a:gd name="T19" fmla="*/ 31750 h 192"/>
                <a:gd name="T20" fmla="*/ 27940 w 175"/>
                <a:gd name="T21" fmla="*/ 34925 h 192"/>
                <a:gd name="T22" fmla="*/ 31931 w 175"/>
                <a:gd name="T23" fmla="*/ 34925 h 192"/>
                <a:gd name="T24" fmla="*/ 31931 w 175"/>
                <a:gd name="T25" fmla="*/ 38100 h 192"/>
                <a:gd name="T26" fmla="*/ 35125 w 175"/>
                <a:gd name="T27" fmla="*/ 38100 h 192"/>
                <a:gd name="T28" fmla="*/ 35125 w 175"/>
                <a:gd name="T29" fmla="*/ 31750 h 192"/>
                <a:gd name="T30" fmla="*/ 31931 w 175"/>
                <a:gd name="T31" fmla="*/ 31750 h 192"/>
                <a:gd name="T32" fmla="*/ 35125 w 175"/>
                <a:gd name="T33" fmla="*/ 28575 h 192"/>
                <a:gd name="T34" fmla="*/ 31931 w 175"/>
                <a:gd name="T35" fmla="*/ 31750 h 192"/>
                <a:gd name="T36" fmla="*/ 27940 w 175"/>
                <a:gd name="T37" fmla="*/ 28575 h 192"/>
                <a:gd name="T38" fmla="*/ 35125 w 175"/>
                <a:gd name="T39" fmla="*/ 22225 h 192"/>
                <a:gd name="T40" fmla="*/ 31931 w 175"/>
                <a:gd name="T41" fmla="*/ 24606 h 192"/>
                <a:gd name="T42" fmla="*/ 27940 w 175"/>
                <a:gd name="T43" fmla="*/ 22225 h 192"/>
                <a:gd name="T44" fmla="*/ 31931 w 175"/>
                <a:gd name="T45" fmla="*/ 19050 h 192"/>
                <a:gd name="T46" fmla="*/ 20755 w 175"/>
                <a:gd name="T47" fmla="*/ 19050 h 192"/>
                <a:gd name="T48" fmla="*/ 17562 w 175"/>
                <a:gd name="T49" fmla="*/ 15875 h 192"/>
                <a:gd name="T50" fmla="*/ 20755 w 175"/>
                <a:gd name="T51" fmla="*/ 12700 h 192"/>
                <a:gd name="T52" fmla="*/ 17562 w 175"/>
                <a:gd name="T53" fmla="*/ 12700 h 192"/>
                <a:gd name="T54" fmla="*/ 14369 w 175"/>
                <a:gd name="T55" fmla="*/ 15875 h 192"/>
                <a:gd name="T56" fmla="*/ 20755 w 175"/>
                <a:gd name="T57" fmla="*/ 0 h 192"/>
                <a:gd name="T58" fmla="*/ 14369 w 175"/>
                <a:gd name="T59" fmla="*/ 3175 h 192"/>
                <a:gd name="T60" fmla="*/ 3991 w 175"/>
                <a:gd name="T61" fmla="*/ 22225 h 192"/>
                <a:gd name="T62" fmla="*/ 3991 w 175"/>
                <a:gd name="T63" fmla="*/ 24606 h 192"/>
                <a:gd name="T64" fmla="*/ 0 w 175"/>
                <a:gd name="T65" fmla="*/ 28575 h 19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75"/>
                <a:gd name="T100" fmla="*/ 0 h 192"/>
                <a:gd name="T101" fmla="*/ 175 w 175"/>
                <a:gd name="T102" fmla="*/ 192 h 19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75" h="192">
                  <a:moveTo>
                    <a:pt x="0" y="144"/>
                  </a:moveTo>
                  <a:lnTo>
                    <a:pt x="0" y="144"/>
                  </a:lnTo>
                  <a:lnTo>
                    <a:pt x="0" y="160"/>
                  </a:lnTo>
                  <a:lnTo>
                    <a:pt x="17" y="160"/>
                  </a:lnTo>
                  <a:lnTo>
                    <a:pt x="104" y="160"/>
                  </a:lnTo>
                  <a:lnTo>
                    <a:pt x="104" y="175"/>
                  </a:lnTo>
                  <a:lnTo>
                    <a:pt x="86" y="175"/>
                  </a:lnTo>
                  <a:lnTo>
                    <a:pt x="104" y="175"/>
                  </a:lnTo>
                  <a:lnTo>
                    <a:pt x="121" y="160"/>
                  </a:lnTo>
                  <a:lnTo>
                    <a:pt x="140" y="160"/>
                  </a:lnTo>
                  <a:lnTo>
                    <a:pt x="140" y="175"/>
                  </a:lnTo>
                  <a:lnTo>
                    <a:pt x="157" y="175"/>
                  </a:lnTo>
                  <a:lnTo>
                    <a:pt x="157" y="192"/>
                  </a:lnTo>
                  <a:lnTo>
                    <a:pt x="175" y="192"/>
                  </a:lnTo>
                  <a:lnTo>
                    <a:pt x="175" y="160"/>
                  </a:lnTo>
                  <a:lnTo>
                    <a:pt x="157" y="160"/>
                  </a:lnTo>
                  <a:lnTo>
                    <a:pt x="175" y="144"/>
                  </a:lnTo>
                  <a:lnTo>
                    <a:pt x="157" y="160"/>
                  </a:lnTo>
                  <a:lnTo>
                    <a:pt x="140" y="144"/>
                  </a:lnTo>
                  <a:lnTo>
                    <a:pt x="175" y="112"/>
                  </a:lnTo>
                  <a:lnTo>
                    <a:pt x="157" y="127"/>
                  </a:lnTo>
                  <a:lnTo>
                    <a:pt x="140" y="112"/>
                  </a:lnTo>
                  <a:lnTo>
                    <a:pt x="157" y="96"/>
                  </a:lnTo>
                  <a:lnTo>
                    <a:pt x="104" y="96"/>
                  </a:lnTo>
                  <a:lnTo>
                    <a:pt x="86" y="79"/>
                  </a:lnTo>
                  <a:lnTo>
                    <a:pt x="104" y="64"/>
                  </a:lnTo>
                  <a:lnTo>
                    <a:pt x="86" y="64"/>
                  </a:lnTo>
                  <a:lnTo>
                    <a:pt x="69" y="79"/>
                  </a:lnTo>
                  <a:lnTo>
                    <a:pt x="104" y="0"/>
                  </a:lnTo>
                  <a:lnTo>
                    <a:pt x="69" y="16"/>
                  </a:lnTo>
                  <a:lnTo>
                    <a:pt x="17" y="112"/>
                  </a:lnTo>
                  <a:lnTo>
                    <a:pt x="17" y="127"/>
                  </a:lnTo>
                  <a:lnTo>
                    <a:pt x="0" y="144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83" name="Freeform 59">
              <a:extLst>
                <a:ext uri="{FF2B5EF4-FFF2-40B4-BE49-F238E27FC236}">
                  <a16:creationId xmlns:a16="http://schemas.microsoft.com/office/drawing/2014/main" id="{B69E90F1-9A2F-88D0-B8C4-8577987E6635}"/>
                </a:ext>
              </a:extLst>
            </p:cNvPr>
            <p:cNvSpPr>
              <a:spLocks/>
            </p:cNvSpPr>
            <p:nvPr>
              <p:custDataLst>
                <p:tags r:id="rId69"/>
              </p:custDataLst>
            </p:nvPr>
          </p:nvSpPr>
          <p:spPr bwMode="auto">
            <a:xfrm>
              <a:off x="3788019" y="4228439"/>
              <a:ext cx="14179" cy="24995"/>
            </a:xfrm>
            <a:custGeom>
              <a:avLst/>
              <a:gdLst>
                <a:gd name="T0" fmla="*/ 0 w 17"/>
                <a:gd name="T1" fmla="*/ 0 h 31"/>
                <a:gd name="T2" fmla="*/ 0 w 17"/>
                <a:gd name="T3" fmla="*/ 0 h 31"/>
                <a:gd name="T4" fmla="*/ 4202 w 17"/>
                <a:gd name="T5" fmla="*/ 3277 h 31"/>
                <a:gd name="T6" fmla="*/ 4202 w 17"/>
                <a:gd name="T7" fmla="*/ 6555 h 3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31"/>
                <a:gd name="T14" fmla="*/ 17 w 17"/>
                <a:gd name="T15" fmla="*/ 31 h 3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31">
                  <a:moveTo>
                    <a:pt x="0" y="0"/>
                  </a:moveTo>
                  <a:lnTo>
                    <a:pt x="0" y="0"/>
                  </a:lnTo>
                  <a:lnTo>
                    <a:pt x="17" y="15"/>
                  </a:lnTo>
                  <a:lnTo>
                    <a:pt x="17" y="31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84" name="Freeform 60">
              <a:extLst>
                <a:ext uri="{FF2B5EF4-FFF2-40B4-BE49-F238E27FC236}">
                  <a16:creationId xmlns:a16="http://schemas.microsoft.com/office/drawing/2014/main" id="{0ED76BD0-06A3-29B9-BA42-F666C8F65BB6}"/>
                </a:ext>
              </a:extLst>
            </p:cNvPr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3802198" y="4253434"/>
              <a:ext cx="11029" cy="24996"/>
            </a:xfrm>
            <a:custGeom>
              <a:avLst/>
              <a:gdLst>
                <a:gd name="T0" fmla="*/ 0 w 17"/>
                <a:gd name="T1" fmla="*/ 0 h 32"/>
                <a:gd name="T2" fmla="*/ 0 w 17"/>
                <a:gd name="T3" fmla="*/ 0 h 32"/>
                <a:gd name="T4" fmla="*/ 2988 w 17"/>
                <a:gd name="T5" fmla="*/ 3175 h 32"/>
                <a:gd name="T6" fmla="*/ 2988 w 17"/>
                <a:gd name="T7" fmla="*/ 6350 h 3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32"/>
                <a:gd name="T14" fmla="*/ 17 w 17"/>
                <a:gd name="T15" fmla="*/ 32 h 3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32">
                  <a:moveTo>
                    <a:pt x="0" y="0"/>
                  </a:moveTo>
                  <a:lnTo>
                    <a:pt x="0" y="0"/>
                  </a:lnTo>
                  <a:lnTo>
                    <a:pt x="17" y="17"/>
                  </a:lnTo>
                  <a:lnTo>
                    <a:pt x="17" y="32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85" name="Freeform 61">
              <a:extLst>
                <a:ext uri="{FF2B5EF4-FFF2-40B4-BE49-F238E27FC236}">
                  <a16:creationId xmlns:a16="http://schemas.microsoft.com/office/drawing/2014/main" id="{5F0D81E9-93D2-1C0E-9860-7A18EACD5B2A}"/>
                </a:ext>
              </a:extLst>
            </p:cNvPr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3852612" y="4316757"/>
              <a:ext cx="14180" cy="13331"/>
            </a:xfrm>
            <a:custGeom>
              <a:avLst/>
              <a:gdLst>
                <a:gd name="T0" fmla="*/ 0 w 18"/>
                <a:gd name="T1" fmla="*/ 0 h 16"/>
                <a:gd name="T2" fmla="*/ 0 w 18"/>
                <a:gd name="T3" fmla="*/ 0 h 16"/>
                <a:gd name="T4" fmla="*/ 3969 w 18"/>
                <a:gd name="T5" fmla="*/ 3175 h 16"/>
                <a:gd name="T6" fmla="*/ 0 w 18"/>
                <a:gd name="T7" fmla="*/ 3175 h 1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"/>
                <a:gd name="T13" fmla="*/ 0 h 16"/>
                <a:gd name="T14" fmla="*/ 18 w 18"/>
                <a:gd name="T15" fmla="*/ 16 h 1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" h="16">
                  <a:moveTo>
                    <a:pt x="0" y="0"/>
                  </a:moveTo>
                  <a:lnTo>
                    <a:pt x="0" y="0"/>
                  </a:lnTo>
                  <a:lnTo>
                    <a:pt x="18" y="16"/>
                  </a:lnTo>
                  <a:lnTo>
                    <a:pt x="0" y="16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86" name="Freeform 62">
              <a:extLst>
                <a:ext uri="{FF2B5EF4-FFF2-40B4-BE49-F238E27FC236}">
                  <a16:creationId xmlns:a16="http://schemas.microsoft.com/office/drawing/2014/main" id="{AA140868-3904-F072-7679-8C39AB8DB7D3}"/>
                </a:ext>
              </a:extLst>
            </p:cNvPr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3893574" y="4343419"/>
              <a:ext cx="25207" cy="0"/>
            </a:xfrm>
            <a:custGeom>
              <a:avLst/>
              <a:gdLst>
                <a:gd name="T0" fmla="*/ 0 w 33"/>
                <a:gd name="T1" fmla="*/ 0 w 33"/>
                <a:gd name="T2" fmla="*/ 2309 w 33"/>
                <a:gd name="T3" fmla="*/ 6158 w 33"/>
                <a:gd name="T4" fmla="*/ 0 60000 65536"/>
                <a:gd name="T5" fmla="*/ 0 60000 65536"/>
                <a:gd name="T6" fmla="*/ 0 60000 65536"/>
                <a:gd name="T7" fmla="*/ 0 60000 65536"/>
                <a:gd name="T8" fmla="*/ 0 w 33"/>
                <a:gd name="T9" fmla="*/ 33 w 33"/>
              </a:gdLst>
              <a:ahLst/>
              <a:cxnLst>
                <a:cxn ang="T4">
                  <a:pos x="T0" y="0"/>
                </a:cxn>
                <a:cxn ang="T5">
                  <a:pos x="T1" y="0"/>
                </a:cxn>
                <a:cxn ang="T6">
                  <a:pos x="T2" y="0"/>
                </a:cxn>
                <a:cxn ang="T7">
                  <a:pos x="T3" y="0"/>
                </a:cxn>
              </a:cxnLst>
              <a:rect l="T8" t="0" r="T9" b="0"/>
              <a:pathLst>
                <a:path w="33">
                  <a:moveTo>
                    <a:pt x="0" y="0"/>
                  </a:moveTo>
                  <a:lnTo>
                    <a:pt x="0" y="0"/>
                  </a:lnTo>
                  <a:lnTo>
                    <a:pt x="15" y="0"/>
                  </a:lnTo>
                  <a:lnTo>
                    <a:pt x="33" y="0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87" name="Freeform 65">
              <a:extLst>
                <a:ext uri="{FF2B5EF4-FFF2-40B4-BE49-F238E27FC236}">
                  <a16:creationId xmlns:a16="http://schemas.microsoft.com/office/drawing/2014/main" id="{11AE08CD-4BF5-9D0E-70E8-503274F3A265}"/>
                </a:ext>
              </a:extLst>
            </p:cNvPr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2820696" y="3640202"/>
              <a:ext cx="1191037" cy="626564"/>
            </a:xfrm>
            <a:custGeom>
              <a:avLst/>
              <a:gdLst>
                <a:gd name="T0" fmla="*/ 157956 w 1578"/>
                <a:gd name="T1" fmla="*/ 3171 h 785"/>
                <a:gd name="T2" fmla="*/ 171450 w 1578"/>
                <a:gd name="T3" fmla="*/ 6342 h 785"/>
                <a:gd name="T4" fmla="*/ 175419 w 1578"/>
                <a:gd name="T5" fmla="*/ 22197 h 785"/>
                <a:gd name="T6" fmla="*/ 196056 w 1578"/>
                <a:gd name="T7" fmla="*/ 19026 h 785"/>
                <a:gd name="T8" fmla="*/ 203200 w 1578"/>
                <a:gd name="T9" fmla="*/ 22197 h 785"/>
                <a:gd name="T10" fmla="*/ 220663 w 1578"/>
                <a:gd name="T11" fmla="*/ 25368 h 785"/>
                <a:gd name="T12" fmla="*/ 199231 w 1578"/>
                <a:gd name="T13" fmla="*/ 38051 h 785"/>
                <a:gd name="T14" fmla="*/ 199231 w 1578"/>
                <a:gd name="T15" fmla="*/ 53906 h 785"/>
                <a:gd name="T16" fmla="*/ 207169 w 1578"/>
                <a:gd name="T17" fmla="*/ 53906 h 785"/>
                <a:gd name="T18" fmla="*/ 213519 w 1578"/>
                <a:gd name="T19" fmla="*/ 31710 h 785"/>
                <a:gd name="T20" fmla="*/ 223838 w 1578"/>
                <a:gd name="T21" fmla="*/ 38051 h 785"/>
                <a:gd name="T22" fmla="*/ 227806 w 1578"/>
                <a:gd name="T23" fmla="*/ 47564 h 785"/>
                <a:gd name="T24" fmla="*/ 227806 w 1578"/>
                <a:gd name="T25" fmla="*/ 57077 h 785"/>
                <a:gd name="T26" fmla="*/ 247650 w 1578"/>
                <a:gd name="T27" fmla="*/ 44393 h 785"/>
                <a:gd name="T28" fmla="*/ 268288 w 1578"/>
                <a:gd name="T29" fmla="*/ 34881 h 785"/>
                <a:gd name="T30" fmla="*/ 300038 w 1578"/>
                <a:gd name="T31" fmla="*/ 15855 h 785"/>
                <a:gd name="T32" fmla="*/ 306388 w 1578"/>
                <a:gd name="T33" fmla="*/ 19026 h 785"/>
                <a:gd name="T34" fmla="*/ 313531 w 1578"/>
                <a:gd name="T35" fmla="*/ 34881 h 785"/>
                <a:gd name="T36" fmla="*/ 300038 w 1578"/>
                <a:gd name="T37" fmla="*/ 41222 h 785"/>
                <a:gd name="T38" fmla="*/ 292894 w 1578"/>
                <a:gd name="T39" fmla="*/ 57077 h 785"/>
                <a:gd name="T40" fmla="*/ 296069 w 1578"/>
                <a:gd name="T41" fmla="*/ 57077 h 785"/>
                <a:gd name="T42" fmla="*/ 275431 w 1578"/>
                <a:gd name="T43" fmla="*/ 63419 h 785"/>
                <a:gd name="T44" fmla="*/ 265113 w 1578"/>
                <a:gd name="T45" fmla="*/ 69761 h 785"/>
                <a:gd name="T46" fmla="*/ 265113 w 1578"/>
                <a:gd name="T47" fmla="*/ 79274 h 785"/>
                <a:gd name="T48" fmla="*/ 261938 w 1578"/>
                <a:gd name="T49" fmla="*/ 72932 h 785"/>
                <a:gd name="T50" fmla="*/ 261938 w 1578"/>
                <a:gd name="T51" fmla="*/ 79274 h 785"/>
                <a:gd name="T52" fmla="*/ 261938 w 1578"/>
                <a:gd name="T53" fmla="*/ 101471 h 785"/>
                <a:gd name="T54" fmla="*/ 234156 w 1578"/>
                <a:gd name="T55" fmla="*/ 123667 h 785"/>
                <a:gd name="T56" fmla="*/ 237331 w 1578"/>
                <a:gd name="T57" fmla="*/ 155377 h 785"/>
                <a:gd name="T58" fmla="*/ 227806 w 1578"/>
                <a:gd name="T59" fmla="*/ 133180 h 785"/>
                <a:gd name="T60" fmla="*/ 213519 w 1578"/>
                <a:gd name="T61" fmla="*/ 126838 h 785"/>
                <a:gd name="T62" fmla="*/ 199231 w 1578"/>
                <a:gd name="T63" fmla="*/ 123667 h 785"/>
                <a:gd name="T64" fmla="*/ 192881 w 1578"/>
                <a:gd name="T65" fmla="*/ 126838 h 785"/>
                <a:gd name="T66" fmla="*/ 188913 w 1578"/>
                <a:gd name="T67" fmla="*/ 133180 h 785"/>
                <a:gd name="T68" fmla="*/ 175419 w 1578"/>
                <a:gd name="T69" fmla="*/ 130009 h 785"/>
                <a:gd name="T70" fmla="*/ 161131 w 1578"/>
                <a:gd name="T71" fmla="*/ 130009 h 785"/>
                <a:gd name="T72" fmla="*/ 148431 w 1578"/>
                <a:gd name="T73" fmla="*/ 142693 h 785"/>
                <a:gd name="T74" fmla="*/ 123825 w 1578"/>
                <a:gd name="T75" fmla="*/ 130009 h 785"/>
                <a:gd name="T76" fmla="*/ 114300 w 1578"/>
                <a:gd name="T77" fmla="*/ 133180 h 785"/>
                <a:gd name="T78" fmla="*/ 99219 w 1578"/>
                <a:gd name="T79" fmla="*/ 117325 h 785"/>
                <a:gd name="T80" fmla="*/ 41275 w 1578"/>
                <a:gd name="T81" fmla="*/ 114154 h 785"/>
                <a:gd name="T82" fmla="*/ 34925 w 1578"/>
                <a:gd name="T83" fmla="*/ 104642 h 785"/>
                <a:gd name="T84" fmla="*/ 14288 w 1578"/>
                <a:gd name="T85" fmla="*/ 91958 h 785"/>
                <a:gd name="T86" fmla="*/ 10319 w 1578"/>
                <a:gd name="T87" fmla="*/ 82445 h 785"/>
                <a:gd name="T88" fmla="*/ 7144 w 1578"/>
                <a:gd name="T89" fmla="*/ 79274 h 785"/>
                <a:gd name="T90" fmla="*/ 3969 w 1578"/>
                <a:gd name="T91" fmla="*/ 69761 h 785"/>
                <a:gd name="T92" fmla="*/ 0 w 1578"/>
                <a:gd name="T93" fmla="*/ 47564 h 785"/>
                <a:gd name="T94" fmla="*/ 3969 w 1578"/>
                <a:gd name="T95" fmla="*/ 25368 h 785"/>
                <a:gd name="T96" fmla="*/ 10319 w 1578"/>
                <a:gd name="T97" fmla="*/ 12684 h 785"/>
                <a:gd name="T98" fmla="*/ 10319 w 1578"/>
                <a:gd name="T99" fmla="*/ 6342 h 785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578"/>
                <a:gd name="T151" fmla="*/ 0 h 785"/>
                <a:gd name="T152" fmla="*/ 1578 w 1578"/>
                <a:gd name="T153" fmla="*/ 785 h 785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578" h="785">
                  <a:moveTo>
                    <a:pt x="52" y="17"/>
                  </a:moveTo>
                  <a:lnTo>
                    <a:pt x="52" y="17"/>
                  </a:lnTo>
                  <a:lnTo>
                    <a:pt x="797" y="17"/>
                  </a:lnTo>
                  <a:lnTo>
                    <a:pt x="814" y="0"/>
                  </a:lnTo>
                  <a:lnTo>
                    <a:pt x="832" y="33"/>
                  </a:lnTo>
                  <a:lnTo>
                    <a:pt x="866" y="33"/>
                  </a:lnTo>
                  <a:lnTo>
                    <a:pt x="903" y="65"/>
                  </a:lnTo>
                  <a:lnTo>
                    <a:pt x="955" y="65"/>
                  </a:lnTo>
                  <a:lnTo>
                    <a:pt x="884" y="113"/>
                  </a:lnTo>
                  <a:lnTo>
                    <a:pt x="920" y="96"/>
                  </a:lnTo>
                  <a:lnTo>
                    <a:pt x="937" y="113"/>
                  </a:lnTo>
                  <a:lnTo>
                    <a:pt x="989" y="96"/>
                  </a:lnTo>
                  <a:lnTo>
                    <a:pt x="989" y="113"/>
                  </a:lnTo>
                  <a:lnTo>
                    <a:pt x="1006" y="96"/>
                  </a:lnTo>
                  <a:lnTo>
                    <a:pt x="1024" y="113"/>
                  </a:lnTo>
                  <a:lnTo>
                    <a:pt x="1076" y="113"/>
                  </a:lnTo>
                  <a:lnTo>
                    <a:pt x="1093" y="113"/>
                  </a:lnTo>
                  <a:lnTo>
                    <a:pt x="1110" y="129"/>
                  </a:lnTo>
                  <a:lnTo>
                    <a:pt x="1110" y="144"/>
                  </a:lnTo>
                  <a:lnTo>
                    <a:pt x="1024" y="144"/>
                  </a:lnTo>
                  <a:lnTo>
                    <a:pt x="1006" y="192"/>
                  </a:lnTo>
                  <a:lnTo>
                    <a:pt x="1024" y="177"/>
                  </a:lnTo>
                  <a:lnTo>
                    <a:pt x="1006" y="240"/>
                  </a:lnTo>
                  <a:lnTo>
                    <a:pt x="1006" y="273"/>
                  </a:lnTo>
                  <a:lnTo>
                    <a:pt x="1006" y="288"/>
                  </a:lnTo>
                  <a:lnTo>
                    <a:pt x="1024" y="288"/>
                  </a:lnTo>
                  <a:lnTo>
                    <a:pt x="1041" y="273"/>
                  </a:lnTo>
                  <a:lnTo>
                    <a:pt x="1041" y="209"/>
                  </a:lnTo>
                  <a:lnTo>
                    <a:pt x="1058" y="177"/>
                  </a:lnTo>
                  <a:lnTo>
                    <a:pt x="1076" y="161"/>
                  </a:lnTo>
                  <a:lnTo>
                    <a:pt x="1076" y="144"/>
                  </a:lnTo>
                  <a:lnTo>
                    <a:pt x="1127" y="161"/>
                  </a:lnTo>
                  <a:lnTo>
                    <a:pt x="1127" y="192"/>
                  </a:lnTo>
                  <a:lnTo>
                    <a:pt x="1110" y="225"/>
                  </a:lnTo>
                  <a:lnTo>
                    <a:pt x="1145" y="209"/>
                  </a:lnTo>
                  <a:lnTo>
                    <a:pt x="1145" y="240"/>
                  </a:lnTo>
                  <a:lnTo>
                    <a:pt x="1162" y="240"/>
                  </a:lnTo>
                  <a:lnTo>
                    <a:pt x="1127" y="288"/>
                  </a:lnTo>
                  <a:lnTo>
                    <a:pt x="1145" y="288"/>
                  </a:lnTo>
                  <a:lnTo>
                    <a:pt x="1179" y="288"/>
                  </a:lnTo>
                  <a:lnTo>
                    <a:pt x="1248" y="240"/>
                  </a:lnTo>
                  <a:lnTo>
                    <a:pt x="1248" y="225"/>
                  </a:lnTo>
                  <a:lnTo>
                    <a:pt x="1317" y="225"/>
                  </a:lnTo>
                  <a:lnTo>
                    <a:pt x="1317" y="192"/>
                  </a:lnTo>
                  <a:lnTo>
                    <a:pt x="1352" y="177"/>
                  </a:lnTo>
                  <a:lnTo>
                    <a:pt x="1438" y="177"/>
                  </a:lnTo>
                  <a:lnTo>
                    <a:pt x="1475" y="161"/>
                  </a:lnTo>
                  <a:lnTo>
                    <a:pt x="1509" y="81"/>
                  </a:lnTo>
                  <a:lnTo>
                    <a:pt x="1527" y="96"/>
                  </a:lnTo>
                  <a:lnTo>
                    <a:pt x="1544" y="81"/>
                  </a:lnTo>
                  <a:lnTo>
                    <a:pt x="1544" y="96"/>
                  </a:lnTo>
                  <a:lnTo>
                    <a:pt x="1561" y="144"/>
                  </a:lnTo>
                  <a:lnTo>
                    <a:pt x="1578" y="161"/>
                  </a:lnTo>
                  <a:lnTo>
                    <a:pt x="1578" y="177"/>
                  </a:lnTo>
                  <a:lnTo>
                    <a:pt x="1561" y="192"/>
                  </a:lnTo>
                  <a:lnTo>
                    <a:pt x="1527" y="192"/>
                  </a:lnTo>
                  <a:lnTo>
                    <a:pt x="1509" y="209"/>
                  </a:lnTo>
                  <a:lnTo>
                    <a:pt x="1492" y="225"/>
                  </a:lnTo>
                  <a:lnTo>
                    <a:pt x="1456" y="257"/>
                  </a:lnTo>
                  <a:lnTo>
                    <a:pt x="1475" y="288"/>
                  </a:lnTo>
                  <a:lnTo>
                    <a:pt x="1492" y="288"/>
                  </a:lnTo>
                  <a:lnTo>
                    <a:pt x="1492" y="273"/>
                  </a:lnTo>
                  <a:lnTo>
                    <a:pt x="1492" y="288"/>
                  </a:lnTo>
                  <a:lnTo>
                    <a:pt x="1456" y="288"/>
                  </a:lnTo>
                  <a:lnTo>
                    <a:pt x="1404" y="305"/>
                  </a:lnTo>
                  <a:lnTo>
                    <a:pt x="1387" y="321"/>
                  </a:lnTo>
                  <a:lnTo>
                    <a:pt x="1369" y="369"/>
                  </a:lnTo>
                  <a:lnTo>
                    <a:pt x="1352" y="369"/>
                  </a:lnTo>
                  <a:lnTo>
                    <a:pt x="1335" y="353"/>
                  </a:lnTo>
                  <a:lnTo>
                    <a:pt x="1352" y="384"/>
                  </a:lnTo>
                  <a:lnTo>
                    <a:pt x="1335" y="432"/>
                  </a:lnTo>
                  <a:lnTo>
                    <a:pt x="1335" y="401"/>
                  </a:lnTo>
                  <a:lnTo>
                    <a:pt x="1317" y="384"/>
                  </a:lnTo>
                  <a:lnTo>
                    <a:pt x="1335" y="353"/>
                  </a:lnTo>
                  <a:lnTo>
                    <a:pt x="1317" y="369"/>
                  </a:lnTo>
                  <a:lnTo>
                    <a:pt x="1317" y="401"/>
                  </a:lnTo>
                  <a:lnTo>
                    <a:pt x="1300" y="401"/>
                  </a:lnTo>
                  <a:lnTo>
                    <a:pt x="1317" y="401"/>
                  </a:lnTo>
                  <a:lnTo>
                    <a:pt x="1317" y="432"/>
                  </a:lnTo>
                  <a:lnTo>
                    <a:pt x="1335" y="480"/>
                  </a:lnTo>
                  <a:lnTo>
                    <a:pt x="1317" y="512"/>
                  </a:lnTo>
                  <a:lnTo>
                    <a:pt x="1248" y="545"/>
                  </a:lnTo>
                  <a:lnTo>
                    <a:pt x="1196" y="593"/>
                  </a:lnTo>
                  <a:lnTo>
                    <a:pt x="1179" y="624"/>
                  </a:lnTo>
                  <a:lnTo>
                    <a:pt x="1214" y="737"/>
                  </a:lnTo>
                  <a:lnTo>
                    <a:pt x="1214" y="785"/>
                  </a:lnTo>
                  <a:lnTo>
                    <a:pt x="1196" y="785"/>
                  </a:lnTo>
                  <a:lnTo>
                    <a:pt x="1179" y="768"/>
                  </a:lnTo>
                  <a:lnTo>
                    <a:pt x="1145" y="737"/>
                  </a:lnTo>
                  <a:lnTo>
                    <a:pt x="1145" y="672"/>
                  </a:lnTo>
                  <a:lnTo>
                    <a:pt x="1110" y="641"/>
                  </a:lnTo>
                  <a:lnTo>
                    <a:pt x="1076" y="656"/>
                  </a:lnTo>
                  <a:lnTo>
                    <a:pt x="1076" y="641"/>
                  </a:lnTo>
                  <a:lnTo>
                    <a:pt x="1041" y="641"/>
                  </a:lnTo>
                  <a:lnTo>
                    <a:pt x="1006" y="641"/>
                  </a:lnTo>
                  <a:lnTo>
                    <a:pt x="1006" y="624"/>
                  </a:lnTo>
                  <a:lnTo>
                    <a:pt x="955" y="641"/>
                  </a:lnTo>
                  <a:lnTo>
                    <a:pt x="937" y="641"/>
                  </a:lnTo>
                  <a:lnTo>
                    <a:pt x="972" y="641"/>
                  </a:lnTo>
                  <a:lnTo>
                    <a:pt x="955" y="656"/>
                  </a:lnTo>
                  <a:lnTo>
                    <a:pt x="972" y="672"/>
                  </a:lnTo>
                  <a:lnTo>
                    <a:pt x="955" y="672"/>
                  </a:lnTo>
                  <a:lnTo>
                    <a:pt x="920" y="672"/>
                  </a:lnTo>
                  <a:lnTo>
                    <a:pt x="903" y="656"/>
                  </a:lnTo>
                  <a:lnTo>
                    <a:pt x="884" y="656"/>
                  </a:lnTo>
                  <a:lnTo>
                    <a:pt x="849" y="656"/>
                  </a:lnTo>
                  <a:lnTo>
                    <a:pt x="814" y="672"/>
                  </a:lnTo>
                  <a:lnTo>
                    <a:pt x="814" y="656"/>
                  </a:lnTo>
                  <a:lnTo>
                    <a:pt x="797" y="656"/>
                  </a:lnTo>
                  <a:lnTo>
                    <a:pt x="814" y="672"/>
                  </a:lnTo>
                  <a:lnTo>
                    <a:pt x="745" y="720"/>
                  </a:lnTo>
                  <a:lnTo>
                    <a:pt x="745" y="768"/>
                  </a:lnTo>
                  <a:lnTo>
                    <a:pt x="693" y="752"/>
                  </a:lnTo>
                  <a:lnTo>
                    <a:pt x="624" y="656"/>
                  </a:lnTo>
                  <a:lnTo>
                    <a:pt x="607" y="656"/>
                  </a:lnTo>
                  <a:lnTo>
                    <a:pt x="590" y="672"/>
                  </a:lnTo>
                  <a:lnTo>
                    <a:pt x="573" y="672"/>
                  </a:lnTo>
                  <a:lnTo>
                    <a:pt x="538" y="656"/>
                  </a:lnTo>
                  <a:lnTo>
                    <a:pt x="538" y="624"/>
                  </a:lnTo>
                  <a:lnTo>
                    <a:pt x="503" y="593"/>
                  </a:lnTo>
                  <a:lnTo>
                    <a:pt x="365" y="608"/>
                  </a:lnTo>
                  <a:lnTo>
                    <a:pt x="260" y="576"/>
                  </a:lnTo>
                  <a:lnTo>
                    <a:pt x="208" y="576"/>
                  </a:lnTo>
                  <a:lnTo>
                    <a:pt x="190" y="545"/>
                  </a:lnTo>
                  <a:lnTo>
                    <a:pt x="173" y="545"/>
                  </a:lnTo>
                  <a:lnTo>
                    <a:pt x="173" y="528"/>
                  </a:lnTo>
                  <a:lnTo>
                    <a:pt x="104" y="512"/>
                  </a:lnTo>
                  <a:lnTo>
                    <a:pt x="104" y="497"/>
                  </a:lnTo>
                  <a:lnTo>
                    <a:pt x="70" y="464"/>
                  </a:lnTo>
                  <a:lnTo>
                    <a:pt x="70" y="432"/>
                  </a:lnTo>
                  <a:lnTo>
                    <a:pt x="52" y="432"/>
                  </a:lnTo>
                  <a:lnTo>
                    <a:pt x="52" y="416"/>
                  </a:lnTo>
                  <a:lnTo>
                    <a:pt x="70" y="416"/>
                  </a:lnTo>
                  <a:lnTo>
                    <a:pt x="70" y="401"/>
                  </a:lnTo>
                  <a:lnTo>
                    <a:pt x="35" y="401"/>
                  </a:lnTo>
                  <a:lnTo>
                    <a:pt x="52" y="401"/>
                  </a:lnTo>
                  <a:lnTo>
                    <a:pt x="18" y="369"/>
                  </a:lnTo>
                  <a:lnTo>
                    <a:pt x="18" y="353"/>
                  </a:lnTo>
                  <a:lnTo>
                    <a:pt x="0" y="336"/>
                  </a:lnTo>
                  <a:lnTo>
                    <a:pt x="18" y="288"/>
                  </a:lnTo>
                  <a:lnTo>
                    <a:pt x="0" y="240"/>
                  </a:lnTo>
                  <a:lnTo>
                    <a:pt x="18" y="129"/>
                  </a:lnTo>
                  <a:lnTo>
                    <a:pt x="35" y="129"/>
                  </a:lnTo>
                  <a:lnTo>
                    <a:pt x="18" y="129"/>
                  </a:lnTo>
                  <a:lnTo>
                    <a:pt x="0" y="48"/>
                  </a:lnTo>
                  <a:lnTo>
                    <a:pt x="35" y="48"/>
                  </a:lnTo>
                  <a:lnTo>
                    <a:pt x="52" y="65"/>
                  </a:lnTo>
                  <a:lnTo>
                    <a:pt x="35" y="81"/>
                  </a:lnTo>
                  <a:lnTo>
                    <a:pt x="52" y="81"/>
                  </a:lnTo>
                  <a:lnTo>
                    <a:pt x="52" y="33"/>
                  </a:lnTo>
                  <a:lnTo>
                    <a:pt x="52" y="17"/>
                  </a:lnTo>
                  <a:close/>
                </a:path>
              </a:pathLst>
            </a:custGeom>
            <a:solidFill>
              <a:srgbClr val="002060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88" name="Freeform 66">
              <a:extLst>
                <a:ext uri="{FF2B5EF4-FFF2-40B4-BE49-F238E27FC236}">
                  <a16:creationId xmlns:a16="http://schemas.microsoft.com/office/drawing/2014/main" id="{897DE092-07A7-5FC7-C33A-D487712CC109}"/>
                </a:ext>
              </a:extLst>
            </p:cNvPr>
            <p:cNvSpPr>
              <a:spLocks/>
            </p:cNvSpPr>
            <p:nvPr>
              <p:custDataLst>
                <p:tags r:id="rId74"/>
              </p:custDataLst>
            </p:nvPr>
          </p:nvSpPr>
          <p:spPr bwMode="auto">
            <a:xfrm>
              <a:off x="3866792" y="6029809"/>
              <a:ext cx="105554" cy="101650"/>
            </a:xfrm>
            <a:custGeom>
              <a:avLst/>
              <a:gdLst>
                <a:gd name="T0" fmla="*/ 27781 w 140"/>
                <a:gd name="T1" fmla="*/ 19050 h 126"/>
                <a:gd name="T2" fmla="*/ 27781 w 140"/>
                <a:gd name="T3" fmla="*/ 19050 h 126"/>
                <a:gd name="T4" fmla="*/ 27781 w 140"/>
                <a:gd name="T5" fmla="*/ 0 h 126"/>
                <a:gd name="T6" fmla="*/ 19844 w 140"/>
                <a:gd name="T7" fmla="*/ 3175 h 126"/>
                <a:gd name="T8" fmla="*/ 16669 w 140"/>
                <a:gd name="T9" fmla="*/ 6350 h 126"/>
                <a:gd name="T10" fmla="*/ 19844 w 140"/>
                <a:gd name="T11" fmla="*/ 9525 h 126"/>
                <a:gd name="T12" fmla="*/ 23812 w 140"/>
                <a:gd name="T13" fmla="*/ 6350 h 126"/>
                <a:gd name="T14" fmla="*/ 23812 w 140"/>
                <a:gd name="T15" fmla="*/ 9525 h 126"/>
                <a:gd name="T16" fmla="*/ 19844 w 140"/>
                <a:gd name="T17" fmla="*/ 9525 h 126"/>
                <a:gd name="T18" fmla="*/ 19844 w 140"/>
                <a:gd name="T19" fmla="*/ 15875 h 126"/>
                <a:gd name="T20" fmla="*/ 19844 w 140"/>
                <a:gd name="T21" fmla="*/ 12700 h 126"/>
                <a:gd name="T22" fmla="*/ 16669 w 140"/>
                <a:gd name="T23" fmla="*/ 12700 h 126"/>
                <a:gd name="T24" fmla="*/ 14287 w 140"/>
                <a:gd name="T25" fmla="*/ 12700 h 126"/>
                <a:gd name="T26" fmla="*/ 3175 w 140"/>
                <a:gd name="T27" fmla="*/ 6350 h 126"/>
                <a:gd name="T28" fmla="*/ 0 w 140"/>
                <a:gd name="T29" fmla="*/ 9525 h 126"/>
                <a:gd name="T30" fmla="*/ 3175 w 140"/>
                <a:gd name="T31" fmla="*/ 12700 h 126"/>
                <a:gd name="T32" fmla="*/ 7144 w 140"/>
                <a:gd name="T33" fmla="*/ 12700 h 126"/>
                <a:gd name="T34" fmla="*/ 7144 w 140"/>
                <a:gd name="T35" fmla="*/ 15875 h 126"/>
                <a:gd name="T36" fmla="*/ 9525 w 140"/>
                <a:gd name="T37" fmla="*/ 15875 h 126"/>
                <a:gd name="T38" fmla="*/ 9525 w 140"/>
                <a:gd name="T39" fmla="*/ 19050 h 126"/>
                <a:gd name="T40" fmla="*/ 16669 w 140"/>
                <a:gd name="T41" fmla="*/ 22225 h 126"/>
                <a:gd name="T42" fmla="*/ 19844 w 140"/>
                <a:gd name="T43" fmla="*/ 22225 h 126"/>
                <a:gd name="T44" fmla="*/ 23812 w 140"/>
                <a:gd name="T45" fmla="*/ 25400 h 126"/>
                <a:gd name="T46" fmla="*/ 27781 w 140"/>
                <a:gd name="T47" fmla="*/ 19050 h 12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40"/>
                <a:gd name="T73" fmla="*/ 0 h 126"/>
                <a:gd name="T74" fmla="*/ 140 w 140"/>
                <a:gd name="T75" fmla="*/ 126 h 12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40" h="126">
                  <a:moveTo>
                    <a:pt x="140" y="96"/>
                  </a:moveTo>
                  <a:lnTo>
                    <a:pt x="140" y="96"/>
                  </a:lnTo>
                  <a:lnTo>
                    <a:pt x="140" y="0"/>
                  </a:lnTo>
                  <a:lnTo>
                    <a:pt x="103" y="15"/>
                  </a:lnTo>
                  <a:lnTo>
                    <a:pt x="86" y="30"/>
                  </a:lnTo>
                  <a:lnTo>
                    <a:pt x="103" y="48"/>
                  </a:lnTo>
                  <a:lnTo>
                    <a:pt x="122" y="30"/>
                  </a:lnTo>
                  <a:lnTo>
                    <a:pt x="122" y="48"/>
                  </a:lnTo>
                  <a:lnTo>
                    <a:pt x="103" y="48"/>
                  </a:lnTo>
                  <a:lnTo>
                    <a:pt x="103" y="78"/>
                  </a:lnTo>
                  <a:lnTo>
                    <a:pt x="103" y="63"/>
                  </a:lnTo>
                  <a:lnTo>
                    <a:pt x="86" y="63"/>
                  </a:lnTo>
                  <a:lnTo>
                    <a:pt x="69" y="63"/>
                  </a:lnTo>
                  <a:lnTo>
                    <a:pt x="17" y="30"/>
                  </a:lnTo>
                  <a:lnTo>
                    <a:pt x="0" y="48"/>
                  </a:lnTo>
                  <a:lnTo>
                    <a:pt x="17" y="63"/>
                  </a:lnTo>
                  <a:lnTo>
                    <a:pt x="34" y="63"/>
                  </a:lnTo>
                  <a:lnTo>
                    <a:pt x="34" y="78"/>
                  </a:lnTo>
                  <a:lnTo>
                    <a:pt x="51" y="78"/>
                  </a:lnTo>
                  <a:lnTo>
                    <a:pt x="51" y="96"/>
                  </a:lnTo>
                  <a:lnTo>
                    <a:pt x="86" y="111"/>
                  </a:lnTo>
                  <a:lnTo>
                    <a:pt x="103" y="111"/>
                  </a:lnTo>
                  <a:lnTo>
                    <a:pt x="122" y="126"/>
                  </a:lnTo>
                  <a:lnTo>
                    <a:pt x="140" y="96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89" name="Freeform 67">
              <a:extLst>
                <a:ext uri="{FF2B5EF4-FFF2-40B4-BE49-F238E27FC236}">
                  <a16:creationId xmlns:a16="http://schemas.microsoft.com/office/drawing/2014/main" id="{C9FA55A4-36BB-1CB6-2130-EA5A5839302E}"/>
                </a:ext>
              </a:extLst>
            </p:cNvPr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3972346" y="6029809"/>
              <a:ext cx="78772" cy="114982"/>
            </a:xfrm>
            <a:custGeom>
              <a:avLst/>
              <a:gdLst>
                <a:gd name="T0" fmla="*/ 0 w 103"/>
                <a:gd name="T1" fmla="*/ 19050 h 144"/>
                <a:gd name="T2" fmla="*/ 0 w 103"/>
                <a:gd name="T3" fmla="*/ 19050 h 144"/>
                <a:gd name="T4" fmla="*/ 0 w 103"/>
                <a:gd name="T5" fmla="*/ 0 h 144"/>
                <a:gd name="T6" fmla="*/ 4007 w 103"/>
                <a:gd name="T7" fmla="*/ 9525 h 144"/>
                <a:gd name="T8" fmla="*/ 14426 w 103"/>
                <a:gd name="T9" fmla="*/ 15081 h 144"/>
                <a:gd name="T10" fmla="*/ 20838 w 103"/>
                <a:gd name="T11" fmla="*/ 19050 h 144"/>
                <a:gd name="T12" fmla="*/ 17632 w 103"/>
                <a:gd name="T13" fmla="*/ 21431 h 144"/>
                <a:gd name="T14" fmla="*/ 7213 w 103"/>
                <a:gd name="T15" fmla="*/ 24606 h 144"/>
                <a:gd name="T16" fmla="*/ 4007 w 103"/>
                <a:gd name="T17" fmla="*/ 28575 h 144"/>
                <a:gd name="T18" fmla="*/ 0 w 103"/>
                <a:gd name="T19" fmla="*/ 19050 h 14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3"/>
                <a:gd name="T31" fmla="*/ 0 h 144"/>
                <a:gd name="T32" fmla="*/ 103 w 103"/>
                <a:gd name="T33" fmla="*/ 144 h 14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3" h="144">
                  <a:moveTo>
                    <a:pt x="0" y="96"/>
                  </a:moveTo>
                  <a:lnTo>
                    <a:pt x="0" y="96"/>
                  </a:lnTo>
                  <a:lnTo>
                    <a:pt x="0" y="0"/>
                  </a:lnTo>
                  <a:lnTo>
                    <a:pt x="17" y="48"/>
                  </a:lnTo>
                  <a:lnTo>
                    <a:pt x="69" y="78"/>
                  </a:lnTo>
                  <a:lnTo>
                    <a:pt x="103" y="96"/>
                  </a:lnTo>
                  <a:lnTo>
                    <a:pt x="86" y="111"/>
                  </a:lnTo>
                  <a:lnTo>
                    <a:pt x="34" y="126"/>
                  </a:lnTo>
                  <a:lnTo>
                    <a:pt x="17" y="144"/>
                  </a:lnTo>
                  <a:lnTo>
                    <a:pt x="0" y="96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90" name="Freeform 68">
              <a:extLst>
                <a:ext uri="{FF2B5EF4-FFF2-40B4-BE49-F238E27FC236}">
                  <a16:creationId xmlns:a16="http://schemas.microsoft.com/office/drawing/2014/main" id="{0D2E29D3-CAD9-718A-6817-D7B90C61AED7}"/>
                </a:ext>
              </a:extLst>
            </p:cNvPr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3501288" y="4790013"/>
              <a:ext cx="12604" cy="26662"/>
            </a:xfrm>
            <a:custGeom>
              <a:avLst/>
              <a:gdLst>
                <a:gd name="T0" fmla="*/ 0 w 15"/>
                <a:gd name="T1" fmla="*/ 0 h 33"/>
                <a:gd name="T2" fmla="*/ 0 w 15"/>
                <a:gd name="T3" fmla="*/ 0 h 33"/>
                <a:gd name="T4" fmla="*/ 3387 w 15"/>
                <a:gd name="T5" fmla="*/ 3079 h 33"/>
                <a:gd name="T6" fmla="*/ 0 w 15"/>
                <a:gd name="T7" fmla="*/ 3079 h 33"/>
                <a:gd name="T8" fmla="*/ 3387 w 15"/>
                <a:gd name="T9" fmla="*/ 6158 h 33"/>
                <a:gd name="T10" fmla="*/ 3387 w 15"/>
                <a:gd name="T11" fmla="*/ 3079 h 33"/>
                <a:gd name="T12" fmla="*/ 0 w 15"/>
                <a:gd name="T13" fmla="*/ 0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"/>
                <a:gd name="T22" fmla="*/ 0 h 33"/>
                <a:gd name="T23" fmla="*/ 15 w 15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" h="33">
                  <a:moveTo>
                    <a:pt x="0" y="0"/>
                  </a:moveTo>
                  <a:lnTo>
                    <a:pt x="0" y="0"/>
                  </a:lnTo>
                  <a:lnTo>
                    <a:pt x="15" y="18"/>
                  </a:lnTo>
                  <a:lnTo>
                    <a:pt x="0" y="18"/>
                  </a:lnTo>
                  <a:lnTo>
                    <a:pt x="15" y="33"/>
                  </a:lnTo>
                  <a:lnTo>
                    <a:pt x="15" y="18"/>
                  </a:lnTo>
                  <a:lnTo>
                    <a:pt x="0" y="0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91" name="Freeform 69">
              <a:extLst>
                <a:ext uri="{FF2B5EF4-FFF2-40B4-BE49-F238E27FC236}">
                  <a16:creationId xmlns:a16="http://schemas.microsoft.com/office/drawing/2014/main" id="{940C1576-F2CA-502F-6B1B-B282F5C70808}"/>
                </a:ext>
              </a:extLst>
            </p:cNvPr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3852612" y="5709861"/>
              <a:ext cx="26783" cy="51659"/>
            </a:xfrm>
            <a:custGeom>
              <a:avLst/>
              <a:gdLst>
                <a:gd name="T0" fmla="*/ 3084 w 35"/>
                <a:gd name="T1" fmla="*/ 0 h 65"/>
                <a:gd name="T2" fmla="*/ 3084 w 35"/>
                <a:gd name="T3" fmla="*/ 0 h 65"/>
                <a:gd name="T4" fmla="*/ 0 w 35"/>
                <a:gd name="T5" fmla="*/ 9672 h 65"/>
                <a:gd name="T6" fmla="*/ 3084 w 35"/>
                <a:gd name="T7" fmla="*/ 13701 h 65"/>
                <a:gd name="T8" fmla="*/ 6169 w 35"/>
                <a:gd name="T9" fmla="*/ 4030 h 65"/>
                <a:gd name="T10" fmla="*/ 3084 w 35"/>
                <a:gd name="T11" fmla="*/ 0 h 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5"/>
                <a:gd name="T19" fmla="*/ 0 h 65"/>
                <a:gd name="T20" fmla="*/ 35 w 35"/>
                <a:gd name="T21" fmla="*/ 65 h 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5" h="65">
                  <a:moveTo>
                    <a:pt x="18" y="0"/>
                  </a:moveTo>
                  <a:lnTo>
                    <a:pt x="18" y="0"/>
                  </a:lnTo>
                  <a:lnTo>
                    <a:pt x="0" y="48"/>
                  </a:lnTo>
                  <a:lnTo>
                    <a:pt x="18" y="65"/>
                  </a:lnTo>
                  <a:lnTo>
                    <a:pt x="35" y="17"/>
                  </a:lnTo>
                  <a:lnTo>
                    <a:pt x="18" y="0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92" name="Freeform 70">
              <a:extLst>
                <a:ext uri="{FF2B5EF4-FFF2-40B4-BE49-F238E27FC236}">
                  <a16:creationId xmlns:a16="http://schemas.microsoft.com/office/drawing/2014/main" id="{71F37244-56BF-521C-6805-8D0D6770846A}"/>
                </a:ext>
              </a:extLst>
            </p:cNvPr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4128316" y="5991482"/>
              <a:ext cx="66169" cy="38326"/>
            </a:xfrm>
            <a:custGeom>
              <a:avLst/>
              <a:gdLst>
                <a:gd name="T0" fmla="*/ 0 w 88"/>
                <a:gd name="T1" fmla="*/ 2381 h 48"/>
                <a:gd name="T2" fmla="*/ 0 w 88"/>
                <a:gd name="T3" fmla="*/ 2381 h 48"/>
                <a:gd name="T4" fmla="*/ 3969 w 88"/>
                <a:gd name="T5" fmla="*/ 5556 h 48"/>
                <a:gd name="T6" fmla="*/ 7144 w 88"/>
                <a:gd name="T7" fmla="*/ 5556 h 48"/>
                <a:gd name="T8" fmla="*/ 10319 w 88"/>
                <a:gd name="T9" fmla="*/ 9525 h 48"/>
                <a:gd name="T10" fmla="*/ 17463 w 88"/>
                <a:gd name="T11" fmla="*/ 2381 h 48"/>
                <a:gd name="T12" fmla="*/ 17463 w 88"/>
                <a:gd name="T13" fmla="*/ 0 h 48"/>
                <a:gd name="T14" fmla="*/ 7144 w 88"/>
                <a:gd name="T15" fmla="*/ 0 h 48"/>
                <a:gd name="T16" fmla="*/ 3969 w 88"/>
                <a:gd name="T17" fmla="*/ 0 h 48"/>
                <a:gd name="T18" fmla="*/ 7144 w 88"/>
                <a:gd name="T19" fmla="*/ 2381 h 48"/>
                <a:gd name="T20" fmla="*/ 3969 w 88"/>
                <a:gd name="T21" fmla="*/ 5556 h 48"/>
                <a:gd name="T22" fmla="*/ 0 w 88"/>
                <a:gd name="T23" fmla="*/ 2381 h 4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8"/>
                <a:gd name="T37" fmla="*/ 0 h 48"/>
                <a:gd name="T38" fmla="*/ 88 w 88"/>
                <a:gd name="T39" fmla="*/ 48 h 4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8" h="48">
                  <a:moveTo>
                    <a:pt x="0" y="15"/>
                  </a:moveTo>
                  <a:lnTo>
                    <a:pt x="0" y="15"/>
                  </a:lnTo>
                  <a:lnTo>
                    <a:pt x="17" y="30"/>
                  </a:lnTo>
                  <a:lnTo>
                    <a:pt x="35" y="30"/>
                  </a:lnTo>
                  <a:lnTo>
                    <a:pt x="52" y="48"/>
                  </a:lnTo>
                  <a:lnTo>
                    <a:pt x="88" y="15"/>
                  </a:lnTo>
                  <a:lnTo>
                    <a:pt x="88" y="0"/>
                  </a:lnTo>
                  <a:lnTo>
                    <a:pt x="35" y="0"/>
                  </a:lnTo>
                  <a:lnTo>
                    <a:pt x="17" y="0"/>
                  </a:lnTo>
                  <a:lnTo>
                    <a:pt x="35" y="15"/>
                  </a:lnTo>
                  <a:lnTo>
                    <a:pt x="17" y="30"/>
                  </a:lnTo>
                  <a:lnTo>
                    <a:pt x="0" y="15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93" name="Freeform 71">
              <a:extLst>
                <a:ext uri="{FF2B5EF4-FFF2-40B4-BE49-F238E27FC236}">
                  <a16:creationId xmlns:a16="http://schemas.microsoft.com/office/drawing/2014/main" id="{7FB46476-07AE-AE20-D97A-E96428737998}"/>
                </a:ext>
              </a:extLst>
            </p:cNvPr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3827405" y="5153286"/>
              <a:ext cx="168573" cy="931514"/>
            </a:xfrm>
            <a:custGeom>
              <a:avLst/>
              <a:gdLst>
                <a:gd name="T0" fmla="*/ 27781 w 224"/>
                <a:gd name="T1" fmla="*/ 3172 h 1167"/>
                <a:gd name="T2" fmla="*/ 38100 w 224"/>
                <a:gd name="T3" fmla="*/ 9517 h 1167"/>
                <a:gd name="T4" fmla="*/ 41275 w 224"/>
                <a:gd name="T5" fmla="*/ 28551 h 1167"/>
                <a:gd name="T6" fmla="*/ 44450 w 224"/>
                <a:gd name="T7" fmla="*/ 34102 h 1167"/>
                <a:gd name="T8" fmla="*/ 41275 w 224"/>
                <a:gd name="T9" fmla="*/ 47584 h 1167"/>
                <a:gd name="T10" fmla="*/ 27781 w 224"/>
                <a:gd name="T11" fmla="*/ 76135 h 1167"/>
                <a:gd name="T12" fmla="*/ 27781 w 224"/>
                <a:gd name="T13" fmla="*/ 97548 h 1167"/>
                <a:gd name="T14" fmla="*/ 23812 w 224"/>
                <a:gd name="T15" fmla="*/ 107064 h 1167"/>
                <a:gd name="T16" fmla="*/ 20638 w 224"/>
                <a:gd name="T17" fmla="*/ 126098 h 1167"/>
                <a:gd name="T18" fmla="*/ 20638 w 224"/>
                <a:gd name="T19" fmla="*/ 145132 h 1167"/>
                <a:gd name="T20" fmla="*/ 23812 w 224"/>
                <a:gd name="T21" fmla="*/ 157821 h 1167"/>
                <a:gd name="T22" fmla="*/ 20638 w 224"/>
                <a:gd name="T23" fmla="*/ 161786 h 1167"/>
                <a:gd name="T24" fmla="*/ 20638 w 224"/>
                <a:gd name="T25" fmla="*/ 173682 h 1167"/>
                <a:gd name="T26" fmla="*/ 17463 w 224"/>
                <a:gd name="T27" fmla="*/ 186371 h 1167"/>
                <a:gd name="T28" fmla="*/ 14288 w 224"/>
                <a:gd name="T29" fmla="*/ 202233 h 1167"/>
                <a:gd name="T30" fmla="*/ 17463 w 224"/>
                <a:gd name="T31" fmla="*/ 202233 h 1167"/>
                <a:gd name="T32" fmla="*/ 20638 w 224"/>
                <a:gd name="T33" fmla="*/ 214922 h 1167"/>
                <a:gd name="T34" fmla="*/ 38100 w 224"/>
                <a:gd name="T35" fmla="*/ 214922 h 1167"/>
                <a:gd name="T36" fmla="*/ 34131 w 224"/>
                <a:gd name="T37" fmla="*/ 214922 h 1167"/>
                <a:gd name="T38" fmla="*/ 27781 w 224"/>
                <a:gd name="T39" fmla="*/ 221267 h 1167"/>
                <a:gd name="T40" fmla="*/ 23812 w 224"/>
                <a:gd name="T41" fmla="*/ 230783 h 1167"/>
                <a:gd name="T42" fmla="*/ 23812 w 224"/>
                <a:gd name="T43" fmla="*/ 224439 h 1167"/>
                <a:gd name="T44" fmla="*/ 17463 w 224"/>
                <a:gd name="T45" fmla="*/ 224439 h 1167"/>
                <a:gd name="T46" fmla="*/ 14288 w 224"/>
                <a:gd name="T47" fmla="*/ 218887 h 1167"/>
                <a:gd name="T48" fmla="*/ 7144 w 224"/>
                <a:gd name="T49" fmla="*/ 214922 h 1167"/>
                <a:gd name="T50" fmla="*/ 3969 w 224"/>
                <a:gd name="T51" fmla="*/ 214922 h 1167"/>
                <a:gd name="T52" fmla="*/ 7144 w 224"/>
                <a:gd name="T53" fmla="*/ 211750 h 1167"/>
                <a:gd name="T54" fmla="*/ 7144 w 224"/>
                <a:gd name="T55" fmla="*/ 205405 h 1167"/>
                <a:gd name="T56" fmla="*/ 3969 w 224"/>
                <a:gd name="T57" fmla="*/ 211750 h 1167"/>
                <a:gd name="T58" fmla="*/ 7144 w 224"/>
                <a:gd name="T59" fmla="*/ 205405 h 1167"/>
                <a:gd name="T60" fmla="*/ 3969 w 224"/>
                <a:gd name="T61" fmla="*/ 205405 h 1167"/>
                <a:gd name="T62" fmla="*/ 0 w 224"/>
                <a:gd name="T63" fmla="*/ 195888 h 1167"/>
                <a:gd name="T64" fmla="*/ 3969 w 224"/>
                <a:gd name="T65" fmla="*/ 183199 h 1167"/>
                <a:gd name="T66" fmla="*/ 7144 w 224"/>
                <a:gd name="T67" fmla="*/ 186371 h 1167"/>
                <a:gd name="T68" fmla="*/ 3969 w 224"/>
                <a:gd name="T69" fmla="*/ 173682 h 1167"/>
                <a:gd name="T70" fmla="*/ 7144 w 224"/>
                <a:gd name="T71" fmla="*/ 171303 h 1167"/>
                <a:gd name="T72" fmla="*/ 7144 w 224"/>
                <a:gd name="T73" fmla="*/ 167338 h 1167"/>
                <a:gd name="T74" fmla="*/ 10319 w 224"/>
                <a:gd name="T75" fmla="*/ 154649 h 1167"/>
                <a:gd name="T76" fmla="*/ 10319 w 224"/>
                <a:gd name="T77" fmla="*/ 161786 h 1167"/>
                <a:gd name="T78" fmla="*/ 17463 w 224"/>
                <a:gd name="T79" fmla="*/ 142753 h 1167"/>
                <a:gd name="T80" fmla="*/ 14288 w 224"/>
                <a:gd name="T81" fmla="*/ 138787 h 1167"/>
                <a:gd name="T82" fmla="*/ 10319 w 224"/>
                <a:gd name="T83" fmla="*/ 126098 h 1167"/>
                <a:gd name="T84" fmla="*/ 10319 w 224"/>
                <a:gd name="T85" fmla="*/ 114202 h 1167"/>
                <a:gd name="T86" fmla="*/ 23812 w 224"/>
                <a:gd name="T87" fmla="*/ 81686 h 1167"/>
                <a:gd name="T88" fmla="*/ 23812 w 224"/>
                <a:gd name="T89" fmla="*/ 66618 h 1167"/>
                <a:gd name="T90" fmla="*/ 27781 w 224"/>
                <a:gd name="T91" fmla="*/ 47584 h 1167"/>
                <a:gd name="T92" fmla="*/ 30956 w 224"/>
                <a:gd name="T93" fmla="*/ 19034 h 116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24"/>
                <a:gd name="T142" fmla="*/ 0 h 1167"/>
                <a:gd name="T143" fmla="*/ 224 w 224"/>
                <a:gd name="T144" fmla="*/ 1167 h 116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24" h="1167">
                  <a:moveTo>
                    <a:pt x="138" y="16"/>
                  </a:moveTo>
                  <a:lnTo>
                    <a:pt x="138" y="16"/>
                  </a:lnTo>
                  <a:lnTo>
                    <a:pt x="172" y="0"/>
                  </a:lnTo>
                  <a:lnTo>
                    <a:pt x="190" y="48"/>
                  </a:lnTo>
                  <a:lnTo>
                    <a:pt x="190" y="64"/>
                  </a:lnTo>
                  <a:lnTo>
                    <a:pt x="207" y="144"/>
                  </a:lnTo>
                  <a:lnTo>
                    <a:pt x="224" y="144"/>
                  </a:lnTo>
                  <a:lnTo>
                    <a:pt x="224" y="175"/>
                  </a:lnTo>
                  <a:lnTo>
                    <a:pt x="190" y="192"/>
                  </a:lnTo>
                  <a:lnTo>
                    <a:pt x="207" y="240"/>
                  </a:lnTo>
                  <a:lnTo>
                    <a:pt x="172" y="288"/>
                  </a:lnTo>
                  <a:lnTo>
                    <a:pt x="138" y="384"/>
                  </a:lnTo>
                  <a:lnTo>
                    <a:pt x="155" y="447"/>
                  </a:lnTo>
                  <a:lnTo>
                    <a:pt x="138" y="495"/>
                  </a:lnTo>
                  <a:lnTo>
                    <a:pt x="138" y="528"/>
                  </a:lnTo>
                  <a:lnTo>
                    <a:pt x="121" y="543"/>
                  </a:lnTo>
                  <a:lnTo>
                    <a:pt x="121" y="607"/>
                  </a:lnTo>
                  <a:lnTo>
                    <a:pt x="103" y="639"/>
                  </a:lnTo>
                  <a:lnTo>
                    <a:pt x="103" y="703"/>
                  </a:lnTo>
                  <a:lnTo>
                    <a:pt x="103" y="735"/>
                  </a:lnTo>
                  <a:lnTo>
                    <a:pt x="103" y="799"/>
                  </a:lnTo>
                  <a:lnTo>
                    <a:pt x="121" y="799"/>
                  </a:lnTo>
                  <a:lnTo>
                    <a:pt x="121" y="816"/>
                  </a:lnTo>
                  <a:lnTo>
                    <a:pt x="103" y="816"/>
                  </a:lnTo>
                  <a:lnTo>
                    <a:pt x="121" y="816"/>
                  </a:lnTo>
                  <a:lnTo>
                    <a:pt x="103" y="879"/>
                  </a:lnTo>
                  <a:lnTo>
                    <a:pt x="86" y="912"/>
                  </a:lnTo>
                  <a:lnTo>
                    <a:pt x="86" y="942"/>
                  </a:lnTo>
                  <a:lnTo>
                    <a:pt x="69" y="990"/>
                  </a:lnTo>
                  <a:lnTo>
                    <a:pt x="69" y="1023"/>
                  </a:lnTo>
                  <a:lnTo>
                    <a:pt x="69" y="1038"/>
                  </a:lnTo>
                  <a:lnTo>
                    <a:pt x="86" y="1023"/>
                  </a:lnTo>
                  <a:lnTo>
                    <a:pt x="86" y="1071"/>
                  </a:lnTo>
                  <a:lnTo>
                    <a:pt x="103" y="1086"/>
                  </a:lnTo>
                  <a:lnTo>
                    <a:pt x="155" y="1086"/>
                  </a:lnTo>
                  <a:lnTo>
                    <a:pt x="190" y="1086"/>
                  </a:lnTo>
                  <a:lnTo>
                    <a:pt x="190" y="1104"/>
                  </a:lnTo>
                  <a:lnTo>
                    <a:pt x="172" y="1086"/>
                  </a:lnTo>
                  <a:lnTo>
                    <a:pt x="172" y="1104"/>
                  </a:lnTo>
                  <a:lnTo>
                    <a:pt x="138" y="1119"/>
                  </a:lnTo>
                  <a:lnTo>
                    <a:pt x="138" y="1152"/>
                  </a:lnTo>
                  <a:lnTo>
                    <a:pt x="121" y="1167"/>
                  </a:lnTo>
                  <a:lnTo>
                    <a:pt x="103" y="1134"/>
                  </a:lnTo>
                  <a:lnTo>
                    <a:pt x="121" y="1134"/>
                  </a:lnTo>
                  <a:lnTo>
                    <a:pt x="121" y="1119"/>
                  </a:lnTo>
                  <a:lnTo>
                    <a:pt x="86" y="1134"/>
                  </a:lnTo>
                  <a:lnTo>
                    <a:pt x="69" y="1119"/>
                  </a:lnTo>
                  <a:lnTo>
                    <a:pt x="69" y="1104"/>
                  </a:lnTo>
                  <a:lnTo>
                    <a:pt x="52" y="1104"/>
                  </a:lnTo>
                  <a:lnTo>
                    <a:pt x="34" y="1086"/>
                  </a:lnTo>
                  <a:lnTo>
                    <a:pt x="34" y="1104"/>
                  </a:lnTo>
                  <a:lnTo>
                    <a:pt x="17" y="1086"/>
                  </a:lnTo>
                  <a:lnTo>
                    <a:pt x="17" y="1071"/>
                  </a:lnTo>
                  <a:lnTo>
                    <a:pt x="34" y="1071"/>
                  </a:lnTo>
                  <a:lnTo>
                    <a:pt x="34" y="1056"/>
                  </a:lnTo>
                  <a:lnTo>
                    <a:pt x="34" y="1038"/>
                  </a:lnTo>
                  <a:lnTo>
                    <a:pt x="34" y="1056"/>
                  </a:lnTo>
                  <a:lnTo>
                    <a:pt x="17" y="1071"/>
                  </a:lnTo>
                  <a:lnTo>
                    <a:pt x="17" y="1023"/>
                  </a:lnTo>
                  <a:lnTo>
                    <a:pt x="34" y="1038"/>
                  </a:lnTo>
                  <a:lnTo>
                    <a:pt x="34" y="1008"/>
                  </a:lnTo>
                  <a:lnTo>
                    <a:pt x="17" y="1038"/>
                  </a:lnTo>
                  <a:lnTo>
                    <a:pt x="17" y="1008"/>
                  </a:lnTo>
                  <a:lnTo>
                    <a:pt x="0" y="990"/>
                  </a:lnTo>
                  <a:lnTo>
                    <a:pt x="0" y="975"/>
                  </a:lnTo>
                  <a:lnTo>
                    <a:pt x="17" y="927"/>
                  </a:lnTo>
                  <a:lnTo>
                    <a:pt x="17" y="912"/>
                  </a:lnTo>
                  <a:lnTo>
                    <a:pt x="34" y="942"/>
                  </a:lnTo>
                  <a:lnTo>
                    <a:pt x="52" y="879"/>
                  </a:lnTo>
                  <a:lnTo>
                    <a:pt x="17" y="879"/>
                  </a:lnTo>
                  <a:lnTo>
                    <a:pt x="0" y="879"/>
                  </a:lnTo>
                  <a:lnTo>
                    <a:pt x="34" y="864"/>
                  </a:lnTo>
                  <a:lnTo>
                    <a:pt x="17" y="846"/>
                  </a:lnTo>
                  <a:lnTo>
                    <a:pt x="34" y="846"/>
                  </a:lnTo>
                  <a:lnTo>
                    <a:pt x="34" y="799"/>
                  </a:lnTo>
                  <a:lnTo>
                    <a:pt x="52" y="783"/>
                  </a:lnTo>
                  <a:lnTo>
                    <a:pt x="69" y="783"/>
                  </a:lnTo>
                  <a:lnTo>
                    <a:pt x="52" y="816"/>
                  </a:lnTo>
                  <a:lnTo>
                    <a:pt x="52" y="831"/>
                  </a:lnTo>
                  <a:lnTo>
                    <a:pt x="86" y="720"/>
                  </a:lnTo>
                  <a:lnTo>
                    <a:pt x="86" y="703"/>
                  </a:lnTo>
                  <a:lnTo>
                    <a:pt x="69" y="703"/>
                  </a:lnTo>
                  <a:lnTo>
                    <a:pt x="52" y="687"/>
                  </a:lnTo>
                  <a:lnTo>
                    <a:pt x="52" y="639"/>
                  </a:lnTo>
                  <a:lnTo>
                    <a:pt x="69" y="624"/>
                  </a:lnTo>
                  <a:lnTo>
                    <a:pt x="52" y="576"/>
                  </a:lnTo>
                  <a:lnTo>
                    <a:pt x="69" y="559"/>
                  </a:lnTo>
                  <a:lnTo>
                    <a:pt x="121" y="415"/>
                  </a:lnTo>
                  <a:lnTo>
                    <a:pt x="103" y="367"/>
                  </a:lnTo>
                  <a:lnTo>
                    <a:pt x="121" y="336"/>
                  </a:lnTo>
                  <a:lnTo>
                    <a:pt x="121" y="303"/>
                  </a:lnTo>
                  <a:lnTo>
                    <a:pt x="138" y="240"/>
                  </a:lnTo>
                  <a:lnTo>
                    <a:pt x="138" y="144"/>
                  </a:lnTo>
                  <a:lnTo>
                    <a:pt x="155" y="96"/>
                  </a:lnTo>
                  <a:lnTo>
                    <a:pt x="138" y="16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94" name="Freeform 72">
              <a:extLst>
                <a:ext uri="{FF2B5EF4-FFF2-40B4-BE49-F238E27FC236}">
                  <a16:creationId xmlns:a16="http://schemas.microsoft.com/office/drawing/2014/main" id="{A842E284-2B84-26A8-6767-97E632F7620C}"/>
                </a:ext>
              </a:extLst>
            </p:cNvPr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3762812" y="4540054"/>
              <a:ext cx="233166" cy="331613"/>
            </a:xfrm>
            <a:custGeom>
              <a:avLst/>
              <a:gdLst>
                <a:gd name="T0" fmla="*/ 47472 w 311"/>
                <a:gd name="T1" fmla="*/ 83746 h 414"/>
                <a:gd name="T2" fmla="*/ 47472 w 311"/>
                <a:gd name="T3" fmla="*/ 83746 h 414"/>
                <a:gd name="T4" fmla="*/ 50637 w 311"/>
                <a:gd name="T5" fmla="*/ 70187 h 414"/>
                <a:gd name="T6" fmla="*/ 47472 w 311"/>
                <a:gd name="T7" fmla="*/ 60616 h 414"/>
                <a:gd name="T8" fmla="*/ 50637 w 311"/>
                <a:gd name="T9" fmla="*/ 60616 h 414"/>
                <a:gd name="T10" fmla="*/ 47472 w 311"/>
                <a:gd name="T11" fmla="*/ 58224 h 414"/>
                <a:gd name="T12" fmla="*/ 47472 w 311"/>
                <a:gd name="T13" fmla="*/ 54236 h 414"/>
                <a:gd name="T14" fmla="*/ 60922 w 311"/>
                <a:gd name="T15" fmla="*/ 54236 h 414"/>
                <a:gd name="T16" fmla="*/ 60922 w 311"/>
                <a:gd name="T17" fmla="*/ 48653 h 414"/>
                <a:gd name="T18" fmla="*/ 57758 w 311"/>
                <a:gd name="T19" fmla="*/ 41474 h 414"/>
                <a:gd name="T20" fmla="*/ 60922 w 311"/>
                <a:gd name="T21" fmla="*/ 31903 h 414"/>
                <a:gd name="T22" fmla="*/ 50637 w 311"/>
                <a:gd name="T23" fmla="*/ 31903 h 414"/>
                <a:gd name="T24" fmla="*/ 47472 w 311"/>
                <a:gd name="T25" fmla="*/ 28713 h 414"/>
                <a:gd name="T26" fmla="*/ 37186 w 311"/>
                <a:gd name="T27" fmla="*/ 28713 h 414"/>
                <a:gd name="T28" fmla="*/ 34022 w 311"/>
                <a:gd name="T29" fmla="*/ 25523 h 414"/>
                <a:gd name="T30" fmla="*/ 34022 w 311"/>
                <a:gd name="T31" fmla="*/ 22332 h 414"/>
                <a:gd name="T32" fmla="*/ 30857 w 311"/>
                <a:gd name="T33" fmla="*/ 15952 h 414"/>
                <a:gd name="T34" fmla="*/ 34022 w 311"/>
                <a:gd name="T35" fmla="*/ 9571 h 414"/>
                <a:gd name="T36" fmla="*/ 37186 w 311"/>
                <a:gd name="T37" fmla="*/ 6381 h 414"/>
                <a:gd name="T38" fmla="*/ 41142 w 311"/>
                <a:gd name="T39" fmla="*/ 3190 h 414"/>
                <a:gd name="T40" fmla="*/ 37186 w 311"/>
                <a:gd name="T41" fmla="*/ 0 h 414"/>
                <a:gd name="T42" fmla="*/ 30857 w 311"/>
                <a:gd name="T43" fmla="*/ 6381 h 414"/>
                <a:gd name="T44" fmla="*/ 20571 w 311"/>
                <a:gd name="T45" fmla="*/ 9571 h 414"/>
                <a:gd name="T46" fmla="*/ 16615 w 311"/>
                <a:gd name="T47" fmla="*/ 15952 h 414"/>
                <a:gd name="T48" fmla="*/ 10286 w 311"/>
                <a:gd name="T49" fmla="*/ 19142 h 414"/>
                <a:gd name="T50" fmla="*/ 10286 w 311"/>
                <a:gd name="T51" fmla="*/ 25523 h 414"/>
                <a:gd name="T52" fmla="*/ 6330 w 311"/>
                <a:gd name="T53" fmla="*/ 19142 h 414"/>
                <a:gd name="T54" fmla="*/ 10286 w 311"/>
                <a:gd name="T55" fmla="*/ 22332 h 414"/>
                <a:gd name="T56" fmla="*/ 6330 w 311"/>
                <a:gd name="T57" fmla="*/ 25523 h 414"/>
                <a:gd name="T58" fmla="*/ 6330 w 311"/>
                <a:gd name="T59" fmla="*/ 28713 h 414"/>
                <a:gd name="T60" fmla="*/ 6330 w 311"/>
                <a:gd name="T61" fmla="*/ 31903 h 414"/>
                <a:gd name="T62" fmla="*/ 6330 w 311"/>
                <a:gd name="T63" fmla="*/ 44665 h 414"/>
                <a:gd name="T64" fmla="*/ 10286 w 311"/>
                <a:gd name="T65" fmla="*/ 44665 h 414"/>
                <a:gd name="T66" fmla="*/ 6330 w 311"/>
                <a:gd name="T67" fmla="*/ 51045 h 414"/>
                <a:gd name="T68" fmla="*/ 3165 w 311"/>
                <a:gd name="T69" fmla="*/ 51045 h 414"/>
                <a:gd name="T70" fmla="*/ 3165 w 311"/>
                <a:gd name="T71" fmla="*/ 54236 h 414"/>
                <a:gd name="T72" fmla="*/ 0 w 311"/>
                <a:gd name="T73" fmla="*/ 54236 h 414"/>
                <a:gd name="T74" fmla="*/ 0 w 311"/>
                <a:gd name="T75" fmla="*/ 58224 h 414"/>
                <a:gd name="T76" fmla="*/ 10286 w 311"/>
                <a:gd name="T77" fmla="*/ 63807 h 414"/>
                <a:gd name="T78" fmla="*/ 16615 w 311"/>
                <a:gd name="T79" fmla="*/ 60616 h 414"/>
                <a:gd name="T80" fmla="*/ 20571 w 311"/>
                <a:gd name="T81" fmla="*/ 63807 h 414"/>
                <a:gd name="T82" fmla="*/ 26901 w 311"/>
                <a:gd name="T83" fmla="*/ 70187 h 414"/>
                <a:gd name="T84" fmla="*/ 30857 w 311"/>
                <a:gd name="T85" fmla="*/ 76568 h 414"/>
                <a:gd name="T86" fmla="*/ 44307 w 311"/>
                <a:gd name="T87" fmla="*/ 73378 h 414"/>
                <a:gd name="T88" fmla="*/ 47472 w 311"/>
                <a:gd name="T89" fmla="*/ 76568 h 414"/>
                <a:gd name="T90" fmla="*/ 47472 w 311"/>
                <a:gd name="T91" fmla="*/ 79758 h 414"/>
                <a:gd name="T92" fmla="*/ 44307 w 311"/>
                <a:gd name="T93" fmla="*/ 79758 h 414"/>
                <a:gd name="T94" fmla="*/ 47472 w 311"/>
                <a:gd name="T95" fmla="*/ 83746 h 41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11"/>
                <a:gd name="T145" fmla="*/ 0 h 414"/>
                <a:gd name="T146" fmla="*/ 311 w 311"/>
                <a:gd name="T147" fmla="*/ 414 h 41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11" h="414">
                  <a:moveTo>
                    <a:pt x="242" y="414"/>
                  </a:moveTo>
                  <a:lnTo>
                    <a:pt x="242" y="414"/>
                  </a:lnTo>
                  <a:lnTo>
                    <a:pt x="259" y="351"/>
                  </a:lnTo>
                  <a:lnTo>
                    <a:pt x="242" y="303"/>
                  </a:lnTo>
                  <a:lnTo>
                    <a:pt x="259" y="303"/>
                  </a:lnTo>
                  <a:lnTo>
                    <a:pt x="242" y="288"/>
                  </a:lnTo>
                  <a:lnTo>
                    <a:pt x="242" y="270"/>
                  </a:lnTo>
                  <a:lnTo>
                    <a:pt x="311" y="270"/>
                  </a:lnTo>
                  <a:lnTo>
                    <a:pt x="311" y="240"/>
                  </a:lnTo>
                  <a:lnTo>
                    <a:pt x="294" y="207"/>
                  </a:lnTo>
                  <a:lnTo>
                    <a:pt x="311" y="159"/>
                  </a:lnTo>
                  <a:lnTo>
                    <a:pt x="259" y="159"/>
                  </a:lnTo>
                  <a:lnTo>
                    <a:pt x="242" y="144"/>
                  </a:lnTo>
                  <a:lnTo>
                    <a:pt x="190" y="144"/>
                  </a:lnTo>
                  <a:lnTo>
                    <a:pt x="173" y="126"/>
                  </a:lnTo>
                  <a:lnTo>
                    <a:pt x="173" y="111"/>
                  </a:lnTo>
                  <a:lnTo>
                    <a:pt x="156" y="78"/>
                  </a:lnTo>
                  <a:lnTo>
                    <a:pt x="173" y="48"/>
                  </a:lnTo>
                  <a:lnTo>
                    <a:pt x="190" y="30"/>
                  </a:lnTo>
                  <a:lnTo>
                    <a:pt x="208" y="15"/>
                  </a:lnTo>
                  <a:lnTo>
                    <a:pt x="190" y="0"/>
                  </a:lnTo>
                  <a:lnTo>
                    <a:pt x="156" y="30"/>
                  </a:lnTo>
                  <a:lnTo>
                    <a:pt x="104" y="48"/>
                  </a:lnTo>
                  <a:lnTo>
                    <a:pt x="87" y="78"/>
                  </a:lnTo>
                  <a:lnTo>
                    <a:pt x="52" y="96"/>
                  </a:lnTo>
                  <a:lnTo>
                    <a:pt x="52" y="126"/>
                  </a:lnTo>
                  <a:lnTo>
                    <a:pt x="35" y="96"/>
                  </a:lnTo>
                  <a:lnTo>
                    <a:pt x="52" y="111"/>
                  </a:lnTo>
                  <a:lnTo>
                    <a:pt x="35" y="126"/>
                  </a:lnTo>
                  <a:lnTo>
                    <a:pt x="35" y="144"/>
                  </a:lnTo>
                  <a:lnTo>
                    <a:pt x="35" y="159"/>
                  </a:lnTo>
                  <a:lnTo>
                    <a:pt x="35" y="222"/>
                  </a:lnTo>
                  <a:lnTo>
                    <a:pt x="52" y="222"/>
                  </a:lnTo>
                  <a:lnTo>
                    <a:pt x="35" y="255"/>
                  </a:lnTo>
                  <a:lnTo>
                    <a:pt x="18" y="255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0" y="288"/>
                  </a:lnTo>
                  <a:lnTo>
                    <a:pt x="52" y="318"/>
                  </a:lnTo>
                  <a:lnTo>
                    <a:pt x="87" y="303"/>
                  </a:lnTo>
                  <a:lnTo>
                    <a:pt x="104" y="318"/>
                  </a:lnTo>
                  <a:lnTo>
                    <a:pt x="139" y="351"/>
                  </a:lnTo>
                  <a:lnTo>
                    <a:pt x="156" y="383"/>
                  </a:lnTo>
                  <a:lnTo>
                    <a:pt x="225" y="366"/>
                  </a:lnTo>
                  <a:lnTo>
                    <a:pt x="242" y="383"/>
                  </a:lnTo>
                  <a:lnTo>
                    <a:pt x="242" y="399"/>
                  </a:lnTo>
                  <a:lnTo>
                    <a:pt x="225" y="399"/>
                  </a:lnTo>
                  <a:lnTo>
                    <a:pt x="242" y="414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95" name="Freeform 73">
              <a:extLst>
                <a:ext uri="{FF2B5EF4-FFF2-40B4-BE49-F238E27FC236}">
                  <a16:creationId xmlns:a16="http://schemas.microsoft.com/office/drawing/2014/main" id="{ACF68D05-4353-12E5-5BC7-96EB81B8FCB9}"/>
                </a:ext>
              </a:extLst>
            </p:cNvPr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3723426" y="4770016"/>
              <a:ext cx="116583" cy="128313"/>
            </a:xfrm>
            <a:custGeom>
              <a:avLst/>
              <a:gdLst>
                <a:gd name="T0" fmla="*/ 29776 w 156"/>
                <a:gd name="T1" fmla="*/ 6390 h 159"/>
                <a:gd name="T2" fmla="*/ 29776 w 156"/>
                <a:gd name="T3" fmla="*/ 6390 h 159"/>
                <a:gd name="T4" fmla="*/ 26642 w 156"/>
                <a:gd name="T5" fmla="*/ 3195 h 159"/>
                <a:gd name="T6" fmla="*/ 19589 w 156"/>
                <a:gd name="T7" fmla="*/ 6390 h 159"/>
                <a:gd name="T8" fmla="*/ 10186 w 156"/>
                <a:gd name="T9" fmla="*/ 0 h 159"/>
                <a:gd name="T10" fmla="*/ 3134 w 156"/>
                <a:gd name="T11" fmla="*/ 3195 h 159"/>
                <a:gd name="T12" fmla="*/ 3134 w 156"/>
                <a:gd name="T13" fmla="*/ 6390 h 159"/>
                <a:gd name="T14" fmla="*/ 0 w 156"/>
                <a:gd name="T15" fmla="*/ 9585 h 159"/>
                <a:gd name="T16" fmla="*/ 0 w 156"/>
                <a:gd name="T17" fmla="*/ 15975 h 159"/>
                <a:gd name="T18" fmla="*/ 3134 w 156"/>
                <a:gd name="T19" fmla="*/ 22365 h 159"/>
                <a:gd name="T20" fmla="*/ 3134 w 156"/>
                <a:gd name="T21" fmla="*/ 19170 h 159"/>
                <a:gd name="T22" fmla="*/ 6269 w 156"/>
                <a:gd name="T23" fmla="*/ 19170 h 159"/>
                <a:gd name="T24" fmla="*/ 3134 w 156"/>
                <a:gd name="T25" fmla="*/ 22365 h 159"/>
                <a:gd name="T26" fmla="*/ 0 w 156"/>
                <a:gd name="T27" fmla="*/ 28755 h 159"/>
                <a:gd name="T28" fmla="*/ 6269 w 156"/>
                <a:gd name="T29" fmla="*/ 31950 h 159"/>
                <a:gd name="T30" fmla="*/ 16455 w 156"/>
                <a:gd name="T31" fmla="*/ 22365 h 159"/>
                <a:gd name="T32" fmla="*/ 23507 w 156"/>
                <a:gd name="T33" fmla="*/ 19170 h 159"/>
                <a:gd name="T34" fmla="*/ 26642 w 156"/>
                <a:gd name="T35" fmla="*/ 15975 h 159"/>
                <a:gd name="T36" fmla="*/ 29776 w 156"/>
                <a:gd name="T37" fmla="*/ 9585 h 159"/>
                <a:gd name="T38" fmla="*/ 26642 w 156"/>
                <a:gd name="T39" fmla="*/ 6390 h 159"/>
                <a:gd name="T40" fmla="*/ 29776 w 156"/>
                <a:gd name="T41" fmla="*/ 6390 h 15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6"/>
                <a:gd name="T64" fmla="*/ 0 h 159"/>
                <a:gd name="T65" fmla="*/ 156 w 156"/>
                <a:gd name="T66" fmla="*/ 159 h 15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6" h="159">
                  <a:moveTo>
                    <a:pt x="156" y="30"/>
                  </a:moveTo>
                  <a:lnTo>
                    <a:pt x="156" y="30"/>
                  </a:lnTo>
                  <a:lnTo>
                    <a:pt x="139" y="15"/>
                  </a:lnTo>
                  <a:lnTo>
                    <a:pt x="104" y="30"/>
                  </a:lnTo>
                  <a:lnTo>
                    <a:pt x="52" y="0"/>
                  </a:lnTo>
                  <a:lnTo>
                    <a:pt x="18" y="15"/>
                  </a:lnTo>
                  <a:lnTo>
                    <a:pt x="18" y="30"/>
                  </a:lnTo>
                  <a:lnTo>
                    <a:pt x="0" y="48"/>
                  </a:lnTo>
                  <a:lnTo>
                    <a:pt x="0" y="78"/>
                  </a:lnTo>
                  <a:lnTo>
                    <a:pt x="18" y="111"/>
                  </a:lnTo>
                  <a:lnTo>
                    <a:pt x="18" y="95"/>
                  </a:lnTo>
                  <a:lnTo>
                    <a:pt x="35" y="95"/>
                  </a:lnTo>
                  <a:lnTo>
                    <a:pt x="18" y="111"/>
                  </a:lnTo>
                  <a:lnTo>
                    <a:pt x="0" y="143"/>
                  </a:lnTo>
                  <a:lnTo>
                    <a:pt x="35" y="159"/>
                  </a:lnTo>
                  <a:lnTo>
                    <a:pt x="87" y="111"/>
                  </a:lnTo>
                  <a:lnTo>
                    <a:pt x="121" y="95"/>
                  </a:lnTo>
                  <a:lnTo>
                    <a:pt x="139" y="78"/>
                  </a:lnTo>
                  <a:lnTo>
                    <a:pt x="156" y="48"/>
                  </a:lnTo>
                  <a:lnTo>
                    <a:pt x="139" y="30"/>
                  </a:lnTo>
                  <a:lnTo>
                    <a:pt x="156" y="30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96" name="Freeform 74">
              <a:extLst>
                <a:ext uri="{FF2B5EF4-FFF2-40B4-BE49-F238E27FC236}">
                  <a16:creationId xmlns:a16="http://schemas.microsoft.com/office/drawing/2014/main" id="{90C0E654-6198-7501-BB12-FE2DE11AA79C}"/>
                </a:ext>
              </a:extLst>
            </p:cNvPr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3707671" y="4795012"/>
              <a:ext cx="264675" cy="371605"/>
            </a:xfrm>
            <a:custGeom>
              <a:avLst/>
              <a:gdLst>
                <a:gd name="T0" fmla="*/ 65881 w 350"/>
                <a:gd name="T1" fmla="*/ 53859 h 465"/>
                <a:gd name="T2" fmla="*/ 65881 w 350"/>
                <a:gd name="T3" fmla="*/ 53859 h 465"/>
                <a:gd name="T4" fmla="*/ 58738 w 350"/>
                <a:gd name="T5" fmla="*/ 53859 h 465"/>
                <a:gd name="T6" fmla="*/ 58738 w 350"/>
                <a:gd name="T7" fmla="*/ 47523 h 465"/>
                <a:gd name="T8" fmla="*/ 52388 w 350"/>
                <a:gd name="T9" fmla="*/ 50691 h 465"/>
                <a:gd name="T10" fmla="*/ 44450 w 350"/>
                <a:gd name="T11" fmla="*/ 47523 h 465"/>
                <a:gd name="T12" fmla="*/ 41275 w 350"/>
                <a:gd name="T13" fmla="*/ 38018 h 465"/>
                <a:gd name="T14" fmla="*/ 48419 w 350"/>
                <a:gd name="T15" fmla="*/ 25345 h 465"/>
                <a:gd name="T16" fmla="*/ 62706 w 350"/>
                <a:gd name="T17" fmla="*/ 19009 h 465"/>
                <a:gd name="T18" fmla="*/ 58738 w 350"/>
                <a:gd name="T19" fmla="*/ 15841 h 465"/>
                <a:gd name="T20" fmla="*/ 62706 w 350"/>
                <a:gd name="T21" fmla="*/ 15841 h 465"/>
                <a:gd name="T22" fmla="*/ 62706 w 350"/>
                <a:gd name="T23" fmla="*/ 12673 h 465"/>
                <a:gd name="T24" fmla="*/ 58738 w 350"/>
                <a:gd name="T25" fmla="*/ 9505 h 465"/>
                <a:gd name="T26" fmla="*/ 44450 w 350"/>
                <a:gd name="T27" fmla="*/ 12673 h 465"/>
                <a:gd name="T28" fmla="*/ 41275 w 350"/>
                <a:gd name="T29" fmla="*/ 6336 h 465"/>
                <a:gd name="T30" fmla="*/ 34925 w 350"/>
                <a:gd name="T31" fmla="*/ 0 h 465"/>
                <a:gd name="T32" fmla="*/ 31750 w 350"/>
                <a:gd name="T33" fmla="*/ 0 h 465"/>
                <a:gd name="T34" fmla="*/ 34925 w 350"/>
                <a:gd name="T35" fmla="*/ 3168 h 465"/>
                <a:gd name="T36" fmla="*/ 31750 w 350"/>
                <a:gd name="T37" fmla="*/ 9505 h 465"/>
                <a:gd name="T38" fmla="*/ 27781 w 350"/>
                <a:gd name="T39" fmla="*/ 12673 h 465"/>
                <a:gd name="T40" fmla="*/ 20638 w 350"/>
                <a:gd name="T41" fmla="*/ 15841 h 465"/>
                <a:gd name="T42" fmla="*/ 10319 w 350"/>
                <a:gd name="T43" fmla="*/ 25345 h 465"/>
                <a:gd name="T44" fmla="*/ 3969 w 350"/>
                <a:gd name="T45" fmla="*/ 22177 h 465"/>
                <a:gd name="T46" fmla="*/ 7938 w 350"/>
                <a:gd name="T47" fmla="*/ 15841 h 465"/>
                <a:gd name="T48" fmla="*/ 0 w 350"/>
                <a:gd name="T49" fmla="*/ 22177 h 465"/>
                <a:gd name="T50" fmla="*/ 3969 w 350"/>
                <a:gd name="T51" fmla="*/ 28514 h 465"/>
                <a:gd name="T52" fmla="*/ 0 w 350"/>
                <a:gd name="T53" fmla="*/ 28514 h 465"/>
                <a:gd name="T54" fmla="*/ 7938 w 350"/>
                <a:gd name="T55" fmla="*/ 34850 h 465"/>
                <a:gd name="T56" fmla="*/ 14288 w 350"/>
                <a:gd name="T57" fmla="*/ 41186 h 465"/>
                <a:gd name="T58" fmla="*/ 31750 w 350"/>
                <a:gd name="T59" fmla="*/ 72868 h 465"/>
                <a:gd name="T60" fmla="*/ 58738 w 350"/>
                <a:gd name="T61" fmla="*/ 91877 h 465"/>
                <a:gd name="T62" fmla="*/ 65881 w 350"/>
                <a:gd name="T63" fmla="*/ 88709 h 465"/>
                <a:gd name="T64" fmla="*/ 69850 w 350"/>
                <a:gd name="T65" fmla="*/ 82372 h 465"/>
                <a:gd name="T66" fmla="*/ 65881 w 350"/>
                <a:gd name="T67" fmla="*/ 79204 h 465"/>
                <a:gd name="T68" fmla="*/ 69850 w 350"/>
                <a:gd name="T69" fmla="*/ 60195 h 465"/>
                <a:gd name="T70" fmla="*/ 65881 w 350"/>
                <a:gd name="T71" fmla="*/ 53859 h 46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50"/>
                <a:gd name="T109" fmla="*/ 0 h 465"/>
                <a:gd name="T110" fmla="*/ 350 w 350"/>
                <a:gd name="T111" fmla="*/ 465 h 465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50" h="465">
                  <a:moveTo>
                    <a:pt x="332" y="273"/>
                  </a:moveTo>
                  <a:lnTo>
                    <a:pt x="332" y="273"/>
                  </a:lnTo>
                  <a:lnTo>
                    <a:pt x="296" y="273"/>
                  </a:lnTo>
                  <a:lnTo>
                    <a:pt x="296" y="240"/>
                  </a:lnTo>
                  <a:lnTo>
                    <a:pt x="261" y="257"/>
                  </a:lnTo>
                  <a:lnTo>
                    <a:pt x="227" y="240"/>
                  </a:lnTo>
                  <a:lnTo>
                    <a:pt x="210" y="192"/>
                  </a:lnTo>
                  <a:lnTo>
                    <a:pt x="244" y="129"/>
                  </a:lnTo>
                  <a:lnTo>
                    <a:pt x="313" y="96"/>
                  </a:lnTo>
                  <a:lnTo>
                    <a:pt x="296" y="81"/>
                  </a:lnTo>
                  <a:lnTo>
                    <a:pt x="313" y="81"/>
                  </a:lnTo>
                  <a:lnTo>
                    <a:pt x="313" y="65"/>
                  </a:lnTo>
                  <a:lnTo>
                    <a:pt x="296" y="48"/>
                  </a:lnTo>
                  <a:lnTo>
                    <a:pt x="227" y="65"/>
                  </a:lnTo>
                  <a:lnTo>
                    <a:pt x="210" y="33"/>
                  </a:lnTo>
                  <a:lnTo>
                    <a:pt x="175" y="0"/>
                  </a:lnTo>
                  <a:lnTo>
                    <a:pt x="158" y="0"/>
                  </a:lnTo>
                  <a:lnTo>
                    <a:pt x="175" y="18"/>
                  </a:lnTo>
                  <a:lnTo>
                    <a:pt x="158" y="48"/>
                  </a:lnTo>
                  <a:lnTo>
                    <a:pt x="140" y="65"/>
                  </a:lnTo>
                  <a:lnTo>
                    <a:pt x="106" y="81"/>
                  </a:lnTo>
                  <a:lnTo>
                    <a:pt x="54" y="129"/>
                  </a:lnTo>
                  <a:lnTo>
                    <a:pt x="19" y="113"/>
                  </a:lnTo>
                  <a:lnTo>
                    <a:pt x="37" y="81"/>
                  </a:lnTo>
                  <a:lnTo>
                    <a:pt x="0" y="113"/>
                  </a:lnTo>
                  <a:lnTo>
                    <a:pt x="19" y="144"/>
                  </a:lnTo>
                  <a:lnTo>
                    <a:pt x="0" y="144"/>
                  </a:lnTo>
                  <a:lnTo>
                    <a:pt x="37" y="177"/>
                  </a:lnTo>
                  <a:lnTo>
                    <a:pt x="71" y="209"/>
                  </a:lnTo>
                  <a:lnTo>
                    <a:pt x="158" y="369"/>
                  </a:lnTo>
                  <a:lnTo>
                    <a:pt x="296" y="465"/>
                  </a:lnTo>
                  <a:lnTo>
                    <a:pt x="332" y="449"/>
                  </a:lnTo>
                  <a:lnTo>
                    <a:pt x="350" y="417"/>
                  </a:lnTo>
                  <a:lnTo>
                    <a:pt x="332" y="401"/>
                  </a:lnTo>
                  <a:lnTo>
                    <a:pt x="350" y="305"/>
                  </a:lnTo>
                  <a:lnTo>
                    <a:pt x="332" y="273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97" name="Freeform 75">
              <a:extLst>
                <a:ext uri="{FF2B5EF4-FFF2-40B4-BE49-F238E27FC236}">
                  <a16:creationId xmlns:a16="http://schemas.microsoft.com/office/drawing/2014/main" id="{424DF199-150F-F734-3352-B7FC95F50C57}"/>
                </a:ext>
              </a:extLst>
            </p:cNvPr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3958168" y="4986647"/>
              <a:ext cx="236317" cy="281621"/>
            </a:xfrm>
            <a:custGeom>
              <a:avLst/>
              <a:gdLst>
                <a:gd name="T0" fmla="*/ 62907 w 313"/>
                <a:gd name="T1" fmla="*/ 53822 h 353"/>
                <a:gd name="T2" fmla="*/ 62907 w 313"/>
                <a:gd name="T3" fmla="*/ 53822 h 353"/>
                <a:gd name="T4" fmla="*/ 62907 w 313"/>
                <a:gd name="T5" fmla="*/ 44324 h 353"/>
                <a:gd name="T6" fmla="*/ 58925 w 313"/>
                <a:gd name="T7" fmla="*/ 37992 h 353"/>
                <a:gd name="T8" fmla="*/ 58925 w 313"/>
                <a:gd name="T9" fmla="*/ 34826 h 353"/>
                <a:gd name="T10" fmla="*/ 52555 w 313"/>
                <a:gd name="T11" fmla="*/ 34826 h 353"/>
                <a:gd name="T12" fmla="*/ 48574 w 313"/>
                <a:gd name="T13" fmla="*/ 28494 h 353"/>
                <a:gd name="T14" fmla="*/ 48574 w 313"/>
                <a:gd name="T15" fmla="*/ 25328 h 353"/>
                <a:gd name="T16" fmla="*/ 45388 w 313"/>
                <a:gd name="T17" fmla="*/ 18996 h 353"/>
                <a:gd name="T18" fmla="*/ 24685 w 313"/>
                <a:gd name="T19" fmla="*/ 12664 h 353"/>
                <a:gd name="T20" fmla="*/ 20703 w 313"/>
                <a:gd name="T21" fmla="*/ 9498 h 353"/>
                <a:gd name="T22" fmla="*/ 20703 w 313"/>
                <a:gd name="T23" fmla="*/ 0 h 353"/>
                <a:gd name="T24" fmla="*/ 14333 w 313"/>
                <a:gd name="T25" fmla="*/ 0 h 353"/>
                <a:gd name="T26" fmla="*/ 7167 w 313"/>
                <a:gd name="T27" fmla="*/ 6332 h 353"/>
                <a:gd name="T28" fmla="*/ 0 w 313"/>
                <a:gd name="T29" fmla="*/ 6332 h 353"/>
                <a:gd name="T30" fmla="*/ 3981 w 313"/>
                <a:gd name="T31" fmla="*/ 12664 h 353"/>
                <a:gd name="T32" fmla="*/ 0 w 313"/>
                <a:gd name="T33" fmla="*/ 31660 h 353"/>
                <a:gd name="T34" fmla="*/ 3981 w 313"/>
                <a:gd name="T35" fmla="*/ 34826 h 353"/>
                <a:gd name="T36" fmla="*/ 0 w 313"/>
                <a:gd name="T37" fmla="*/ 41158 h 353"/>
                <a:gd name="T38" fmla="*/ 3981 w 313"/>
                <a:gd name="T39" fmla="*/ 50656 h 353"/>
                <a:gd name="T40" fmla="*/ 3981 w 313"/>
                <a:gd name="T41" fmla="*/ 53822 h 353"/>
                <a:gd name="T42" fmla="*/ 7167 w 313"/>
                <a:gd name="T43" fmla="*/ 69652 h 353"/>
                <a:gd name="T44" fmla="*/ 10352 w 313"/>
                <a:gd name="T45" fmla="*/ 69652 h 353"/>
                <a:gd name="T46" fmla="*/ 17518 w 313"/>
                <a:gd name="T47" fmla="*/ 63320 h 353"/>
                <a:gd name="T48" fmla="*/ 28666 w 313"/>
                <a:gd name="T49" fmla="*/ 66486 h 353"/>
                <a:gd name="T50" fmla="*/ 31852 w 313"/>
                <a:gd name="T51" fmla="*/ 63320 h 353"/>
                <a:gd name="T52" fmla="*/ 38222 w 313"/>
                <a:gd name="T53" fmla="*/ 66486 h 353"/>
                <a:gd name="T54" fmla="*/ 42203 w 313"/>
                <a:gd name="T55" fmla="*/ 50656 h 353"/>
                <a:gd name="T56" fmla="*/ 55740 w 313"/>
                <a:gd name="T57" fmla="*/ 50656 h 353"/>
                <a:gd name="T58" fmla="*/ 62907 w 313"/>
                <a:gd name="T59" fmla="*/ 53822 h 353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313"/>
                <a:gd name="T91" fmla="*/ 0 h 353"/>
                <a:gd name="T92" fmla="*/ 313 w 313"/>
                <a:gd name="T93" fmla="*/ 353 h 353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313" h="353">
                  <a:moveTo>
                    <a:pt x="313" y="273"/>
                  </a:moveTo>
                  <a:lnTo>
                    <a:pt x="313" y="273"/>
                  </a:lnTo>
                  <a:lnTo>
                    <a:pt x="313" y="225"/>
                  </a:lnTo>
                  <a:lnTo>
                    <a:pt x="296" y="192"/>
                  </a:lnTo>
                  <a:lnTo>
                    <a:pt x="296" y="177"/>
                  </a:lnTo>
                  <a:lnTo>
                    <a:pt x="262" y="177"/>
                  </a:lnTo>
                  <a:lnTo>
                    <a:pt x="244" y="144"/>
                  </a:lnTo>
                  <a:lnTo>
                    <a:pt x="244" y="129"/>
                  </a:lnTo>
                  <a:lnTo>
                    <a:pt x="227" y="96"/>
                  </a:lnTo>
                  <a:lnTo>
                    <a:pt x="121" y="65"/>
                  </a:lnTo>
                  <a:lnTo>
                    <a:pt x="104" y="48"/>
                  </a:lnTo>
                  <a:lnTo>
                    <a:pt x="104" y="0"/>
                  </a:lnTo>
                  <a:lnTo>
                    <a:pt x="70" y="0"/>
                  </a:lnTo>
                  <a:lnTo>
                    <a:pt x="35" y="33"/>
                  </a:lnTo>
                  <a:lnTo>
                    <a:pt x="0" y="33"/>
                  </a:lnTo>
                  <a:lnTo>
                    <a:pt x="18" y="65"/>
                  </a:lnTo>
                  <a:lnTo>
                    <a:pt x="0" y="161"/>
                  </a:lnTo>
                  <a:lnTo>
                    <a:pt x="18" y="177"/>
                  </a:lnTo>
                  <a:lnTo>
                    <a:pt x="0" y="209"/>
                  </a:lnTo>
                  <a:lnTo>
                    <a:pt x="18" y="257"/>
                  </a:lnTo>
                  <a:lnTo>
                    <a:pt x="18" y="273"/>
                  </a:lnTo>
                  <a:lnTo>
                    <a:pt x="35" y="353"/>
                  </a:lnTo>
                  <a:lnTo>
                    <a:pt x="52" y="353"/>
                  </a:lnTo>
                  <a:lnTo>
                    <a:pt x="87" y="321"/>
                  </a:lnTo>
                  <a:lnTo>
                    <a:pt x="141" y="336"/>
                  </a:lnTo>
                  <a:lnTo>
                    <a:pt x="158" y="321"/>
                  </a:lnTo>
                  <a:lnTo>
                    <a:pt x="192" y="336"/>
                  </a:lnTo>
                  <a:lnTo>
                    <a:pt x="210" y="257"/>
                  </a:lnTo>
                  <a:lnTo>
                    <a:pt x="279" y="257"/>
                  </a:lnTo>
                  <a:lnTo>
                    <a:pt x="313" y="273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98" name="Freeform 76">
              <a:extLst>
                <a:ext uri="{FF2B5EF4-FFF2-40B4-BE49-F238E27FC236}">
                  <a16:creationId xmlns:a16="http://schemas.microsoft.com/office/drawing/2014/main" id="{7C9C8005-FC2B-A2FD-7989-6829AB6B867A}"/>
                </a:ext>
              </a:extLst>
            </p:cNvPr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4101533" y="5191614"/>
              <a:ext cx="171724" cy="176638"/>
            </a:xfrm>
            <a:custGeom>
              <a:avLst/>
              <a:gdLst>
                <a:gd name="T0" fmla="*/ 42441 w 226"/>
                <a:gd name="T1" fmla="*/ 31608 h 223"/>
                <a:gd name="T2" fmla="*/ 42441 w 226"/>
                <a:gd name="T3" fmla="*/ 31608 h 223"/>
                <a:gd name="T4" fmla="*/ 46445 w 226"/>
                <a:gd name="T5" fmla="*/ 24496 h 223"/>
                <a:gd name="T6" fmla="*/ 38437 w 226"/>
                <a:gd name="T7" fmla="*/ 22125 h 223"/>
                <a:gd name="T8" fmla="*/ 38437 w 226"/>
                <a:gd name="T9" fmla="*/ 15014 h 223"/>
                <a:gd name="T10" fmla="*/ 35234 w 226"/>
                <a:gd name="T11" fmla="*/ 15014 h 223"/>
                <a:gd name="T12" fmla="*/ 24824 w 226"/>
                <a:gd name="T13" fmla="*/ 12643 h 223"/>
                <a:gd name="T14" fmla="*/ 24824 w 226"/>
                <a:gd name="T15" fmla="*/ 3161 h 223"/>
                <a:gd name="T16" fmla="*/ 17617 w 226"/>
                <a:gd name="T17" fmla="*/ 0 h 223"/>
                <a:gd name="T18" fmla="*/ 4004 w 226"/>
                <a:gd name="T19" fmla="*/ 0 h 223"/>
                <a:gd name="T20" fmla="*/ 0 w 226"/>
                <a:gd name="T21" fmla="*/ 15014 h 223"/>
                <a:gd name="T22" fmla="*/ 7207 w 226"/>
                <a:gd name="T23" fmla="*/ 24496 h 223"/>
                <a:gd name="T24" fmla="*/ 17617 w 226"/>
                <a:gd name="T25" fmla="*/ 24496 h 223"/>
                <a:gd name="T26" fmla="*/ 24824 w 226"/>
                <a:gd name="T27" fmla="*/ 31608 h 223"/>
                <a:gd name="T28" fmla="*/ 24824 w 226"/>
                <a:gd name="T29" fmla="*/ 33978 h 223"/>
                <a:gd name="T30" fmla="*/ 21621 w 226"/>
                <a:gd name="T31" fmla="*/ 40300 h 223"/>
                <a:gd name="T32" fmla="*/ 32031 w 226"/>
                <a:gd name="T33" fmla="*/ 43461 h 223"/>
                <a:gd name="T34" fmla="*/ 35234 w 226"/>
                <a:gd name="T35" fmla="*/ 40300 h 223"/>
                <a:gd name="T36" fmla="*/ 42441 w 226"/>
                <a:gd name="T37" fmla="*/ 37929 h 223"/>
                <a:gd name="T38" fmla="*/ 42441 w 226"/>
                <a:gd name="T39" fmla="*/ 31608 h 22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"/>
                <a:gd name="T61" fmla="*/ 0 h 223"/>
                <a:gd name="T62" fmla="*/ 226 w 226"/>
                <a:gd name="T63" fmla="*/ 223 h 223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" h="223">
                  <a:moveTo>
                    <a:pt x="209" y="160"/>
                  </a:moveTo>
                  <a:lnTo>
                    <a:pt x="209" y="160"/>
                  </a:lnTo>
                  <a:lnTo>
                    <a:pt x="226" y="127"/>
                  </a:lnTo>
                  <a:lnTo>
                    <a:pt x="191" y="112"/>
                  </a:lnTo>
                  <a:lnTo>
                    <a:pt x="191" y="79"/>
                  </a:lnTo>
                  <a:lnTo>
                    <a:pt x="174" y="79"/>
                  </a:lnTo>
                  <a:lnTo>
                    <a:pt x="122" y="64"/>
                  </a:lnTo>
                  <a:lnTo>
                    <a:pt x="122" y="16"/>
                  </a:lnTo>
                  <a:lnTo>
                    <a:pt x="88" y="0"/>
                  </a:lnTo>
                  <a:lnTo>
                    <a:pt x="17" y="0"/>
                  </a:lnTo>
                  <a:lnTo>
                    <a:pt x="0" y="79"/>
                  </a:lnTo>
                  <a:lnTo>
                    <a:pt x="34" y="127"/>
                  </a:lnTo>
                  <a:lnTo>
                    <a:pt x="88" y="127"/>
                  </a:lnTo>
                  <a:lnTo>
                    <a:pt x="122" y="160"/>
                  </a:lnTo>
                  <a:lnTo>
                    <a:pt x="122" y="175"/>
                  </a:lnTo>
                  <a:lnTo>
                    <a:pt x="105" y="207"/>
                  </a:lnTo>
                  <a:lnTo>
                    <a:pt x="157" y="223"/>
                  </a:lnTo>
                  <a:lnTo>
                    <a:pt x="174" y="207"/>
                  </a:lnTo>
                  <a:lnTo>
                    <a:pt x="209" y="192"/>
                  </a:lnTo>
                  <a:lnTo>
                    <a:pt x="209" y="160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99" name="Freeform 77">
              <a:extLst>
                <a:ext uri="{FF2B5EF4-FFF2-40B4-BE49-F238E27FC236}">
                  <a16:creationId xmlns:a16="http://schemas.microsoft.com/office/drawing/2014/main" id="{B25AD3A3-0FF5-5602-F000-766A7E9316F8}"/>
                </a:ext>
              </a:extLst>
            </p:cNvPr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3879395" y="5243271"/>
              <a:ext cx="406465" cy="791537"/>
            </a:xfrm>
            <a:custGeom>
              <a:avLst/>
              <a:gdLst>
                <a:gd name="T0" fmla="*/ 79523 w 537"/>
                <a:gd name="T1" fmla="*/ 69850 h 992"/>
                <a:gd name="T2" fmla="*/ 100199 w 537"/>
                <a:gd name="T3" fmla="*/ 31750 h 992"/>
                <a:gd name="T4" fmla="*/ 103380 w 537"/>
                <a:gd name="T5" fmla="*/ 19050 h 992"/>
                <a:gd name="T6" fmla="*/ 100199 w 537"/>
                <a:gd name="T7" fmla="*/ 25400 h 992"/>
                <a:gd name="T8" fmla="*/ 89861 w 537"/>
                <a:gd name="T9" fmla="*/ 31750 h 992"/>
                <a:gd name="T10" fmla="*/ 82704 w 537"/>
                <a:gd name="T11" fmla="*/ 22225 h 992"/>
                <a:gd name="T12" fmla="*/ 76342 w 537"/>
                <a:gd name="T13" fmla="*/ 12700 h 992"/>
                <a:gd name="T14" fmla="*/ 58847 w 537"/>
                <a:gd name="T15" fmla="*/ 3175 h 992"/>
                <a:gd name="T16" fmla="*/ 48509 w 537"/>
                <a:gd name="T17" fmla="*/ 3175 h 992"/>
                <a:gd name="T18" fmla="*/ 31014 w 537"/>
                <a:gd name="T19" fmla="*/ 6350 h 992"/>
                <a:gd name="T20" fmla="*/ 24652 w 537"/>
                <a:gd name="T21" fmla="*/ 15875 h 992"/>
                <a:gd name="T22" fmla="*/ 20676 w 537"/>
                <a:gd name="T23" fmla="*/ 34925 h 992"/>
                <a:gd name="T24" fmla="*/ 17495 w 537"/>
                <a:gd name="T25" fmla="*/ 66675 h 992"/>
                <a:gd name="T26" fmla="*/ 14314 w 537"/>
                <a:gd name="T27" fmla="*/ 82550 h 992"/>
                <a:gd name="T28" fmla="*/ 10338 w 537"/>
                <a:gd name="T29" fmla="*/ 98425 h 992"/>
                <a:gd name="T30" fmla="*/ 7157 w 537"/>
                <a:gd name="T31" fmla="*/ 117475 h 992"/>
                <a:gd name="T32" fmla="*/ 7157 w 537"/>
                <a:gd name="T33" fmla="*/ 136525 h 992"/>
                <a:gd name="T34" fmla="*/ 10338 w 537"/>
                <a:gd name="T35" fmla="*/ 139700 h 992"/>
                <a:gd name="T36" fmla="*/ 10338 w 537"/>
                <a:gd name="T37" fmla="*/ 139700 h 992"/>
                <a:gd name="T38" fmla="*/ 3976 w 537"/>
                <a:gd name="T39" fmla="*/ 158750 h 992"/>
                <a:gd name="T40" fmla="*/ 0 w 537"/>
                <a:gd name="T41" fmla="*/ 174625 h 992"/>
                <a:gd name="T42" fmla="*/ 0 w 537"/>
                <a:gd name="T43" fmla="*/ 184150 h 992"/>
                <a:gd name="T44" fmla="*/ 3976 w 537"/>
                <a:gd name="T45" fmla="*/ 190500 h 992"/>
                <a:gd name="T46" fmla="*/ 17495 w 537"/>
                <a:gd name="T47" fmla="*/ 193675 h 992"/>
                <a:gd name="T48" fmla="*/ 24652 w 537"/>
                <a:gd name="T49" fmla="*/ 196850 h 992"/>
                <a:gd name="T50" fmla="*/ 24652 w 537"/>
                <a:gd name="T51" fmla="*/ 180975 h 992"/>
                <a:gd name="T52" fmla="*/ 31014 w 537"/>
                <a:gd name="T53" fmla="*/ 168275 h 992"/>
                <a:gd name="T54" fmla="*/ 42147 w 537"/>
                <a:gd name="T55" fmla="*/ 155575 h 992"/>
                <a:gd name="T56" fmla="*/ 31014 w 537"/>
                <a:gd name="T57" fmla="*/ 149225 h 992"/>
                <a:gd name="T58" fmla="*/ 34990 w 537"/>
                <a:gd name="T59" fmla="*/ 142875 h 992"/>
                <a:gd name="T60" fmla="*/ 42147 w 537"/>
                <a:gd name="T61" fmla="*/ 136525 h 992"/>
                <a:gd name="T62" fmla="*/ 45328 w 537"/>
                <a:gd name="T63" fmla="*/ 130175 h 992"/>
                <a:gd name="T64" fmla="*/ 45328 w 537"/>
                <a:gd name="T65" fmla="*/ 123825 h 992"/>
                <a:gd name="T66" fmla="*/ 52485 w 537"/>
                <a:gd name="T67" fmla="*/ 123825 h 992"/>
                <a:gd name="T68" fmla="*/ 48509 w 537"/>
                <a:gd name="T69" fmla="*/ 120650 h 992"/>
                <a:gd name="T70" fmla="*/ 45328 w 537"/>
                <a:gd name="T71" fmla="*/ 111125 h 992"/>
                <a:gd name="T72" fmla="*/ 58847 w 537"/>
                <a:gd name="T73" fmla="*/ 111125 h 992"/>
                <a:gd name="T74" fmla="*/ 58847 w 537"/>
                <a:gd name="T75" fmla="*/ 98425 h 992"/>
                <a:gd name="T76" fmla="*/ 69185 w 537"/>
                <a:gd name="T77" fmla="*/ 98425 h 992"/>
                <a:gd name="T78" fmla="*/ 89861 w 537"/>
                <a:gd name="T79" fmla="*/ 85725 h 992"/>
                <a:gd name="T80" fmla="*/ 86680 w 537"/>
                <a:gd name="T81" fmla="*/ 79375 h 992"/>
                <a:gd name="T82" fmla="*/ 79523 w 537"/>
                <a:gd name="T83" fmla="*/ 73025 h 992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537"/>
                <a:gd name="T127" fmla="*/ 0 h 992"/>
                <a:gd name="T128" fmla="*/ 537 w 537"/>
                <a:gd name="T129" fmla="*/ 992 h 992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537" h="992">
                  <a:moveTo>
                    <a:pt x="399" y="351"/>
                  </a:moveTo>
                  <a:lnTo>
                    <a:pt x="399" y="351"/>
                  </a:lnTo>
                  <a:lnTo>
                    <a:pt x="434" y="239"/>
                  </a:lnTo>
                  <a:lnTo>
                    <a:pt x="503" y="159"/>
                  </a:lnTo>
                  <a:lnTo>
                    <a:pt x="537" y="143"/>
                  </a:lnTo>
                  <a:lnTo>
                    <a:pt x="520" y="96"/>
                  </a:lnTo>
                  <a:lnTo>
                    <a:pt x="503" y="96"/>
                  </a:lnTo>
                  <a:lnTo>
                    <a:pt x="503" y="128"/>
                  </a:lnTo>
                  <a:lnTo>
                    <a:pt x="468" y="143"/>
                  </a:lnTo>
                  <a:lnTo>
                    <a:pt x="451" y="159"/>
                  </a:lnTo>
                  <a:lnTo>
                    <a:pt x="399" y="143"/>
                  </a:lnTo>
                  <a:lnTo>
                    <a:pt x="416" y="111"/>
                  </a:lnTo>
                  <a:lnTo>
                    <a:pt x="416" y="96"/>
                  </a:lnTo>
                  <a:lnTo>
                    <a:pt x="382" y="63"/>
                  </a:lnTo>
                  <a:lnTo>
                    <a:pt x="330" y="63"/>
                  </a:lnTo>
                  <a:lnTo>
                    <a:pt x="295" y="15"/>
                  </a:lnTo>
                  <a:lnTo>
                    <a:pt x="261" y="0"/>
                  </a:lnTo>
                  <a:lnTo>
                    <a:pt x="244" y="15"/>
                  </a:lnTo>
                  <a:lnTo>
                    <a:pt x="192" y="0"/>
                  </a:lnTo>
                  <a:lnTo>
                    <a:pt x="155" y="32"/>
                  </a:lnTo>
                  <a:lnTo>
                    <a:pt x="155" y="63"/>
                  </a:lnTo>
                  <a:lnTo>
                    <a:pt x="121" y="80"/>
                  </a:lnTo>
                  <a:lnTo>
                    <a:pt x="138" y="128"/>
                  </a:lnTo>
                  <a:lnTo>
                    <a:pt x="103" y="176"/>
                  </a:lnTo>
                  <a:lnTo>
                    <a:pt x="69" y="272"/>
                  </a:lnTo>
                  <a:lnTo>
                    <a:pt x="86" y="335"/>
                  </a:lnTo>
                  <a:lnTo>
                    <a:pt x="69" y="383"/>
                  </a:lnTo>
                  <a:lnTo>
                    <a:pt x="69" y="416"/>
                  </a:lnTo>
                  <a:lnTo>
                    <a:pt x="52" y="431"/>
                  </a:lnTo>
                  <a:lnTo>
                    <a:pt x="52" y="495"/>
                  </a:lnTo>
                  <a:lnTo>
                    <a:pt x="34" y="527"/>
                  </a:lnTo>
                  <a:lnTo>
                    <a:pt x="34" y="591"/>
                  </a:lnTo>
                  <a:lnTo>
                    <a:pt x="34" y="623"/>
                  </a:lnTo>
                  <a:lnTo>
                    <a:pt x="34" y="687"/>
                  </a:lnTo>
                  <a:lnTo>
                    <a:pt x="52" y="687"/>
                  </a:lnTo>
                  <a:lnTo>
                    <a:pt x="52" y="704"/>
                  </a:lnTo>
                  <a:lnTo>
                    <a:pt x="34" y="704"/>
                  </a:lnTo>
                  <a:lnTo>
                    <a:pt x="52" y="704"/>
                  </a:lnTo>
                  <a:lnTo>
                    <a:pt x="34" y="767"/>
                  </a:lnTo>
                  <a:lnTo>
                    <a:pt x="17" y="800"/>
                  </a:lnTo>
                  <a:lnTo>
                    <a:pt x="17" y="830"/>
                  </a:lnTo>
                  <a:lnTo>
                    <a:pt x="0" y="878"/>
                  </a:lnTo>
                  <a:lnTo>
                    <a:pt x="0" y="911"/>
                  </a:lnTo>
                  <a:lnTo>
                    <a:pt x="0" y="926"/>
                  </a:lnTo>
                  <a:lnTo>
                    <a:pt x="17" y="911"/>
                  </a:lnTo>
                  <a:lnTo>
                    <a:pt x="17" y="959"/>
                  </a:lnTo>
                  <a:lnTo>
                    <a:pt x="34" y="974"/>
                  </a:lnTo>
                  <a:lnTo>
                    <a:pt x="86" y="974"/>
                  </a:lnTo>
                  <a:lnTo>
                    <a:pt x="121" y="974"/>
                  </a:lnTo>
                  <a:lnTo>
                    <a:pt x="121" y="992"/>
                  </a:lnTo>
                  <a:lnTo>
                    <a:pt x="103" y="926"/>
                  </a:lnTo>
                  <a:lnTo>
                    <a:pt x="121" y="911"/>
                  </a:lnTo>
                  <a:lnTo>
                    <a:pt x="138" y="896"/>
                  </a:lnTo>
                  <a:lnTo>
                    <a:pt x="155" y="848"/>
                  </a:lnTo>
                  <a:lnTo>
                    <a:pt x="209" y="815"/>
                  </a:lnTo>
                  <a:lnTo>
                    <a:pt x="209" y="782"/>
                  </a:lnTo>
                  <a:lnTo>
                    <a:pt x="192" y="782"/>
                  </a:lnTo>
                  <a:lnTo>
                    <a:pt x="155" y="752"/>
                  </a:lnTo>
                  <a:lnTo>
                    <a:pt x="155" y="734"/>
                  </a:lnTo>
                  <a:lnTo>
                    <a:pt x="174" y="719"/>
                  </a:lnTo>
                  <a:lnTo>
                    <a:pt x="209" y="704"/>
                  </a:lnTo>
                  <a:lnTo>
                    <a:pt x="209" y="687"/>
                  </a:lnTo>
                  <a:lnTo>
                    <a:pt x="226" y="687"/>
                  </a:lnTo>
                  <a:lnTo>
                    <a:pt x="226" y="656"/>
                  </a:lnTo>
                  <a:lnTo>
                    <a:pt x="244" y="639"/>
                  </a:lnTo>
                  <a:lnTo>
                    <a:pt x="226" y="623"/>
                  </a:lnTo>
                  <a:lnTo>
                    <a:pt x="244" y="623"/>
                  </a:lnTo>
                  <a:lnTo>
                    <a:pt x="261" y="623"/>
                  </a:lnTo>
                  <a:lnTo>
                    <a:pt x="261" y="608"/>
                  </a:lnTo>
                  <a:lnTo>
                    <a:pt x="244" y="608"/>
                  </a:lnTo>
                  <a:lnTo>
                    <a:pt x="226" y="608"/>
                  </a:lnTo>
                  <a:lnTo>
                    <a:pt x="226" y="560"/>
                  </a:lnTo>
                  <a:lnTo>
                    <a:pt x="261" y="575"/>
                  </a:lnTo>
                  <a:lnTo>
                    <a:pt x="295" y="560"/>
                  </a:lnTo>
                  <a:lnTo>
                    <a:pt x="313" y="512"/>
                  </a:lnTo>
                  <a:lnTo>
                    <a:pt x="295" y="495"/>
                  </a:lnTo>
                  <a:lnTo>
                    <a:pt x="313" y="495"/>
                  </a:lnTo>
                  <a:lnTo>
                    <a:pt x="347" y="495"/>
                  </a:lnTo>
                  <a:lnTo>
                    <a:pt x="434" y="479"/>
                  </a:lnTo>
                  <a:lnTo>
                    <a:pt x="451" y="431"/>
                  </a:lnTo>
                  <a:lnTo>
                    <a:pt x="451" y="416"/>
                  </a:lnTo>
                  <a:lnTo>
                    <a:pt x="434" y="399"/>
                  </a:lnTo>
                  <a:lnTo>
                    <a:pt x="434" y="383"/>
                  </a:lnTo>
                  <a:lnTo>
                    <a:pt x="399" y="368"/>
                  </a:lnTo>
                  <a:lnTo>
                    <a:pt x="399" y="351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00" name="Freeform 78">
              <a:extLst>
                <a:ext uri="{FF2B5EF4-FFF2-40B4-BE49-F238E27FC236}">
                  <a16:creationId xmlns:a16="http://schemas.microsoft.com/office/drawing/2014/main" id="{CCDCB933-A609-A4F0-58D4-3E746010A3FC}"/>
                </a:ext>
              </a:extLst>
            </p:cNvPr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4180305" y="5434907"/>
              <a:ext cx="118159" cy="101649"/>
            </a:xfrm>
            <a:custGeom>
              <a:avLst/>
              <a:gdLst>
                <a:gd name="T0" fmla="*/ 27781 w 158"/>
                <a:gd name="T1" fmla="*/ 18902 h 129"/>
                <a:gd name="T2" fmla="*/ 27781 w 158"/>
                <a:gd name="T3" fmla="*/ 18902 h 129"/>
                <a:gd name="T4" fmla="*/ 31750 w 158"/>
                <a:gd name="T5" fmla="*/ 12602 h 129"/>
                <a:gd name="T6" fmla="*/ 27781 w 158"/>
                <a:gd name="T7" fmla="*/ 9451 h 129"/>
                <a:gd name="T8" fmla="*/ 17463 w 158"/>
                <a:gd name="T9" fmla="*/ 3150 h 129"/>
                <a:gd name="T10" fmla="*/ 14288 w 158"/>
                <a:gd name="T11" fmla="*/ 3150 h 129"/>
                <a:gd name="T12" fmla="*/ 10319 w 158"/>
                <a:gd name="T13" fmla="*/ 0 h 129"/>
                <a:gd name="T14" fmla="*/ 7144 w 158"/>
                <a:gd name="T15" fmla="*/ 0 h 129"/>
                <a:gd name="T16" fmla="*/ 0 w 158"/>
                <a:gd name="T17" fmla="*/ 22053 h 129"/>
                <a:gd name="T18" fmla="*/ 3969 w 158"/>
                <a:gd name="T19" fmla="*/ 22053 h 129"/>
                <a:gd name="T20" fmla="*/ 14288 w 158"/>
                <a:gd name="T21" fmla="*/ 25203 h 129"/>
                <a:gd name="T22" fmla="*/ 23813 w 158"/>
                <a:gd name="T23" fmla="*/ 25203 h 129"/>
                <a:gd name="T24" fmla="*/ 27781 w 158"/>
                <a:gd name="T25" fmla="*/ 18902 h 12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58"/>
                <a:gd name="T40" fmla="*/ 0 h 129"/>
                <a:gd name="T41" fmla="*/ 158 w 158"/>
                <a:gd name="T42" fmla="*/ 129 h 12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58" h="129">
                  <a:moveTo>
                    <a:pt x="140" y="96"/>
                  </a:moveTo>
                  <a:lnTo>
                    <a:pt x="140" y="96"/>
                  </a:lnTo>
                  <a:lnTo>
                    <a:pt x="158" y="64"/>
                  </a:lnTo>
                  <a:lnTo>
                    <a:pt x="140" y="48"/>
                  </a:lnTo>
                  <a:lnTo>
                    <a:pt x="88" y="16"/>
                  </a:lnTo>
                  <a:lnTo>
                    <a:pt x="71" y="16"/>
                  </a:lnTo>
                  <a:lnTo>
                    <a:pt x="54" y="0"/>
                  </a:lnTo>
                  <a:lnTo>
                    <a:pt x="35" y="0"/>
                  </a:lnTo>
                  <a:lnTo>
                    <a:pt x="0" y="112"/>
                  </a:lnTo>
                  <a:lnTo>
                    <a:pt x="17" y="112"/>
                  </a:lnTo>
                  <a:lnTo>
                    <a:pt x="71" y="129"/>
                  </a:lnTo>
                  <a:lnTo>
                    <a:pt x="123" y="129"/>
                  </a:lnTo>
                  <a:lnTo>
                    <a:pt x="140" y="96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01" name="Freeform 80">
              <a:extLst>
                <a:ext uri="{FF2B5EF4-FFF2-40B4-BE49-F238E27FC236}">
                  <a16:creationId xmlns:a16="http://schemas.microsoft.com/office/drawing/2014/main" id="{9BDBD586-8482-432F-5753-BE7CDE0F39F2}"/>
                </a:ext>
              </a:extLst>
            </p:cNvPr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4273257" y="4675032"/>
              <a:ext cx="51989" cy="76654"/>
            </a:xfrm>
            <a:custGeom>
              <a:avLst/>
              <a:gdLst>
                <a:gd name="T0" fmla="*/ 0 w 69"/>
                <a:gd name="T1" fmla="*/ 16669 h 96"/>
                <a:gd name="T2" fmla="*/ 0 w 69"/>
                <a:gd name="T3" fmla="*/ 16669 h 96"/>
                <a:gd name="T4" fmla="*/ 3129 w 69"/>
                <a:gd name="T5" fmla="*/ 19050 h 96"/>
                <a:gd name="T6" fmla="*/ 6258 w 69"/>
                <a:gd name="T7" fmla="*/ 16669 h 96"/>
                <a:gd name="T8" fmla="*/ 13298 w 69"/>
                <a:gd name="T9" fmla="*/ 9525 h 96"/>
                <a:gd name="T10" fmla="*/ 0 w 69"/>
                <a:gd name="T11" fmla="*/ 0 h 96"/>
                <a:gd name="T12" fmla="*/ 0 w 69"/>
                <a:gd name="T13" fmla="*/ 3969 h 96"/>
                <a:gd name="T14" fmla="*/ 0 w 69"/>
                <a:gd name="T15" fmla="*/ 9525 h 96"/>
                <a:gd name="T16" fmla="*/ 0 w 69"/>
                <a:gd name="T17" fmla="*/ 16669 h 9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9"/>
                <a:gd name="T28" fmla="*/ 0 h 96"/>
                <a:gd name="T29" fmla="*/ 69 w 69"/>
                <a:gd name="T30" fmla="*/ 96 h 9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9" h="96">
                  <a:moveTo>
                    <a:pt x="0" y="81"/>
                  </a:moveTo>
                  <a:lnTo>
                    <a:pt x="0" y="81"/>
                  </a:lnTo>
                  <a:lnTo>
                    <a:pt x="17" y="96"/>
                  </a:lnTo>
                  <a:lnTo>
                    <a:pt x="35" y="81"/>
                  </a:lnTo>
                  <a:lnTo>
                    <a:pt x="69" y="48"/>
                  </a:lnTo>
                  <a:lnTo>
                    <a:pt x="0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0" y="81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02" name="Freeform 81">
              <a:extLst>
                <a:ext uri="{FF2B5EF4-FFF2-40B4-BE49-F238E27FC236}">
                  <a16:creationId xmlns:a16="http://schemas.microsoft.com/office/drawing/2014/main" id="{1516A869-A3A5-4474-A9EC-99A89E54D881}"/>
                </a:ext>
              </a:extLst>
            </p:cNvPr>
            <p:cNvSpPr>
              <a:spLocks/>
            </p:cNvSpPr>
            <p:nvPr>
              <p:custDataLst>
                <p:tags r:id="rId88"/>
              </p:custDataLst>
            </p:nvPr>
          </p:nvSpPr>
          <p:spPr bwMode="auto">
            <a:xfrm>
              <a:off x="4194484" y="4675032"/>
              <a:ext cx="78772" cy="76654"/>
            </a:xfrm>
            <a:custGeom>
              <a:avLst/>
              <a:gdLst>
                <a:gd name="T0" fmla="*/ 20638 w 104"/>
                <a:gd name="T1" fmla="*/ 16669 h 96"/>
                <a:gd name="T2" fmla="*/ 20638 w 104"/>
                <a:gd name="T3" fmla="*/ 16669 h 96"/>
                <a:gd name="T4" fmla="*/ 20638 w 104"/>
                <a:gd name="T5" fmla="*/ 9525 h 96"/>
                <a:gd name="T6" fmla="*/ 20638 w 104"/>
                <a:gd name="T7" fmla="*/ 3969 h 96"/>
                <a:gd name="T8" fmla="*/ 20638 w 104"/>
                <a:gd name="T9" fmla="*/ 0 h 96"/>
                <a:gd name="T10" fmla="*/ 7144 w 104"/>
                <a:gd name="T11" fmla="*/ 0 h 96"/>
                <a:gd name="T12" fmla="*/ 0 w 104"/>
                <a:gd name="T13" fmla="*/ 7144 h 96"/>
                <a:gd name="T14" fmla="*/ 7144 w 104"/>
                <a:gd name="T15" fmla="*/ 19050 h 96"/>
                <a:gd name="T16" fmla="*/ 10319 w 104"/>
                <a:gd name="T17" fmla="*/ 19050 h 96"/>
                <a:gd name="T18" fmla="*/ 14288 w 104"/>
                <a:gd name="T19" fmla="*/ 16669 h 96"/>
                <a:gd name="T20" fmla="*/ 20638 w 104"/>
                <a:gd name="T21" fmla="*/ 16669 h 9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04"/>
                <a:gd name="T34" fmla="*/ 0 h 96"/>
                <a:gd name="T35" fmla="*/ 104 w 104"/>
                <a:gd name="T36" fmla="*/ 96 h 9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04" h="96">
                  <a:moveTo>
                    <a:pt x="104" y="81"/>
                  </a:moveTo>
                  <a:lnTo>
                    <a:pt x="104" y="81"/>
                  </a:lnTo>
                  <a:lnTo>
                    <a:pt x="104" y="48"/>
                  </a:lnTo>
                  <a:lnTo>
                    <a:pt x="104" y="18"/>
                  </a:lnTo>
                  <a:lnTo>
                    <a:pt x="104" y="0"/>
                  </a:lnTo>
                  <a:lnTo>
                    <a:pt x="35" y="0"/>
                  </a:lnTo>
                  <a:lnTo>
                    <a:pt x="0" y="33"/>
                  </a:lnTo>
                  <a:lnTo>
                    <a:pt x="35" y="96"/>
                  </a:lnTo>
                  <a:lnTo>
                    <a:pt x="52" y="96"/>
                  </a:lnTo>
                  <a:lnTo>
                    <a:pt x="69" y="81"/>
                  </a:lnTo>
                  <a:lnTo>
                    <a:pt x="104" y="81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03" name="Freeform 82">
              <a:extLst>
                <a:ext uri="{FF2B5EF4-FFF2-40B4-BE49-F238E27FC236}">
                  <a16:creationId xmlns:a16="http://schemas.microsoft.com/office/drawing/2014/main" id="{FA4B6C9D-30C8-EE21-411C-C98E404FFD18}"/>
                </a:ext>
              </a:extLst>
            </p:cNvPr>
            <p:cNvSpPr>
              <a:spLocks/>
            </p:cNvSpPr>
            <p:nvPr>
              <p:custDataLst>
                <p:tags r:id="rId89"/>
              </p:custDataLst>
            </p:nvPr>
          </p:nvSpPr>
          <p:spPr bwMode="auto">
            <a:xfrm>
              <a:off x="4128316" y="4628373"/>
              <a:ext cx="89800" cy="141643"/>
            </a:xfrm>
            <a:custGeom>
              <a:avLst/>
              <a:gdLst>
                <a:gd name="T0" fmla="*/ 6298 w 121"/>
                <a:gd name="T1" fmla="*/ 0 h 177"/>
                <a:gd name="T2" fmla="*/ 6298 w 121"/>
                <a:gd name="T3" fmla="*/ 0 h 177"/>
                <a:gd name="T4" fmla="*/ 13382 w 121"/>
                <a:gd name="T5" fmla="*/ 2368 h 177"/>
                <a:gd name="T6" fmla="*/ 13382 w 121"/>
                <a:gd name="T7" fmla="*/ 6314 h 177"/>
                <a:gd name="T8" fmla="*/ 16531 w 121"/>
                <a:gd name="T9" fmla="*/ 6314 h 177"/>
                <a:gd name="T10" fmla="*/ 23616 w 121"/>
                <a:gd name="T11" fmla="*/ 11839 h 177"/>
                <a:gd name="T12" fmla="*/ 16531 w 121"/>
                <a:gd name="T13" fmla="*/ 18942 h 177"/>
                <a:gd name="T14" fmla="*/ 23616 w 121"/>
                <a:gd name="T15" fmla="*/ 30781 h 177"/>
                <a:gd name="T16" fmla="*/ 13382 w 121"/>
                <a:gd name="T17" fmla="*/ 34728 h 177"/>
                <a:gd name="T18" fmla="*/ 10233 w 121"/>
                <a:gd name="T19" fmla="*/ 34728 h 177"/>
                <a:gd name="T20" fmla="*/ 6298 w 121"/>
                <a:gd name="T21" fmla="*/ 28414 h 177"/>
                <a:gd name="T22" fmla="*/ 6298 w 121"/>
                <a:gd name="T23" fmla="*/ 18942 h 177"/>
                <a:gd name="T24" fmla="*/ 6298 w 121"/>
                <a:gd name="T25" fmla="*/ 15785 h 177"/>
                <a:gd name="T26" fmla="*/ 3149 w 121"/>
                <a:gd name="T27" fmla="*/ 15785 h 177"/>
                <a:gd name="T28" fmla="*/ 0 w 121"/>
                <a:gd name="T29" fmla="*/ 11839 h 177"/>
                <a:gd name="T30" fmla="*/ 0 w 121"/>
                <a:gd name="T31" fmla="*/ 6314 h 177"/>
                <a:gd name="T32" fmla="*/ 3149 w 121"/>
                <a:gd name="T33" fmla="*/ 6314 h 177"/>
                <a:gd name="T34" fmla="*/ 3149 w 121"/>
                <a:gd name="T35" fmla="*/ 2368 h 177"/>
                <a:gd name="T36" fmla="*/ 6298 w 121"/>
                <a:gd name="T37" fmla="*/ 0 h 17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21"/>
                <a:gd name="T58" fmla="*/ 0 h 177"/>
                <a:gd name="T59" fmla="*/ 121 w 121"/>
                <a:gd name="T60" fmla="*/ 177 h 17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21" h="177">
                  <a:moveTo>
                    <a:pt x="35" y="0"/>
                  </a:moveTo>
                  <a:lnTo>
                    <a:pt x="35" y="0"/>
                  </a:lnTo>
                  <a:lnTo>
                    <a:pt x="69" y="15"/>
                  </a:lnTo>
                  <a:lnTo>
                    <a:pt x="69" y="33"/>
                  </a:lnTo>
                  <a:lnTo>
                    <a:pt x="86" y="33"/>
                  </a:lnTo>
                  <a:lnTo>
                    <a:pt x="121" y="63"/>
                  </a:lnTo>
                  <a:lnTo>
                    <a:pt x="86" y="96"/>
                  </a:lnTo>
                  <a:lnTo>
                    <a:pt x="121" y="159"/>
                  </a:lnTo>
                  <a:lnTo>
                    <a:pt x="69" y="177"/>
                  </a:lnTo>
                  <a:lnTo>
                    <a:pt x="52" y="177"/>
                  </a:lnTo>
                  <a:lnTo>
                    <a:pt x="35" y="144"/>
                  </a:lnTo>
                  <a:lnTo>
                    <a:pt x="35" y="96"/>
                  </a:lnTo>
                  <a:lnTo>
                    <a:pt x="35" y="81"/>
                  </a:lnTo>
                  <a:lnTo>
                    <a:pt x="17" y="81"/>
                  </a:lnTo>
                  <a:lnTo>
                    <a:pt x="0" y="63"/>
                  </a:lnTo>
                  <a:lnTo>
                    <a:pt x="0" y="33"/>
                  </a:lnTo>
                  <a:lnTo>
                    <a:pt x="17" y="33"/>
                  </a:lnTo>
                  <a:lnTo>
                    <a:pt x="17" y="15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04" name="Freeform 83">
              <a:extLst>
                <a:ext uri="{FF2B5EF4-FFF2-40B4-BE49-F238E27FC236}">
                  <a16:creationId xmlns:a16="http://schemas.microsoft.com/office/drawing/2014/main" id="{0CE4A520-026B-C98C-C1F4-59ABCA1C16FA}"/>
                </a:ext>
              </a:extLst>
            </p:cNvPr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3879395" y="4551719"/>
              <a:ext cx="275702" cy="231628"/>
            </a:xfrm>
            <a:custGeom>
              <a:avLst/>
              <a:gdLst>
                <a:gd name="T0" fmla="*/ 73225 w 365"/>
                <a:gd name="T1" fmla="*/ 19050 h 288"/>
                <a:gd name="T2" fmla="*/ 73225 w 365"/>
                <a:gd name="T3" fmla="*/ 19050 h 288"/>
                <a:gd name="T4" fmla="*/ 69246 w 365"/>
                <a:gd name="T5" fmla="*/ 21431 h 288"/>
                <a:gd name="T6" fmla="*/ 69246 w 365"/>
                <a:gd name="T7" fmla="*/ 26194 h 288"/>
                <a:gd name="T8" fmla="*/ 66062 w 365"/>
                <a:gd name="T9" fmla="*/ 26194 h 288"/>
                <a:gd name="T10" fmla="*/ 66062 w 365"/>
                <a:gd name="T11" fmla="*/ 30956 h 288"/>
                <a:gd name="T12" fmla="*/ 69246 w 365"/>
                <a:gd name="T13" fmla="*/ 34925 h 288"/>
                <a:gd name="T14" fmla="*/ 66062 w 365"/>
                <a:gd name="T15" fmla="*/ 38100 h 288"/>
                <a:gd name="T16" fmla="*/ 55715 w 365"/>
                <a:gd name="T17" fmla="*/ 40481 h 288"/>
                <a:gd name="T18" fmla="*/ 44572 w 365"/>
                <a:gd name="T19" fmla="*/ 38100 h 288"/>
                <a:gd name="T20" fmla="*/ 48551 w 365"/>
                <a:gd name="T21" fmla="*/ 40481 h 288"/>
                <a:gd name="T22" fmla="*/ 48551 w 365"/>
                <a:gd name="T23" fmla="*/ 47625 h 288"/>
                <a:gd name="T24" fmla="*/ 52531 w 365"/>
                <a:gd name="T25" fmla="*/ 50006 h 288"/>
                <a:gd name="T26" fmla="*/ 41388 w 365"/>
                <a:gd name="T27" fmla="*/ 57150 h 288"/>
                <a:gd name="T28" fmla="*/ 38204 w 365"/>
                <a:gd name="T29" fmla="*/ 57150 h 288"/>
                <a:gd name="T30" fmla="*/ 35021 w 365"/>
                <a:gd name="T31" fmla="*/ 54769 h 288"/>
                <a:gd name="T32" fmla="*/ 31041 w 365"/>
                <a:gd name="T33" fmla="*/ 50006 h 288"/>
                <a:gd name="T34" fmla="*/ 31041 w 365"/>
                <a:gd name="T35" fmla="*/ 44450 h 288"/>
                <a:gd name="T36" fmla="*/ 27857 w 365"/>
                <a:gd name="T37" fmla="*/ 38100 h 288"/>
                <a:gd name="T38" fmla="*/ 31041 w 365"/>
                <a:gd name="T39" fmla="*/ 28575 h 288"/>
                <a:gd name="T40" fmla="*/ 20694 w 365"/>
                <a:gd name="T41" fmla="*/ 28575 h 288"/>
                <a:gd name="T42" fmla="*/ 17510 w 365"/>
                <a:gd name="T43" fmla="*/ 26194 h 288"/>
                <a:gd name="T44" fmla="*/ 7163 w 365"/>
                <a:gd name="T45" fmla="*/ 26194 h 288"/>
                <a:gd name="T46" fmla="*/ 3980 w 365"/>
                <a:gd name="T47" fmla="*/ 21431 h 288"/>
                <a:gd name="T48" fmla="*/ 3980 w 365"/>
                <a:gd name="T49" fmla="*/ 19050 h 288"/>
                <a:gd name="T50" fmla="*/ 0 w 365"/>
                <a:gd name="T51" fmla="*/ 11906 h 288"/>
                <a:gd name="T52" fmla="*/ 3980 w 365"/>
                <a:gd name="T53" fmla="*/ 7144 h 288"/>
                <a:gd name="T54" fmla="*/ 7163 w 365"/>
                <a:gd name="T55" fmla="*/ 2381 h 288"/>
                <a:gd name="T56" fmla="*/ 10347 w 365"/>
                <a:gd name="T57" fmla="*/ 7144 h 288"/>
                <a:gd name="T58" fmla="*/ 7163 w 365"/>
                <a:gd name="T59" fmla="*/ 9525 h 288"/>
                <a:gd name="T60" fmla="*/ 7163 w 365"/>
                <a:gd name="T61" fmla="*/ 15875 h 288"/>
                <a:gd name="T62" fmla="*/ 10347 w 365"/>
                <a:gd name="T63" fmla="*/ 11906 h 288"/>
                <a:gd name="T64" fmla="*/ 10347 w 365"/>
                <a:gd name="T65" fmla="*/ 7144 h 288"/>
                <a:gd name="T66" fmla="*/ 17510 w 365"/>
                <a:gd name="T67" fmla="*/ 2381 h 288"/>
                <a:gd name="T68" fmla="*/ 17510 w 365"/>
                <a:gd name="T69" fmla="*/ 0 h 288"/>
                <a:gd name="T70" fmla="*/ 17510 w 365"/>
                <a:gd name="T71" fmla="*/ 2381 h 288"/>
                <a:gd name="T72" fmla="*/ 27857 w 365"/>
                <a:gd name="T73" fmla="*/ 2381 h 288"/>
                <a:gd name="T74" fmla="*/ 27857 w 365"/>
                <a:gd name="T75" fmla="*/ 7144 h 288"/>
                <a:gd name="T76" fmla="*/ 38204 w 365"/>
                <a:gd name="T77" fmla="*/ 7144 h 288"/>
                <a:gd name="T78" fmla="*/ 44572 w 365"/>
                <a:gd name="T79" fmla="*/ 9525 h 288"/>
                <a:gd name="T80" fmla="*/ 52531 w 365"/>
                <a:gd name="T81" fmla="*/ 7144 h 288"/>
                <a:gd name="T82" fmla="*/ 58899 w 365"/>
                <a:gd name="T83" fmla="*/ 7144 h 288"/>
                <a:gd name="T84" fmla="*/ 55715 w 365"/>
                <a:gd name="T85" fmla="*/ 7144 h 288"/>
                <a:gd name="T86" fmla="*/ 58899 w 365"/>
                <a:gd name="T87" fmla="*/ 9525 h 288"/>
                <a:gd name="T88" fmla="*/ 66062 w 365"/>
                <a:gd name="T89" fmla="*/ 11906 h 288"/>
                <a:gd name="T90" fmla="*/ 66062 w 365"/>
                <a:gd name="T91" fmla="*/ 19050 h 288"/>
                <a:gd name="T92" fmla="*/ 69246 w 365"/>
                <a:gd name="T93" fmla="*/ 15875 h 288"/>
                <a:gd name="T94" fmla="*/ 73225 w 365"/>
                <a:gd name="T95" fmla="*/ 19050 h 2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65"/>
                <a:gd name="T145" fmla="*/ 0 h 288"/>
                <a:gd name="T146" fmla="*/ 365 w 365"/>
                <a:gd name="T147" fmla="*/ 288 h 28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65" h="288">
                  <a:moveTo>
                    <a:pt x="365" y="96"/>
                  </a:moveTo>
                  <a:lnTo>
                    <a:pt x="365" y="96"/>
                  </a:lnTo>
                  <a:lnTo>
                    <a:pt x="347" y="111"/>
                  </a:lnTo>
                  <a:lnTo>
                    <a:pt x="347" y="129"/>
                  </a:lnTo>
                  <a:lnTo>
                    <a:pt x="330" y="129"/>
                  </a:lnTo>
                  <a:lnTo>
                    <a:pt x="330" y="159"/>
                  </a:lnTo>
                  <a:lnTo>
                    <a:pt x="347" y="177"/>
                  </a:lnTo>
                  <a:lnTo>
                    <a:pt x="330" y="192"/>
                  </a:lnTo>
                  <a:lnTo>
                    <a:pt x="278" y="207"/>
                  </a:lnTo>
                  <a:lnTo>
                    <a:pt x="224" y="192"/>
                  </a:lnTo>
                  <a:lnTo>
                    <a:pt x="242" y="207"/>
                  </a:lnTo>
                  <a:lnTo>
                    <a:pt x="242" y="240"/>
                  </a:lnTo>
                  <a:lnTo>
                    <a:pt x="261" y="255"/>
                  </a:lnTo>
                  <a:lnTo>
                    <a:pt x="207" y="288"/>
                  </a:lnTo>
                  <a:lnTo>
                    <a:pt x="190" y="288"/>
                  </a:lnTo>
                  <a:lnTo>
                    <a:pt x="173" y="273"/>
                  </a:lnTo>
                  <a:lnTo>
                    <a:pt x="155" y="255"/>
                  </a:lnTo>
                  <a:lnTo>
                    <a:pt x="155" y="225"/>
                  </a:lnTo>
                  <a:lnTo>
                    <a:pt x="138" y="192"/>
                  </a:lnTo>
                  <a:lnTo>
                    <a:pt x="155" y="144"/>
                  </a:lnTo>
                  <a:lnTo>
                    <a:pt x="103" y="144"/>
                  </a:lnTo>
                  <a:lnTo>
                    <a:pt x="86" y="129"/>
                  </a:lnTo>
                  <a:lnTo>
                    <a:pt x="34" y="129"/>
                  </a:lnTo>
                  <a:lnTo>
                    <a:pt x="17" y="111"/>
                  </a:lnTo>
                  <a:lnTo>
                    <a:pt x="17" y="96"/>
                  </a:lnTo>
                  <a:lnTo>
                    <a:pt x="0" y="63"/>
                  </a:lnTo>
                  <a:lnTo>
                    <a:pt x="17" y="33"/>
                  </a:lnTo>
                  <a:lnTo>
                    <a:pt x="34" y="15"/>
                  </a:lnTo>
                  <a:lnTo>
                    <a:pt x="52" y="33"/>
                  </a:lnTo>
                  <a:lnTo>
                    <a:pt x="34" y="48"/>
                  </a:lnTo>
                  <a:lnTo>
                    <a:pt x="34" y="81"/>
                  </a:lnTo>
                  <a:lnTo>
                    <a:pt x="52" y="63"/>
                  </a:lnTo>
                  <a:lnTo>
                    <a:pt x="52" y="33"/>
                  </a:lnTo>
                  <a:lnTo>
                    <a:pt x="86" y="15"/>
                  </a:lnTo>
                  <a:lnTo>
                    <a:pt x="86" y="0"/>
                  </a:lnTo>
                  <a:lnTo>
                    <a:pt x="86" y="15"/>
                  </a:lnTo>
                  <a:lnTo>
                    <a:pt x="138" y="15"/>
                  </a:lnTo>
                  <a:lnTo>
                    <a:pt x="138" y="33"/>
                  </a:lnTo>
                  <a:lnTo>
                    <a:pt x="190" y="33"/>
                  </a:lnTo>
                  <a:lnTo>
                    <a:pt x="224" y="48"/>
                  </a:lnTo>
                  <a:lnTo>
                    <a:pt x="261" y="33"/>
                  </a:lnTo>
                  <a:lnTo>
                    <a:pt x="295" y="33"/>
                  </a:lnTo>
                  <a:lnTo>
                    <a:pt x="278" y="33"/>
                  </a:lnTo>
                  <a:lnTo>
                    <a:pt x="295" y="48"/>
                  </a:lnTo>
                  <a:lnTo>
                    <a:pt x="330" y="63"/>
                  </a:lnTo>
                  <a:lnTo>
                    <a:pt x="330" y="96"/>
                  </a:lnTo>
                  <a:lnTo>
                    <a:pt x="347" y="81"/>
                  </a:lnTo>
                  <a:lnTo>
                    <a:pt x="365" y="96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05" name="Freeform 85">
              <a:extLst>
                <a:ext uri="{FF2B5EF4-FFF2-40B4-BE49-F238E27FC236}">
                  <a16:creationId xmlns:a16="http://schemas.microsoft.com/office/drawing/2014/main" id="{8E186956-0B73-9729-BDA8-8721F69F4E11}"/>
                </a:ext>
              </a:extLst>
            </p:cNvPr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3487109" y="4416741"/>
              <a:ext cx="78772" cy="89985"/>
            </a:xfrm>
            <a:custGeom>
              <a:avLst/>
              <a:gdLst>
                <a:gd name="T0" fmla="*/ 17632 w 103"/>
                <a:gd name="T1" fmla="*/ 9611 h 111"/>
                <a:gd name="T2" fmla="*/ 17632 w 103"/>
                <a:gd name="T3" fmla="*/ 9611 h 111"/>
                <a:gd name="T4" fmla="*/ 20838 w 103"/>
                <a:gd name="T5" fmla="*/ 12814 h 111"/>
                <a:gd name="T6" fmla="*/ 14426 w 103"/>
                <a:gd name="T7" fmla="*/ 19222 h 111"/>
                <a:gd name="T8" fmla="*/ 10419 w 103"/>
                <a:gd name="T9" fmla="*/ 22425 h 111"/>
                <a:gd name="T10" fmla="*/ 0 w 103"/>
                <a:gd name="T11" fmla="*/ 19222 h 111"/>
                <a:gd name="T12" fmla="*/ 4007 w 103"/>
                <a:gd name="T13" fmla="*/ 9611 h 111"/>
                <a:gd name="T14" fmla="*/ 10419 w 103"/>
                <a:gd name="T15" fmla="*/ 9611 h 111"/>
                <a:gd name="T16" fmla="*/ 4007 w 103"/>
                <a:gd name="T17" fmla="*/ 3204 h 111"/>
                <a:gd name="T18" fmla="*/ 7213 w 103"/>
                <a:gd name="T19" fmla="*/ 0 h 111"/>
                <a:gd name="T20" fmla="*/ 17632 w 103"/>
                <a:gd name="T21" fmla="*/ 0 h 111"/>
                <a:gd name="T22" fmla="*/ 17632 w 103"/>
                <a:gd name="T23" fmla="*/ 9611 h 11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03"/>
                <a:gd name="T37" fmla="*/ 0 h 111"/>
                <a:gd name="T38" fmla="*/ 103 w 103"/>
                <a:gd name="T39" fmla="*/ 111 h 11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03" h="111">
                  <a:moveTo>
                    <a:pt x="86" y="48"/>
                  </a:moveTo>
                  <a:lnTo>
                    <a:pt x="86" y="48"/>
                  </a:lnTo>
                  <a:lnTo>
                    <a:pt x="103" y="63"/>
                  </a:lnTo>
                  <a:lnTo>
                    <a:pt x="69" y="96"/>
                  </a:lnTo>
                  <a:lnTo>
                    <a:pt x="51" y="111"/>
                  </a:lnTo>
                  <a:lnTo>
                    <a:pt x="0" y="96"/>
                  </a:lnTo>
                  <a:lnTo>
                    <a:pt x="17" y="48"/>
                  </a:lnTo>
                  <a:lnTo>
                    <a:pt x="51" y="48"/>
                  </a:lnTo>
                  <a:lnTo>
                    <a:pt x="17" y="15"/>
                  </a:lnTo>
                  <a:lnTo>
                    <a:pt x="34" y="0"/>
                  </a:lnTo>
                  <a:lnTo>
                    <a:pt x="86" y="0"/>
                  </a:lnTo>
                  <a:lnTo>
                    <a:pt x="86" y="48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06" name="Freeform 86">
              <a:extLst>
                <a:ext uri="{FF2B5EF4-FFF2-40B4-BE49-F238E27FC236}">
                  <a16:creationId xmlns:a16="http://schemas.microsoft.com/office/drawing/2014/main" id="{8FB3BAD2-8326-540A-4989-B50F58D096A5}"/>
                </a:ext>
              </a:extLst>
            </p:cNvPr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3542250" y="4468399"/>
              <a:ext cx="127611" cy="49992"/>
            </a:xfrm>
            <a:custGeom>
              <a:avLst/>
              <a:gdLst>
                <a:gd name="T0" fmla="*/ 7144 w 170"/>
                <a:gd name="T1" fmla="*/ 0 h 63"/>
                <a:gd name="T2" fmla="*/ 7144 w 170"/>
                <a:gd name="T3" fmla="*/ 0 h 63"/>
                <a:gd name="T4" fmla="*/ 23019 w 170"/>
                <a:gd name="T5" fmla="*/ 0 h 63"/>
                <a:gd name="T6" fmla="*/ 34131 w 170"/>
                <a:gd name="T7" fmla="*/ 3225 h 63"/>
                <a:gd name="T8" fmla="*/ 26988 w 170"/>
                <a:gd name="T9" fmla="*/ 7257 h 63"/>
                <a:gd name="T10" fmla="*/ 14288 w 170"/>
                <a:gd name="T11" fmla="*/ 12902 h 63"/>
                <a:gd name="T12" fmla="*/ 9525 w 170"/>
                <a:gd name="T13" fmla="*/ 12902 h 63"/>
                <a:gd name="T14" fmla="*/ 9525 w 170"/>
                <a:gd name="T15" fmla="*/ 9676 h 63"/>
                <a:gd name="T16" fmla="*/ 0 w 170"/>
                <a:gd name="T17" fmla="*/ 7257 h 63"/>
                <a:gd name="T18" fmla="*/ 7144 w 170"/>
                <a:gd name="T19" fmla="*/ 0 h 6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0"/>
                <a:gd name="T31" fmla="*/ 0 h 63"/>
                <a:gd name="T32" fmla="*/ 170 w 170"/>
                <a:gd name="T33" fmla="*/ 63 h 6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0" h="63">
                  <a:moveTo>
                    <a:pt x="34" y="0"/>
                  </a:moveTo>
                  <a:lnTo>
                    <a:pt x="34" y="0"/>
                  </a:lnTo>
                  <a:lnTo>
                    <a:pt x="119" y="0"/>
                  </a:lnTo>
                  <a:lnTo>
                    <a:pt x="170" y="15"/>
                  </a:lnTo>
                  <a:lnTo>
                    <a:pt x="136" y="33"/>
                  </a:lnTo>
                  <a:lnTo>
                    <a:pt x="69" y="63"/>
                  </a:lnTo>
                  <a:lnTo>
                    <a:pt x="51" y="63"/>
                  </a:lnTo>
                  <a:lnTo>
                    <a:pt x="51" y="48"/>
                  </a:lnTo>
                  <a:lnTo>
                    <a:pt x="0" y="33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07" name="Freeform 87">
              <a:extLst>
                <a:ext uri="{FF2B5EF4-FFF2-40B4-BE49-F238E27FC236}">
                  <a16:creationId xmlns:a16="http://schemas.microsoft.com/office/drawing/2014/main" id="{8A18E447-3DA9-9E7E-813F-25181559EEA0}"/>
                </a:ext>
              </a:extLst>
            </p:cNvPr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3526495" y="4493395"/>
              <a:ext cx="55140" cy="24996"/>
            </a:xfrm>
            <a:custGeom>
              <a:avLst/>
              <a:gdLst>
                <a:gd name="T0" fmla="*/ 4025 w 71"/>
                <a:gd name="T1" fmla="*/ 0 h 30"/>
                <a:gd name="T2" fmla="*/ 4025 w 71"/>
                <a:gd name="T3" fmla="*/ 0 h 30"/>
                <a:gd name="T4" fmla="*/ 0 w 71"/>
                <a:gd name="T5" fmla="*/ 3387 h 30"/>
                <a:gd name="T6" fmla="*/ 4025 w 71"/>
                <a:gd name="T7" fmla="*/ 7620 h 30"/>
                <a:gd name="T8" fmla="*/ 14489 w 71"/>
                <a:gd name="T9" fmla="*/ 7620 h 30"/>
                <a:gd name="T10" fmla="*/ 14489 w 71"/>
                <a:gd name="T11" fmla="*/ 3387 h 30"/>
                <a:gd name="T12" fmla="*/ 4025 w 71"/>
                <a:gd name="T13" fmla="*/ 0 h 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1"/>
                <a:gd name="T22" fmla="*/ 0 h 30"/>
                <a:gd name="T23" fmla="*/ 71 w 71"/>
                <a:gd name="T24" fmla="*/ 30 h 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1" h="30">
                  <a:moveTo>
                    <a:pt x="20" y="0"/>
                  </a:moveTo>
                  <a:lnTo>
                    <a:pt x="20" y="0"/>
                  </a:lnTo>
                  <a:lnTo>
                    <a:pt x="0" y="15"/>
                  </a:lnTo>
                  <a:lnTo>
                    <a:pt x="20" y="30"/>
                  </a:lnTo>
                  <a:lnTo>
                    <a:pt x="71" y="30"/>
                  </a:lnTo>
                  <a:lnTo>
                    <a:pt x="71" y="15"/>
                  </a:lnTo>
                  <a:lnTo>
                    <a:pt x="20" y="0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08" name="Freeform 88">
              <a:extLst>
                <a:ext uri="{FF2B5EF4-FFF2-40B4-BE49-F238E27FC236}">
                  <a16:creationId xmlns:a16="http://schemas.microsoft.com/office/drawing/2014/main" id="{8AAF1A7C-E768-E51C-9F25-D71FEC77D1ED}"/>
                </a:ext>
              </a:extLst>
            </p:cNvPr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3592664" y="4480064"/>
              <a:ext cx="77196" cy="89985"/>
            </a:xfrm>
            <a:custGeom>
              <a:avLst/>
              <a:gdLst>
                <a:gd name="T0" fmla="*/ 20838 w 103"/>
                <a:gd name="T1" fmla="*/ 0 h 114"/>
                <a:gd name="T2" fmla="*/ 20838 w 103"/>
                <a:gd name="T3" fmla="*/ 0 h 114"/>
                <a:gd name="T4" fmla="*/ 20838 w 103"/>
                <a:gd name="T5" fmla="*/ 3119 h 114"/>
                <a:gd name="T6" fmla="*/ 17632 w 103"/>
                <a:gd name="T7" fmla="*/ 17936 h 114"/>
                <a:gd name="T8" fmla="*/ 20838 w 103"/>
                <a:gd name="T9" fmla="*/ 21835 h 114"/>
                <a:gd name="T10" fmla="*/ 17632 w 103"/>
                <a:gd name="T11" fmla="*/ 21835 h 114"/>
                <a:gd name="T12" fmla="*/ 7213 w 103"/>
                <a:gd name="T13" fmla="*/ 17936 h 114"/>
                <a:gd name="T14" fmla="*/ 0 w 103"/>
                <a:gd name="T15" fmla="*/ 12477 h 114"/>
                <a:gd name="T16" fmla="*/ 0 w 103"/>
                <a:gd name="T17" fmla="*/ 9358 h 114"/>
                <a:gd name="T18" fmla="*/ 14426 w 103"/>
                <a:gd name="T19" fmla="*/ 3119 h 114"/>
                <a:gd name="T20" fmla="*/ 20838 w 103"/>
                <a:gd name="T21" fmla="*/ 0 h 11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03"/>
                <a:gd name="T34" fmla="*/ 0 h 114"/>
                <a:gd name="T35" fmla="*/ 103 w 103"/>
                <a:gd name="T36" fmla="*/ 114 h 11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03" h="114">
                  <a:moveTo>
                    <a:pt x="103" y="0"/>
                  </a:moveTo>
                  <a:lnTo>
                    <a:pt x="103" y="0"/>
                  </a:lnTo>
                  <a:lnTo>
                    <a:pt x="103" y="18"/>
                  </a:lnTo>
                  <a:lnTo>
                    <a:pt x="86" y="96"/>
                  </a:lnTo>
                  <a:lnTo>
                    <a:pt x="103" y="114"/>
                  </a:lnTo>
                  <a:lnTo>
                    <a:pt x="86" y="114"/>
                  </a:lnTo>
                  <a:lnTo>
                    <a:pt x="34" y="96"/>
                  </a:lnTo>
                  <a:lnTo>
                    <a:pt x="0" y="66"/>
                  </a:lnTo>
                  <a:lnTo>
                    <a:pt x="0" y="48"/>
                  </a:lnTo>
                  <a:lnTo>
                    <a:pt x="69" y="18"/>
                  </a:lnTo>
                  <a:lnTo>
                    <a:pt x="103" y="0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09" name="Freeform 89">
              <a:extLst>
                <a:ext uri="{FF2B5EF4-FFF2-40B4-BE49-F238E27FC236}">
                  <a16:creationId xmlns:a16="http://schemas.microsoft.com/office/drawing/2014/main" id="{48806C39-2EC5-4568-C2D9-B89491089723}"/>
                </a:ext>
              </a:extLst>
            </p:cNvPr>
            <p:cNvSpPr>
              <a:spLocks/>
            </p:cNvSpPr>
            <p:nvPr>
              <p:custDataLst>
                <p:tags r:id="rId95"/>
              </p:custDataLst>
            </p:nvPr>
          </p:nvSpPr>
          <p:spPr bwMode="auto">
            <a:xfrm>
              <a:off x="3621022" y="4556718"/>
              <a:ext cx="64593" cy="64990"/>
            </a:xfrm>
            <a:custGeom>
              <a:avLst/>
              <a:gdLst>
                <a:gd name="T0" fmla="*/ 16477 w 87"/>
                <a:gd name="T1" fmla="*/ 15679 h 81"/>
                <a:gd name="T2" fmla="*/ 16477 w 87"/>
                <a:gd name="T3" fmla="*/ 15679 h 81"/>
                <a:gd name="T4" fmla="*/ 16477 w 87"/>
                <a:gd name="T5" fmla="*/ 9407 h 81"/>
                <a:gd name="T6" fmla="*/ 13339 w 87"/>
                <a:gd name="T7" fmla="*/ 6272 h 81"/>
                <a:gd name="T8" fmla="*/ 13339 w 87"/>
                <a:gd name="T9" fmla="*/ 3136 h 81"/>
                <a:gd name="T10" fmla="*/ 10200 w 87"/>
                <a:gd name="T11" fmla="*/ 3136 h 81"/>
                <a:gd name="T12" fmla="*/ 0 w 87"/>
                <a:gd name="T13" fmla="*/ 0 h 81"/>
                <a:gd name="T14" fmla="*/ 0 w 87"/>
                <a:gd name="T15" fmla="*/ 6272 h 81"/>
                <a:gd name="T16" fmla="*/ 3139 w 87"/>
                <a:gd name="T17" fmla="*/ 9407 h 81"/>
                <a:gd name="T18" fmla="*/ 6277 w 87"/>
                <a:gd name="T19" fmla="*/ 6272 h 81"/>
                <a:gd name="T20" fmla="*/ 10200 w 87"/>
                <a:gd name="T21" fmla="*/ 12543 h 81"/>
                <a:gd name="T22" fmla="*/ 16477 w 87"/>
                <a:gd name="T23" fmla="*/ 15679 h 8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7"/>
                <a:gd name="T37" fmla="*/ 0 h 81"/>
                <a:gd name="T38" fmla="*/ 87 w 87"/>
                <a:gd name="T39" fmla="*/ 81 h 8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7" h="81">
                  <a:moveTo>
                    <a:pt x="87" y="81"/>
                  </a:moveTo>
                  <a:lnTo>
                    <a:pt x="87" y="81"/>
                  </a:lnTo>
                  <a:lnTo>
                    <a:pt x="87" y="48"/>
                  </a:lnTo>
                  <a:lnTo>
                    <a:pt x="69" y="33"/>
                  </a:lnTo>
                  <a:lnTo>
                    <a:pt x="69" y="18"/>
                  </a:lnTo>
                  <a:lnTo>
                    <a:pt x="52" y="18"/>
                  </a:lnTo>
                  <a:lnTo>
                    <a:pt x="0" y="0"/>
                  </a:lnTo>
                  <a:lnTo>
                    <a:pt x="0" y="33"/>
                  </a:lnTo>
                  <a:lnTo>
                    <a:pt x="18" y="48"/>
                  </a:lnTo>
                  <a:lnTo>
                    <a:pt x="35" y="33"/>
                  </a:lnTo>
                  <a:lnTo>
                    <a:pt x="52" y="66"/>
                  </a:lnTo>
                  <a:lnTo>
                    <a:pt x="87" y="81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10" name="Freeform 90">
              <a:extLst>
                <a:ext uri="{FF2B5EF4-FFF2-40B4-BE49-F238E27FC236}">
                  <a16:creationId xmlns:a16="http://schemas.microsoft.com/office/drawing/2014/main" id="{9AF045D4-0C24-B7AB-D925-6446A885D159}"/>
                </a:ext>
              </a:extLst>
            </p:cNvPr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3685615" y="4595045"/>
              <a:ext cx="63018" cy="51658"/>
            </a:xfrm>
            <a:custGeom>
              <a:avLst/>
              <a:gdLst>
                <a:gd name="T0" fmla="*/ 0 w 84"/>
                <a:gd name="T1" fmla="*/ 6158 h 66"/>
                <a:gd name="T2" fmla="*/ 0 w 84"/>
                <a:gd name="T3" fmla="*/ 6158 h 66"/>
                <a:gd name="T4" fmla="*/ 9525 w 84"/>
                <a:gd name="T5" fmla="*/ 8467 h 66"/>
                <a:gd name="T6" fmla="*/ 9525 w 84"/>
                <a:gd name="T7" fmla="*/ 12315 h 66"/>
                <a:gd name="T8" fmla="*/ 14288 w 84"/>
                <a:gd name="T9" fmla="*/ 8467 h 66"/>
                <a:gd name="T10" fmla="*/ 9525 w 84"/>
                <a:gd name="T11" fmla="*/ 6158 h 66"/>
                <a:gd name="T12" fmla="*/ 16669 w 84"/>
                <a:gd name="T13" fmla="*/ 3079 h 66"/>
                <a:gd name="T14" fmla="*/ 14288 w 84"/>
                <a:gd name="T15" fmla="*/ 0 h 66"/>
                <a:gd name="T16" fmla="*/ 7144 w 84"/>
                <a:gd name="T17" fmla="*/ 3079 h 66"/>
                <a:gd name="T18" fmla="*/ 3969 w 84"/>
                <a:gd name="T19" fmla="*/ 3079 h 66"/>
                <a:gd name="T20" fmla="*/ 0 w 84"/>
                <a:gd name="T21" fmla="*/ 0 h 66"/>
                <a:gd name="T22" fmla="*/ 0 w 84"/>
                <a:gd name="T23" fmla="*/ 6158 h 6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4"/>
                <a:gd name="T37" fmla="*/ 0 h 66"/>
                <a:gd name="T38" fmla="*/ 84 w 84"/>
                <a:gd name="T39" fmla="*/ 66 h 6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4" h="66">
                  <a:moveTo>
                    <a:pt x="0" y="33"/>
                  </a:moveTo>
                  <a:lnTo>
                    <a:pt x="0" y="33"/>
                  </a:lnTo>
                  <a:lnTo>
                    <a:pt x="51" y="48"/>
                  </a:lnTo>
                  <a:lnTo>
                    <a:pt x="51" y="66"/>
                  </a:lnTo>
                  <a:lnTo>
                    <a:pt x="69" y="48"/>
                  </a:lnTo>
                  <a:lnTo>
                    <a:pt x="51" y="33"/>
                  </a:lnTo>
                  <a:lnTo>
                    <a:pt x="84" y="18"/>
                  </a:lnTo>
                  <a:lnTo>
                    <a:pt x="69" y="0"/>
                  </a:lnTo>
                  <a:lnTo>
                    <a:pt x="34" y="18"/>
                  </a:lnTo>
                  <a:lnTo>
                    <a:pt x="17" y="18"/>
                  </a:lnTo>
                  <a:lnTo>
                    <a:pt x="0" y="0"/>
                  </a:lnTo>
                  <a:lnTo>
                    <a:pt x="0" y="33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11" name="Freeform 91">
              <a:extLst>
                <a:ext uri="{FF2B5EF4-FFF2-40B4-BE49-F238E27FC236}">
                  <a16:creationId xmlns:a16="http://schemas.microsoft.com/office/drawing/2014/main" id="{BE5B4EE5-B29E-51A5-1256-3501FC389D59}"/>
                </a:ext>
              </a:extLst>
            </p:cNvPr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3750209" y="4595045"/>
              <a:ext cx="53565" cy="51658"/>
            </a:xfrm>
            <a:custGeom>
              <a:avLst/>
              <a:gdLst>
                <a:gd name="T0" fmla="*/ 10468 w 69"/>
                <a:gd name="T1" fmla="*/ 3079 h 66"/>
                <a:gd name="T2" fmla="*/ 10468 w 69"/>
                <a:gd name="T3" fmla="*/ 3079 h 66"/>
                <a:gd name="T4" fmla="*/ 14495 w 69"/>
                <a:gd name="T5" fmla="*/ 6158 h 66"/>
                <a:gd name="T6" fmla="*/ 10468 w 69"/>
                <a:gd name="T7" fmla="*/ 8467 h 66"/>
                <a:gd name="T8" fmla="*/ 10468 w 69"/>
                <a:gd name="T9" fmla="*/ 12315 h 66"/>
                <a:gd name="T10" fmla="*/ 7247 w 69"/>
                <a:gd name="T11" fmla="*/ 6158 h 66"/>
                <a:gd name="T12" fmla="*/ 0 w 69"/>
                <a:gd name="T13" fmla="*/ 3079 h 66"/>
                <a:gd name="T14" fmla="*/ 0 w 69"/>
                <a:gd name="T15" fmla="*/ 0 h 66"/>
                <a:gd name="T16" fmla="*/ 4026 w 69"/>
                <a:gd name="T17" fmla="*/ 0 h 66"/>
                <a:gd name="T18" fmla="*/ 7247 w 69"/>
                <a:gd name="T19" fmla="*/ 0 h 66"/>
                <a:gd name="T20" fmla="*/ 10468 w 69"/>
                <a:gd name="T21" fmla="*/ 3079 h 6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9"/>
                <a:gd name="T34" fmla="*/ 0 h 66"/>
                <a:gd name="T35" fmla="*/ 69 w 69"/>
                <a:gd name="T36" fmla="*/ 66 h 6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9" h="66">
                  <a:moveTo>
                    <a:pt x="52" y="18"/>
                  </a:moveTo>
                  <a:lnTo>
                    <a:pt x="52" y="18"/>
                  </a:lnTo>
                  <a:lnTo>
                    <a:pt x="69" y="33"/>
                  </a:lnTo>
                  <a:lnTo>
                    <a:pt x="52" y="48"/>
                  </a:lnTo>
                  <a:lnTo>
                    <a:pt x="52" y="66"/>
                  </a:lnTo>
                  <a:lnTo>
                    <a:pt x="35" y="33"/>
                  </a:lnTo>
                  <a:lnTo>
                    <a:pt x="0" y="18"/>
                  </a:lnTo>
                  <a:lnTo>
                    <a:pt x="0" y="0"/>
                  </a:lnTo>
                  <a:lnTo>
                    <a:pt x="17" y="0"/>
                  </a:lnTo>
                  <a:lnTo>
                    <a:pt x="35" y="0"/>
                  </a:lnTo>
                  <a:lnTo>
                    <a:pt x="52" y="18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12" name="Freeform 92">
              <a:extLst>
                <a:ext uri="{FF2B5EF4-FFF2-40B4-BE49-F238E27FC236}">
                  <a16:creationId xmlns:a16="http://schemas.microsoft.com/office/drawing/2014/main" id="{E916FA84-3268-65A8-7A15-967AEF0C8C01}"/>
                </a:ext>
              </a:extLst>
            </p:cNvPr>
            <p:cNvSpPr>
              <a:spLocks/>
            </p:cNvSpPr>
            <p:nvPr>
              <p:custDataLst>
                <p:tags r:id="rId98"/>
              </p:custDataLst>
            </p:nvPr>
          </p:nvSpPr>
          <p:spPr bwMode="auto">
            <a:xfrm>
              <a:off x="3737605" y="4595045"/>
              <a:ext cx="12604" cy="13331"/>
            </a:xfrm>
            <a:custGeom>
              <a:avLst/>
              <a:gdLst>
                <a:gd name="T0" fmla="*/ 4202 w 17"/>
                <a:gd name="T1" fmla="*/ 2822 h 18"/>
                <a:gd name="T2" fmla="*/ 4202 w 17"/>
                <a:gd name="T3" fmla="*/ 2822 h 18"/>
                <a:gd name="T4" fmla="*/ 4202 w 17"/>
                <a:gd name="T5" fmla="*/ 0 h 18"/>
                <a:gd name="T6" fmla="*/ 0 w 17"/>
                <a:gd name="T7" fmla="*/ 0 h 18"/>
                <a:gd name="T8" fmla="*/ 4202 w 17"/>
                <a:gd name="T9" fmla="*/ 2822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17" y="18"/>
                  </a:moveTo>
                  <a:lnTo>
                    <a:pt x="17" y="18"/>
                  </a:lnTo>
                  <a:lnTo>
                    <a:pt x="17" y="0"/>
                  </a:lnTo>
                  <a:lnTo>
                    <a:pt x="0" y="0"/>
                  </a:lnTo>
                  <a:lnTo>
                    <a:pt x="17" y="18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13" name="Freeform 93">
              <a:extLst>
                <a:ext uri="{FF2B5EF4-FFF2-40B4-BE49-F238E27FC236}">
                  <a16:creationId xmlns:a16="http://schemas.microsoft.com/office/drawing/2014/main" id="{F48293BF-F37A-568D-CFF8-1E52C6B2E922}"/>
                </a:ext>
              </a:extLst>
            </p:cNvPr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8096862" y="4790013"/>
              <a:ext cx="206384" cy="179970"/>
            </a:xfrm>
            <a:custGeom>
              <a:avLst/>
              <a:gdLst>
                <a:gd name="T0" fmla="*/ 53779 w 275"/>
                <a:gd name="T1" fmla="*/ 12644 h 225"/>
                <a:gd name="T2" fmla="*/ 53779 w 275"/>
                <a:gd name="T3" fmla="*/ 12644 h 225"/>
                <a:gd name="T4" fmla="*/ 53779 w 275"/>
                <a:gd name="T5" fmla="*/ 25287 h 225"/>
                <a:gd name="T6" fmla="*/ 53779 w 275"/>
                <a:gd name="T7" fmla="*/ 44252 h 225"/>
                <a:gd name="T8" fmla="*/ 47452 w 275"/>
                <a:gd name="T9" fmla="*/ 37931 h 225"/>
                <a:gd name="T10" fmla="*/ 37171 w 275"/>
                <a:gd name="T11" fmla="*/ 41092 h 225"/>
                <a:gd name="T12" fmla="*/ 40334 w 275"/>
                <a:gd name="T13" fmla="*/ 34770 h 225"/>
                <a:gd name="T14" fmla="*/ 37171 w 275"/>
                <a:gd name="T15" fmla="*/ 28448 h 225"/>
                <a:gd name="T16" fmla="*/ 13445 w 275"/>
                <a:gd name="T17" fmla="*/ 15804 h 225"/>
                <a:gd name="T18" fmla="*/ 10281 w 275"/>
                <a:gd name="T19" fmla="*/ 18965 h 225"/>
                <a:gd name="T20" fmla="*/ 10281 w 275"/>
                <a:gd name="T21" fmla="*/ 15804 h 225"/>
                <a:gd name="T22" fmla="*/ 6327 w 275"/>
                <a:gd name="T23" fmla="*/ 12644 h 225"/>
                <a:gd name="T24" fmla="*/ 13445 w 275"/>
                <a:gd name="T25" fmla="*/ 12644 h 225"/>
                <a:gd name="T26" fmla="*/ 16608 w 275"/>
                <a:gd name="T27" fmla="*/ 9483 h 225"/>
                <a:gd name="T28" fmla="*/ 6327 w 275"/>
                <a:gd name="T29" fmla="*/ 9483 h 225"/>
                <a:gd name="T30" fmla="*/ 3163 w 275"/>
                <a:gd name="T31" fmla="*/ 6322 h 225"/>
                <a:gd name="T32" fmla="*/ 0 w 275"/>
                <a:gd name="T33" fmla="*/ 6322 h 225"/>
                <a:gd name="T34" fmla="*/ 6327 w 275"/>
                <a:gd name="T35" fmla="*/ 0 h 225"/>
                <a:gd name="T36" fmla="*/ 10281 w 275"/>
                <a:gd name="T37" fmla="*/ 0 h 225"/>
                <a:gd name="T38" fmla="*/ 16608 w 275"/>
                <a:gd name="T39" fmla="*/ 3161 h 225"/>
                <a:gd name="T40" fmla="*/ 16608 w 275"/>
                <a:gd name="T41" fmla="*/ 9483 h 225"/>
                <a:gd name="T42" fmla="*/ 22935 w 275"/>
                <a:gd name="T43" fmla="*/ 15804 h 225"/>
                <a:gd name="T44" fmla="*/ 30053 w 275"/>
                <a:gd name="T45" fmla="*/ 9483 h 225"/>
                <a:gd name="T46" fmla="*/ 37171 w 275"/>
                <a:gd name="T47" fmla="*/ 6322 h 225"/>
                <a:gd name="T48" fmla="*/ 53779 w 275"/>
                <a:gd name="T49" fmla="*/ 12644 h 225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75"/>
                <a:gd name="T76" fmla="*/ 0 h 225"/>
                <a:gd name="T77" fmla="*/ 275 w 275"/>
                <a:gd name="T78" fmla="*/ 225 h 225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75" h="225">
                  <a:moveTo>
                    <a:pt x="275" y="65"/>
                  </a:moveTo>
                  <a:lnTo>
                    <a:pt x="275" y="65"/>
                  </a:lnTo>
                  <a:lnTo>
                    <a:pt x="275" y="129"/>
                  </a:lnTo>
                  <a:lnTo>
                    <a:pt x="275" y="225"/>
                  </a:lnTo>
                  <a:lnTo>
                    <a:pt x="240" y="192"/>
                  </a:lnTo>
                  <a:lnTo>
                    <a:pt x="189" y="209"/>
                  </a:lnTo>
                  <a:lnTo>
                    <a:pt x="206" y="177"/>
                  </a:lnTo>
                  <a:lnTo>
                    <a:pt x="189" y="144"/>
                  </a:lnTo>
                  <a:lnTo>
                    <a:pt x="68" y="81"/>
                  </a:lnTo>
                  <a:lnTo>
                    <a:pt x="52" y="96"/>
                  </a:lnTo>
                  <a:lnTo>
                    <a:pt x="52" y="81"/>
                  </a:lnTo>
                  <a:lnTo>
                    <a:pt x="35" y="65"/>
                  </a:lnTo>
                  <a:lnTo>
                    <a:pt x="68" y="65"/>
                  </a:lnTo>
                  <a:lnTo>
                    <a:pt x="85" y="48"/>
                  </a:lnTo>
                  <a:lnTo>
                    <a:pt x="35" y="48"/>
                  </a:lnTo>
                  <a:lnTo>
                    <a:pt x="18" y="33"/>
                  </a:lnTo>
                  <a:lnTo>
                    <a:pt x="0" y="33"/>
                  </a:lnTo>
                  <a:lnTo>
                    <a:pt x="35" y="0"/>
                  </a:lnTo>
                  <a:lnTo>
                    <a:pt x="52" y="0"/>
                  </a:lnTo>
                  <a:lnTo>
                    <a:pt x="85" y="18"/>
                  </a:lnTo>
                  <a:lnTo>
                    <a:pt x="85" y="48"/>
                  </a:lnTo>
                  <a:lnTo>
                    <a:pt x="119" y="81"/>
                  </a:lnTo>
                  <a:lnTo>
                    <a:pt x="154" y="48"/>
                  </a:lnTo>
                  <a:lnTo>
                    <a:pt x="189" y="33"/>
                  </a:lnTo>
                  <a:lnTo>
                    <a:pt x="275" y="65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14" name="Freeform 94">
              <a:extLst>
                <a:ext uri="{FF2B5EF4-FFF2-40B4-BE49-F238E27FC236}">
                  <a16:creationId xmlns:a16="http://schemas.microsoft.com/office/drawing/2014/main" id="{7CA8D2A5-1767-7F19-58EB-B80501CEE331}"/>
                </a:ext>
              </a:extLst>
            </p:cNvPr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8303246" y="4841671"/>
              <a:ext cx="198506" cy="166639"/>
            </a:xfrm>
            <a:custGeom>
              <a:avLst/>
              <a:gdLst>
                <a:gd name="T0" fmla="*/ 0 w 261"/>
                <a:gd name="T1" fmla="*/ 31750 h 208"/>
                <a:gd name="T2" fmla="*/ 0 w 261"/>
                <a:gd name="T3" fmla="*/ 31750 h 208"/>
                <a:gd name="T4" fmla="*/ 0 w 261"/>
                <a:gd name="T5" fmla="*/ 12700 h 208"/>
                <a:gd name="T6" fmla="*/ 0 w 261"/>
                <a:gd name="T7" fmla="*/ 0 h 208"/>
                <a:gd name="T8" fmla="*/ 14342 w 261"/>
                <a:gd name="T9" fmla="*/ 3175 h 208"/>
                <a:gd name="T10" fmla="*/ 24701 w 261"/>
                <a:gd name="T11" fmla="*/ 9525 h 208"/>
                <a:gd name="T12" fmla="*/ 24701 w 261"/>
                <a:gd name="T13" fmla="*/ 12700 h 208"/>
                <a:gd name="T14" fmla="*/ 38246 w 261"/>
                <a:gd name="T15" fmla="*/ 19050 h 208"/>
                <a:gd name="T16" fmla="*/ 31872 w 261"/>
                <a:gd name="T17" fmla="*/ 22225 h 208"/>
                <a:gd name="T18" fmla="*/ 35059 w 261"/>
                <a:gd name="T19" fmla="*/ 22225 h 208"/>
                <a:gd name="T20" fmla="*/ 38246 w 261"/>
                <a:gd name="T21" fmla="*/ 24606 h 208"/>
                <a:gd name="T22" fmla="*/ 42230 w 261"/>
                <a:gd name="T23" fmla="*/ 31750 h 208"/>
                <a:gd name="T24" fmla="*/ 45417 w 261"/>
                <a:gd name="T25" fmla="*/ 31750 h 208"/>
                <a:gd name="T26" fmla="*/ 45417 w 261"/>
                <a:gd name="T27" fmla="*/ 34925 h 208"/>
                <a:gd name="T28" fmla="*/ 52588 w 261"/>
                <a:gd name="T29" fmla="*/ 38100 h 208"/>
                <a:gd name="T30" fmla="*/ 52588 w 261"/>
                <a:gd name="T31" fmla="*/ 41275 h 208"/>
                <a:gd name="T32" fmla="*/ 35059 w 261"/>
                <a:gd name="T33" fmla="*/ 38100 h 208"/>
                <a:gd name="T34" fmla="*/ 27888 w 261"/>
                <a:gd name="T35" fmla="*/ 24606 h 208"/>
                <a:gd name="T36" fmla="*/ 20717 w 261"/>
                <a:gd name="T37" fmla="*/ 24606 h 208"/>
                <a:gd name="T38" fmla="*/ 17529 w 261"/>
                <a:gd name="T39" fmla="*/ 24606 h 208"/>
                <a:gd name="T40" fmla="*/ 10358 w 261"/>
                <a:gd name="T41" fmla="*/ 28575 h 208"/>
                <a:gd name="T42" fmla="*/ 14342 w 261"/>
                <a:gd name="T43" fmla="*/ 31750 h 208"/>
                <a:gd name="T44" fmla="*/ 7171 w 261"/>
                <a:gd name="T45" fmla="*/ 31750 h 208"/>
                <a:gd name="T46" fmla="*/ 0 w 261"/>
                <a:gd name="T47" fmla="*/ 31750 h 20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61"/>
                <a:gd name="T73" fmla="*/ 0 h 208"/>
                <a:gd name="T74" fmla="*/ 261 w 261"/>
                <a:gd name="T75" fmla="*/ 208 h 208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61" h="208">
                  <a:moveTo>
                    <a:pt x="0" y="160"/>
                  </a:moveTo>
                  <a:lnTo>
                    <a:pt x="0" y="160"/>
                  </a:lnTo>
                  <a:lnTo>
                    <a:pt x="0" y="64"/>
                  </a:lnTo>
                  <a:lnTo>
                    <a:pt x="0" y="0"/>
                  </a:lnTo>
                  <a:lnTo>
                    <a:pt x="69" y="16"/>
                  </a:lnTo>
                  <a:lnTo>
                    <a:pt x="121" y="48"/>
                  </a:lnTo>
                  <a:lnTo>
                    <a:pt x="121" y="64"/>
                  </a:lnTo>
                  <a:lnTo>
                    <a:pt x="192" y="96"/>
                  </a:lnTo>
                  <a:lnTo>
                    <a:pt x="157" y="112"/>
                  </a:lnTo>
                  <a:lnTo>
                    <a:pt x="175" y="112"/>
                  </a:lnTo>
                  <a:lnTo>
                    <a:pt x="192" y="127"/>
                  </a:lnTo>
                  <a:lnTo>
                    <a:pt x="209" y="160"/>
                  </a:lnTo>
                  <a:lnTo>
                    <a:pt x="226" y="160"/>
                  </a:lnTo>
                  <a:lnTo>
                    <a:pt x="226" y="175"/>
                  </a:lnTo>
                  <a:lnTo>
                    <a:pt x="261" y="192"/>
                  </a:lnTo>
                  <a:lnTo>
                    <a:pt x="261" y="208"/>
                  </a:lnTo>
                  <a:lnTo>
                    <a:pt x="175" y="192"/>
                  </a:lnTo>
                  <a:lnTo>
                    <a:pt x="140" y="127"/>
                  </a:lnTo>
                  <a:lnTo>
                    <a:pt x="104" y="127"/>
                  </a:lnTo>
                  <a:lnTo>
                    <a:pt x="86" y="127"/>
                  </a:lnTo>
                  <a:lnTo>
                    <a:pt x="52" y="144"/>
                  </a:lnTo>
                  <a:lnTo>
                    <a:pt x="69" y="160"/>
                  </a:lnTo>
                  <a:lnTo>
                    <a:pt x="34" y="160"/>
                  </a:lnTo>
                  <a:lnTo>
                    <a:pt x="0" y="160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15" name="Freeform 95">
              <a:extLst>
                <a:ext uri="{FF2B5EF4-FFF2-40B4-BE49-F238E27FC236}">
                  <a16:creationId xmlns:a16="http://schemas.microsoft.com/office/drawing/2014/main" id="{D940C468-ACC6-FA3F-F86A-7ED61F548F1E}"/>
                </a:ext>
              </a:extLst>
            </p:cNvPr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7728208" y="5008311"/>
              <a:ext cx="838137" cy="638228"/>
            </a:xfrm>
            <a:custGeom>
              <a:avLst/>
              <a:gdLst>
                <a:gd name="T0" fmla="*/ 11123 w 1109"/>
                <a:gd name="T1" fmla="*/ 127000 h 800"/>
                <a:gd name="T2" fmla="*/ 27806 w 1109"/>
                <a:gd name="T3" fmla="*/ 133350 h 800"/>
                <a:gd name="T4" fmla="*/ 55613 w 1109"/>
                <a:gd name="T5" fmla="*/ 123825 h 800"/>
                <a:gd name="T6" fmla="*/ 73091 w 1109"/>
                <a:gd name="T7" fmla="*/ 114300 h 800"/>
                <a:gd name="T8" fmla="*/ 114403 w 1109"/>
                <a:gd name="T9" fmla="*/ 117475 h 800"/>
                <a:gd name="T10" fmla="*/ 117581 w 1109"/>
                <a:gd name="T11" fmla="*/ 120650 h 800"/>
                <a:gd name="T12" fmla="*/ 135059 w 1109"/>
                <a:gd name="T13" fmla="*/ 117475 h 800"/>
                <a:gd name="T14" fmla="*/ 131087 w 1109"/>
                <a:gd name="T15" fmla="*/ 133350 h 800"/>
                <a:gd name="T16" fmla="*/ 135059 w 1109"/>
                <a:gd name="T17" fmla="*/ 127000 h 800"/>
                <a:gd name="T18" fmla="*/ 135059 w 1109"/>
                <a:gd name="T19" fmla="*/ 136525 h 800"/>
                <a:gd name="T20" fmla="*/ 145387 w 1109"/>
                <a:gd name="T21" fmla="*/ 142875 h 800"/>
                <a:gd name="T22" fmla="*/ 148565 w 1109"/>
                <a:gd name="T23" fmla="*/ 149225 h 800"/>
                <a:gd name="T24" fmla="*/ 162071 w 1109"/>
                <a:gd name="T25" fmla="*/ 152400 h 800"/>
                <a:gd name="T26" fmla="*/ 172399 w 1109"/>
                <a:gd name="T27" fmla="*/ 149225 h 800"/>
                <a:gd name="T28" fmla="*/ 176371 w 1109"/>
                <a:gd name="T29" fmla="*/ 152400 h 800"/>
                <a:gd name="T30" fmla="*/ 182727 w 1109"/>
                <a:gd name="T31" fmla="*/ 158750 h 800"/>
                <a:gd name="T32" fmla="*/ 200205 w 1109"/>
                <a:gd name="T33" fmla="*/ 149225 h 800"/>
                <a:gd name="T34" fmla="*/ 216889 w 1109"/>
                <a:gd name="T35" fmla="*/ 107950 h 800"/>
                <a:gd name="T36" fmla="*/ 216889 w 1109"/>
                <a:gd name="T37" fmla="*/ 79375 h 800"/>
                <a:gd name="T38" fmla="*/ 206561 w 1109"/>
                <a:gd name="T39" fmla="*/ 66675 h 800"/>
                <a:gd name="T40" fmla="*/ 200205 w 1109"/>
                <a:gd name="T41" fmla="*/ 57150 h 800"/>
                <a:gd name="T42" fmla="*/ 193055 w 1109"/>
                <a:gd name="T43" fmla="*/ 50006 h 800"/>
                <a:gd name="T44" fmla="*/ 179549 w 1109"/>
                <a:gd name="T45" fmla="*/ 31750 h 800"/>
                <a:gd name="T46" fmla="*/ 176371 w 1109"/>
                <a:gd name="T47" fmla="*/ 21431 h 800"/>
                <a:gd name="T48" fmla="*/ 166043 w 1109"/>
                <a:gd name="T49" fmla="*/ 19050 h 800"/>
                <a:gd name="T50" fmla="*/ 158893 w 1109"/>
                <a:gd name="T51" fmla="*/ 0 h 800"/>
                <a:gd name="T52" fmla="*/ 155715 w 1109"/>
                <a:gd name="T53" fmla="*/ 21431 h 800"/>
                <a:gd name="T54" fmla="*/ 145387 w 1109"/>
                <a:gd name="T55" fmla="*/ 34925 h 800"/>
                <a:gd name="T56" fmla="*/ 127909 w 1109"/>
                <a:gd name="T57" fmla="*/ 25400 h 800"/>
                <a:gd name="T58" fmla="*/ 120759 w 1109"/>
                <a:gd name="T59" fmla="*/ 21431 h 800"/>
                <a:gd name="T60" fmla="*/ 127909 w 1109"/>
                <a:gd name="T61" fmla="*/ 11906 h 800"/>
                <a:gd name="T62" fmla="*/ 127909 w 1109"/>
                <a:gd name="T63" fmla="*/ 6350 h 800"/>
                <a:gd name="T64" fmla="*/ 124731 w 1109"/>
                <a:gd name="T65" fmla="*/ 6350 h 800"/>
                <a:gd name="T66" fmla="*/ 103281 w 1109"/>
                <a:gd name="T67" fmla="*/ 2381 h 800"/>
                <a:gd name="T68" fmla="*/ 103281 w 1109"/>
                <a:gd name="T69" fmla="*/ 6350 h 800"/>
                <a:gd name="T70" fmla="*/ 92953 w 1109"/>
                <a:gd name="T71" fmla="*/ 9525 h 800"/>
                <a:gd name="T72" fmla="*/ 89775 w 1109"/>
                <a:gd name="T73" fmla="*/ 11906 h 800"/>
                <a:gd name="T74" fmla="*/ 89775 w 1109"/>
                <a:gd name="T75" fmla="*/ 21431 h 800"/>
                <a:gd name="T76" fmla="*/ 82624 w 1109"/>
                <a:gd name="T77" fmla="*/ 21431 h 800"/>
                <a:gd name="T78" fmla="*/ 79447 w 1109"/>
                <a:gd name="T79" fmla="*/ 15875 h 800"/>
                <a:gd name="T80" fmla="*/ 69119 w 1109"/>
                <a:gd name="T81" fmla="*/ 19050 h 800"/>
                <a:gd name="T82" fmla="*/ 62763 w 1109"/>
                <a:gd name="T83" fmla="*/ 28575 h 800"/>
                <a:gd name="T84" fmla="*/ 55613 w 1109"/>
                <a:gd name="T85" fmla="*/ 28575 h 800"/>
                <a:gd name="T86" fmla="*/ 55613 w 1109"/>
                <a:gd name="T87" fmla="*/ 34925 h 800"/>
                <a:gd name="T88" fmla="*/ 48462 w 1109"/>
                <a:gd name="T89" fmla="*/ 34925 h 800"/>
                <a:gd name="T90" fmla="*/ 42107 w 1109"/>
                <a:gd name="T91" fmla="*/ 44450 h 800"/>
                <a:gd name="T92" fmla="*/ 7150 w 1109"/>
                <a:gd name="T93" fmla="*/ 60325 h 800"/>
                <a:gd name="T94" fmla="*/ 3972 w 1109"/>
                <a:gd name="T95" fmla="*/ 60325 h 800"/>
                <a:gd name="T96" fmla="*/ 0 w 1109"/>
                <a:gd name="T97" fmla="*/ 66675 h 800"/>
                <a:gd name="T98" fmla="*/ 3972 w 1109"/>
                <a:gd name="T99" fmla="*/ 76200 h 800"/>
                <a:gd name="T100" fmla="*/ 0 w 1109"/>
                <a:gd name="T101" fmla="*/ 79375 h 800"/>
                <a:gd name="T102" fmla="*/ 14300 w 1109"/>
                <a:gd name="T103" fmla="*/ 111125 h 800"/>
                <a:gd name="T104" fmla="*/ 11123 w 1109"/>
                <a:gd name="T105" fmla="*/ 123825 h 80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109"/>
                <a:gd name="T160" fmla="*/ 0 h 800"/>
                <a:gd name="T161" fmla="*/ 1109 w 1109"/>
                <a:gd name="T162" fmla="*/ 800 h 80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109" h="800">
                  <a:moveTo>
                    <a:pt x="54" y="639"/>
                  </a:moveTo>
                  <a:lnTo>
                    <a:pt x="54" y="639"/>
                  </a:lnTo>
                  <a:lnTo>
                    <a:pt x="105" y="671"/>
                  </a:lnTo>
                  <a:lnTo>
                    <a:pt x="140" y="671"/>
                  </a:lnTo>
                  <a:lnTo>
                    <a:pt x="192" y="623"/>
                  </a:lnTo>
                  <a:lnTo>
                    <a:pt x="278" y="623"/>
                  </a:lnTo>
                  <a:lnTo>
                    <a:pt x="295" y="608"/>
                  </a:lnTo>
                  <a:lnTo>
                    <a:pt x="365" y="575"/>
                  </a:lnTo>
                  <a:lnTo>
                    <a:pt x="503" y="560"/>
                  </a:lnTo>
                  <a:lnTo>
                    <a:pt x="574" y="591"/>
                  </a:lnTo>
                  <a:lnTo>
                    <a:pt x="574" y="608"/>
                  </a:lnTo>
                  <a:lnTo>
                    <a:pt x="591" y="608"/>
                  </a:lnTo>
                  <a:lnTo>
                    <a:pt x="626" y="671"/>
                  </a:lnTo>
                  <a:lnTo>
                    <a:pt x="677" y="591"/>
                  </a:lnTo>
                  <a:lnTo>
                    <a:pt x="677" y="623"/>
                  </a:lnTo>
                  <a:lnTo>
                    <a:pt x="660" y="671"/>
                  </a:lnTo>
                  <a:lnTo>
                    <a:pt x="677" y="671"/>
                  </a:lnTo>
                  <a:lnTo>
                    <a:pt x="677" y="639"/>
                  </a:lnTo>
                  <a:lnTo>
                    <a:pt x="695" y="671"/>
                  </a:lnTo>
                  <a:lnTo>
                    <a:pt x="677" y="687"/>
                  </a:lnTo>
                  <a:lnTo>
                    <a:pt x="712" y="687"/>
                  </a:lnTo>
                  <a:lnTo>
                    <a:pt x="729" y="719"/>
                  </a:lnTo>
                  <a:lnTo>
                    <a:pt x="729" y="735"/>
                  </a:lnTo>
                  <a:lnTo>
                    <a:pt x="747" y="752"/>
                  </a:lnTo>
                  <a:lnTo>
                    <a:pt x="781" y="767"/>
                  </a:lnTo>
                  <a:lnTo>
                    <a:pt x="816" y="767"/>
                  </a:lnTo>
                  <a:lnTo>
                    <a:pt x="833" y="783"/>
                  </a:lnTo>
                  <a:lnTo>
                    <a:pt x="868" y="752"/>
                  </a:lnTo>
                  <a:lnTo>
                    <a:pt x="868" y="767"/>
                  </a:lnTo>
                  <a:lnTo>
                    <a:pt x="885" y="767"/>
                  </a:lnTo>
                  <a:lnTo>
                    <a:pt x="885" y="783"/>
                  </a:lnTo>
                  <a:lnTo>
                    <a:pt x="919" y="800"/>
                  </a:lnTo>
                  <a:lnTo>
                    <a:pt x="954" y="752"/>
                  </a:lnTo>
                  <a:lnTo>
                    <a:pt x="1006" y="752"/>
                  </a:lnTo>
                  <a:lnTo>
                    <a:pt x="1023" y="687"/>
                  </a:lnTo>
                  <a:lnTo>
                    <a:pt x="1092" y="543"/>
                  </a:lnTo>
                  <a:lnTo>
                    <a:pt x="1109" y="479"/>
                  </a:lnTo>
                  <a:lnTo>
                    <a:pt x="1092" y="399"/>
                  </a:lnTo>
                  <a:lnTo>
                    <a:pt x="1058" y="351"/>
                  </a:lnTo>
                  <a:lnTo>
                    <a:pt x="1040" y="336"/>
                  </a:lnTo>
                  <a:lnTo>
                    <a:pt x="1023" y="303"/>
                  </a:lnTo>
                  <a:lnTo>
                    <a:pt x="1006" y="288"/>
                  </a:lnTo>
                  <a:lnTo>
                    <a:pt x="1006" y="303"/>
                  </a:lnTo>
                  <a:lnTo>
                    <a:pt x="971" y="255"/>
                  </a:lnTo>
                  <a:lnTo>
                    <a:pt x="919" y="207"/>
                  </a:lnTo>
                  <a:lnTo>
                    <a:pt x="902" y="159"/>
                  </a:lnTo>
                  <a:lnTo>
                    <a:pt x="885" y="144"/>
                  </a:lnTo>
                  <a:lnTo>
                    <a:pt x="885" y="111"/>
                  </a:lnTo>
                  <a:lnTo>
                    <a:pt x="868" y="96"/>
                  </a:lnTo>
                  <a:lnTo>
                    <a:pt x="833" y="96"/>
                  </a:lnTo>
                  <a:lnTo>
                    <a:pt x="816" y="0"/>
                  </a:lnTo>
                  <a:lnTo>
                    <a:pt x="798" y="0"/>
                  </a:lnTo>
                  <a:lnTo>
                    <a:pt x="781" y="32"/>
                  </a:lnTo>
                  <a:lnTo>
                    <a:pt x="781" y="111"/>
                  </a:lnTo>
                  <a:lnTo>
                    <a:pt x="764" y="176"/>
                  </a:lnTo>
                  <a:lnTo>
                    <a:pt x="729" y="176"/>
                  </a:lnTo>
                  <a:lnTo>
                    <a:pt x="660" y="128"/>
                  </a:lnTo>
                  <a:lnTo>
                    <a:pt x="643" y="128"/>
                  </a:lnTo>
                  <a:lnTo>
                    <a:pt x="643" y="111"/>
                  </a:lnTo>
                  <a:lnTo>
                    <a:pt x="608" y="111"/>
                  </a:lnTo>
                  <a:lnTo>
                    <a:pt x="626" y="63"/>
                  </a:lnTo>
                  <a:lnTo>
                    <a:pt x="643" y="63"/>
                  </a:lnTo>
                  <a:lnTo>
                    <a:pt x="660" y="32"/>
                  </a:lnTo>
                  <a:lnTo>
                    <a:pt x="643" y="32"/>
                  </a:lnTo>
                  <a:lnTo>
                    <a:pt x="626" y="48"/>
                  </a:lnTo>
                  <a:lnTo>
                    <a:pt x="626" y="32"/>
                  </a:lnTo>
                  <a:lnTo>
                    <a:pt x="608" y="32"/>
                  </a:lnTo>
                  <a:lnTo>
                    <a:pt x="520" y="15"/>
                  </a:lnTo>
                  <a:lnTo>
                    <a:pt x="537" y="32"/>
                  </a:lnTo>
                  <a:lnTo>
                    <a:pt x="520" y="32"/>
                  </a:lnTo>
                  <a:lnTo>
                    <a:pt x="485" y="32"/>
                  </a:lnTo>
                  <a:lnTo>
                    <a:pt x="468" y="48"/>
                  </a:lnTo>
                  <a:lnTo>
                    <a:pt x="468" y="63"/>
                  </a:lnTo>
                  <a:lnTo>
                    <a:pt x="451" y="63"/>
                  </a:lnTo>
                  <a:lnTo>
                    <a:pt x="451" y="96"/>
                  </a:lnTo>
                  <a:lnTo>
                    <a:pt x="451" y="111"/>
                  </a:lnTo>
                  <a:lnTo>
                    <a:pt x="416" y="96"/>
                  </a:lnTo>
                  <a:lnTo>
                    <a:pt x="416" y="111"/>
                  </a:lnTo>
                  <a:lnTo>
                    <a:pt x="416" y="96"/>
                  </a:lnTo>
                  <a:lnTo>
                    <a:pt x="399" y="80"/>
                  </a:lnTo>
                  <a:lnTo>
                    <a:pt x="382" y="80"/>
                  </a:lnTo>
                  <a:lnTo>
                    <a:pt x="347" y="96"/>
                  </a:lnTo>
                  <a:lnTo>
                    <a:pt x="330" y="96"/>
                  </a:lnTo>
                  <a:lnTo>
                    <a:pt x="313" y="144"/>
                  </a:lnTo>
                  <a:lnTo>
                    <a:pt x="295" y="144"/>
                  </a:lnTo>
                  <a:lnTo>
                    <a:pt x="278" y="144"/>
                  </a:lnTo>
                  <a:lnTo>
                    <a:pt x="295" y="159"/>
                  </a:lnTo>
                  <a:lnTo>
                    <a:pt x="278" y="176"/>
                  </a:lnTo>
                  <a:lnTo>
                    <a:pt x="278" y="144"/>
                  </a:lnTo>
                  <a:lnTo>
                    <a:pt x="244" y="176"/>
                  </a:lnTo>
                  <a:lnTo>
                    <a:pt x="261" y="192"/>
                  </a:lnTo>
                  <a:lnTo>
                    <a:pt x="209" y="224"/>
                  </a:lnTo>
                  <a:lnTo>
                    <a:pt x="88" y="255"/>
                  </a:lnTo>
                  <a:lnTo>
                    <a:pt x="36" y="303"/>
                  </a:lnTo>
                  <a:lnTo>
                    <a:pt x="17" y="288"/>
                  </a:lnTo>
                  <a:lnTo>
                    <a:pt x="17" y="303"/>
                  </a:lnTo>
                  <a:lnTo>
                    <a:pt x="17" y="336"/>
                  </a:lnTo>
                  <a:lnTo>
                    <a:pt x="0" y="336"/>
                  </a:lnTo>
                  <a:lnTo>
                    <a:pt x="36" y="416"/>
                  </a:lnTo>
                  <a:lnTo>
                    <a:pt x="17" y="384"/>
                  </a:lnTo>
                  <a:lnTo>
                    <a:pt x="17" y="416"/>
                  </a:lnTo>
                  <a:lnTo>
                    <a:pt x="0" y="399"/>
                  </a:lnTo>
                  <a:lnTo>
                    <a:pt x="54" y="495"/>
                  </a:lnTo>
                  <a:lnTo>
                    <a:pt x="71" y="560"/>
                  </a:lnTo>
                  <a:lnTo>
                    <a:pt x="71" y="608"/>
                  </a:lnTo>
                  <a:lnTo>
                    <a:pt x="54" y="623"/>
                  </a:lnTo>
                  <a:lnTo>
                    <a:pt x="54" y="639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16" name="Freeform 96">
              <a:extLst>
                <a:ext uri="{FF2B5EF4-FFF2-40B4-BE49-F238E27FC236}">
                  <a16:creationId xmlns:a16="http://schemas.microsoft.com/office/drawing/2014/main" id="{333BB14C-274C-CAFF-266B-BAB512B53B55}"/>
                </a:ext>
              </a:extLst>
            </p:cNvPr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8081107" y="5019975"/>
              <a:ext cx="26783" cy="13331"/>
            </a:xfrm>
            <a:custGeom>
              <a:avLst/>
              <a:gdLst>
                <a:gd name="T0" fmla="*/ 0 w 35"/>
                <a:gd name="T1" fmla="*/ 2988 h 17"/>
                <a:gd name="T2" fmla="*/ 0 w 35"/>
                <a:gd name="T3" fmla="*/ 2988 h 17"/>
                <a:gd name="T4" fmla="*/ 3084 w 35"/>
                <a:gd name="T5" fmla="*/ 2988 h 17"/>
                <a:gd name="T6" fmla="*/ 6169 w 35"/>
                <a:gd name="T7" fmla="*/ 0 h 17"/>
                <a:gd name="T8" fmla="*/ 0 w 35"/>
                <a:gd name="T9" fmla="*/ 0 h 17"/>
                <a:gd name="T10" fmla="*/ 0 w 35"/>
                <a:gd name="T11" fmla="*/ 2988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5"/>
                <a:gd name="T19" fmla="*/ 0 h 17"/>
                <a:gd name="T20" fmla="*/ 35 w 35"/>
                <a:gd name="T21" fmla="*/ 17 h 1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5" h="17">
                  <a:moveTo>
                    <a:pt x="0" y="17"/>
                  </a:moveTo>
                  <a:lnTo>
                    <a:pt x="0" y="17"/>
                  </a:lnTo>
                  <a:lnTo>
                    <a:pt x="17" y="17"/>
                  </a:lnTo>
                  <a:lnTo>
                    <a:pt x="35" y="0"/>
                  </a:lnTo>
                  <a:lnTo>
                    <a:pt x="0" y="0"/>
                  </a:lnTo>
                  <a:lnTo>
                    <a:pt x="0" y="17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17" name="Freeform 97">
              <a:extLst>
                <a:ext uri="{FF2B5EF4-FFF2-40B4-BE49-F238E27FC236}">
                  <a16:creationId xmlns:a16="http://schemas.microsoft.com/office/drawing/2014/main" id="{703CD92F-1927-442E-439A-A38DEBD036A8}"/>
                </a:ext>
              </a:extLst>
            </p:cNvPr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8213445" y="5556553"/>
              <a:ext cx="25207" cy="13331"/>
            </a:xfrm>
            <a:custGeom>
              <a:avLst/>
              <a:gdLst>
                <a:gd name="T0" fmla="*/ 0 w 33"/>
                <a:gd name="T1" fmla="*/ 0 h 17"/>
                <a:gd name="T2" fmla="*/ 0 w 33"/>
                <a:gd name="T3" fmla="*/ 0 h 17"/>
                <a:gd name="T4" fmla="*/ 7360 w 33"/>
                <a:gd name="T5" fmla="*/ 4202 h 17"/>
                <a:gd name="T6" fmla="*/ 7360 w 33"/>
                <a:gd name="T7" fmla="*/ 0 h 17"/>
                <a:gd name="T8" fmla="*/ 4089 w 33"/>
                <a:gd name="T9" fmla="*/ 0 h 17"/>
                <a:gd name="T10" fmla="*/ 0 w 33"/>
                <a:gd name="T11" fmla="*/ 0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3"/>
                <a:gd name="T19" fmla="*/ 0 h 17"/>
                <a:gd name="T20" fmla="*/ 33 w 33"/>
                <a:gd name="T21" fmla="*/ 17 h 1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3" h="17">
                  <a:moveTo>
                    <a:pt x="0" y="0"/>
                  </a:moveTo>
                  <a:lnTo>
                    <a:pt x="0" y="0"/>
                  </a:lnTo>
                  <a:lnTo>
                    <a:pt x="33" y="17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18" name="Freeform 98">
              <a:extLst>
                <a:ext uri="{FF2B5EF4-FFF2-40B4-BE49-F238E27FC236}">
                  <a16:creationId xmlns:a16="http://schemas.microsoft.com/office/drawing/2014/main" id="{8DED5C67-A742-2DF1-F627-BB7A5EDC1651}"/>
                </a:ext>
              </a:extLst>
            </p:cNvPr>
            <p:cNvSpPr>
              <a:spLocks/>
            </p:cNvSpPr>
            <p:nvPr>
              <p:custDataLst>
                <p:tags r:id="rId104"/>
              </p:custDataLst>
            </p:nvPr>
          </p:nvSpPr>
          <p:spPr bwMode="auto">
            <a:xfrm>
              <a:off x="8380442" y="5684866"/>
              <a:ext cx="80348" cy="76654"/>
            </a:xfrm>
            <a:custGeom>
              <a:avLst/>
              <a:gdLst>
                <a:gd name="T0" fmla="*/ 0 w 105"/>
                <a:gd name="T1" fmla="*/ 0 h 96"/>
                <a:gd name="T2" fmla="*/ 0 w 105"/>
                <a:gd name="T3" fmla="*/ 0 h 96"/>
                <a:gd name="T4" fmla="*/ 4007 w 105"/>
                <a:gd name="T5" fmla="*/ 15875 h 96"/>
                <a:gd name="T6" fmla="*/ 11218 w 105"/>
                <a:gd name="T7" fmla="*/ 19050 h 96"/>
                <a:gd name="T8" fmla="*/ 14424 w 105"/>
                <a:gd name="T9" fmla="*/ 11906 h 96"/>
                <a:gd name="T10" fmla="*/ 17629 w 105"/>
                <a:gd name="T11" fmla="*/ 15875 h 96"/>
                <a:gd name="T12" fmla="*/ 21635 w 105"/>
                <a:gd name="T13" fmla="*/ 0 h 96"/>
                <a:gd name="T14" fmla="*/ 17629 w 105"/>
                <a:gd name="T15" fmla="*/ 0 h 96"/>
                <a:gd name="T16" fmla="*/ 7212 w 105"/>
                <a:gd name="T17" fmla="*/ 2381 h 96"/>
                <a:gd name="T18" fmla="*/ 0 w 105"/>
                <a:gd name="T19" fmla="*/ 0 h 9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5"/>
                <a:gd name="T31" fmla="*/ 0 h 96"/>
                <a:gd name="T32" fmla="*/ 105 w 105"/>
                <a:gd name="T33" fmla="*/ 96 h 9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5" h="96">
                  <a:moveTo>
                    <a:pt x="0" y="0"/>
                  </a:moveTo>
                  <a:lnTo>
                    <a:pt x="0" y="0"/>
                  </a:lnTo>
                  <a:lnTo>
                    <a:pt x="19" y="79"/>
                  </a:lnTo>
                  <a:lnTo>
                    <a:pt x="53" y="96"/>
                  </a:lnTo>
                  <a:lnTo>
                    <a:pt x="71" y="63"/>
                  </a:lnTo>
                  <a:lnTo>
                    <a:pt x="88" y="79"/>
                  </a:lnTo>
                  <a:lnTo>
                    <a:pt x="105" y="0"/>
                  </a:lnTo>
                  <a:lnTo>
                    <a:pt x="88" y="0"/>
                  </a:lnTo>
                  <a:lnTo>
                    <a:pt x="36" y="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19" name="Freeform 99">
              <a:extLst>
                <a:ext uri="{FF2B5EF4-FFF2-40B4-BE49-F238E27FC236}">
                  <a16:creationId xmlns:a16="http://schemas.microsoft.com/office/drawing/2014/main" id="{7A840764-5426-AF42-2321-8EA144F5D3F2}"/>
                </a:ext>
              </a:extLst>
            </p:cNvPr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8955480" y="5531558"/>
              <a:ext cx="119734" cy="178303"/>
            </a:xfrm>
            <a:custGeom>
              <a:avLst/>
              <a:gdLst>
                <a:gd name="T0" fmla="*/ 7189 w 157"/>
                <a:gd name="T1" fmla="*/ 28447 h 223"/>
                <a:gd name="T2" fmla="*/ 7189 w 157"/>
                <a:gd name="T3" fmla="*/ 28447 h 223"/>
                <a:gd name="T4" fmla="*/ 14379 w 157"/>
                <a:gd name="T5" fmla="*/ 30818 h 223"/>
                <a:gd name="T6" fmla="*/ 10385 w 157"/>
                <a:gd name="T7" fmla="*/ 40300 h 223"/>
                <a:gd name="T8" fmla="*/ 14379 w 157"/>
                <a:gd name="T9" fmla="*/ 43461 h 223"/>
                <a:gd name="T10" fmla="*/ 17574 w 157"/>
                <a:gd name="T11" fmla="*/ 40300 h 223"/>
                <a:gd name="T12" fmla="*/ 24763 w 157"/>
                <a:gd name="T13" fmla="*/ 28447 h 223"/>
                <a:gd name="T14" fmla="*/ 27958 w 157"/>
                <a:gd name="T15" fmla="*/ 28447 h 223"/>
                <a:gd name="T16" fmla="*/ 31952 w 157"/>
                <a:gd name="T17" fmla="*/ 24496 h 223"/>
                <a:gd name="T18" fmla="*/ 31952 w 157"/>
                <a:gd name="T19" fmla="*/ 18965 h 223"/>
                <a:gd name="T20" fmla="*/ 27958 w 157"/>
                <a:gd name="T21" fmla="*/ 15014 h 223"/>
                <a:gd name="T22" fmla="*/ 24763 w 157"/>
                <a:gd name="T23" fmla="*/ 18965 h 223"/>
                <a:gd name="T24" fmla="*/ 17574 w 157"/>
                <a:gd name="T25" fmla="*/ 18965 h 223"/>
                <a:gd name="T26" fmla="*/ 17574 w 157"/>
                <a:gd name="T27" fmla="*/ 11853 h 223"/>
                <a:gd name="T28" fmla="*/ 14379 w 157"/>
                <a:gd name="T29" fmla="*/ 11853 h 223"/>
                <a:gd name="T30" fmla="*/ 14379 w 157"/>
                <a:gd name="T31" fmla="*/ 15014 h 223"/>
                <a:gd name="T32" fmla="*/ 10385 w 157"/>
                <a:gd name="T33" fmla="*/ 11853 h 223"/>
                <a:gd name="T34" fmla="*/ 10385 w 157"/>
                <a:gd name="T35" fmla="*/ 2371 h 223"/>
                <a:gd name="T36" fmla="*/ 0 w 157"/>
                <a:gd name="T37" fmla="*/ 0 h 223"/>
                <a:gd name="T38" fmla="*/ 10385 w 157"/>
                <a:gd name="T39" fmla="*/ 11853 h 223"/>
                <a:gd name="T40" fmla="*/ 10385 w 157"/>
                <a:gd name="T41" fmla="*/ 24496 h 223"/>
                <a:gd name="T42" fmla="*/ 7189 w 157"/>
                <a:gd name="T43" fmla="*/ 28447 h 22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57"/>
                <a:gd name="T67" fmla="*/ 0 h 223"/>
                <a:gd name="T68" fmla="*/ 157 w 157"/>
                <a:gd name="T69" fmla="*/ 223 h 22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57" h="223">
                  <a:moveTo>
                    <a:pt x="34" y="144"/>
                  </a:moveTo>
                  <a:lnTo>
                    <a:pt x="34" y="144"/>
                  </a:lnTo>
                  <a:lnTo>
                    <a:pt x="69" y="159"/>
                  </a:lnTo>
                  <a:lnTo>
                    <a:pt x="52" y="207"/>
                  </a:lnTo>
                  <a:lnTo>
                    <a:pt x="69" y="223"/>
                  </a:lnTo>
                  <a:lnTo>
                    <a:pt x="86" y="207"/>
                  </a:lnTo>
                  <a:lnTo>
                    <a:pt x="121" y="144"/>
                  </a:lnTo>
                  <a:lnTo>
                    <a:pt x="140" y="144"/>
                  </a:lnTo>
                  <a:lnTo>
                    <a:pt x="157" y="127"/>
                  </a:lnTo>
                  <a:lnTo>
                    <a:pt x="157" y="96"/>
                  </a:lnTo>
                  <a:lnTo>
                    <a:pt x="140" y="79"/>
                  </a:lnTo>
                  <a:lnTo>
                    <a:pt x="121" y="96"/>
                  </a:lnTo>
                  <a:lnTo>
                    <a:pt x="86" y="96"/>
                  </a:lnTo>
                  <a:lnTo>
                    <a:pt x="86" y="63"/>
                  </a:lnTo>
                  <a:lnTo>
                    <a:pt x="69" y="63"/>
                  </a:lnTo>
                  <a:lnTo>
                    <a:pt x="69" y="79"/>
                  </a:lnTo>
                  <a:lnTo>
                    <a:pt x="52" y="63"/>
                  </a:lnTo>
                  <a:lnTo>
                    <a:pt x="52" y="15"/>
                  </a:lnTo>
                  <a:lnTo>
                    <a:pt x="0" y="0"/>
                  </a:lnTo>
                  <a:lnTo>
                    <a:pt x="52" y="63"/>
                  </a:lnTo>
                  <a:lnTo>
                    <a:pt x="52" y="127"/>
                  </a:lnTo>
                  <a:lnTo>
                    <a:pt x="34" y="144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20" name="Freeform 100">
              <a:extLst>
                <a:ext uri="{FF2B5EF4-FFF2-40B4-BE49-F238E27FC236}">
                  <a16:creationId xmlns:a16="http://schemas.microsoft.com/office/drawing/2014/main" id="{F568DC2B-1EC7-92F2-1E41-F631ED94E3DA}"/>
                </a:ext>
              </a:extLst>
            </p:cNvPr>
            <p:cNvSpPr>
              <a:spLocks/>
            </p:cNvSpPr>
            <p:nvPr>
              <p:custDataLst>
                <p:tags r:id="rId106"/>
              </p:custDataLst>
            </p:nvPr>
          </p:nvSpPr>
          <p:spPr bwMode="auto">
            <a:xfrm>
              <a:off x="8826294" y="5684866"/>
              <a:ext cx="168572" cy="166639"/>
            </a:xfrm>
            <a:custGeom>
              <a:avLst/>
              <a:gdLst>
                <a:gd name="T0" fmla="*/ 0 w 223"/>
                <a:gd name="T1" fmla="*/ 35094 h 207"/>
                <a:gd name="T2" fmla="*/ 0 w 223"/>
                <a:gd name="T3" fmla="*/ 35094 h 207"/>
                <a:gd name="T4" fmla="*/ 3987 w 223"/>
                <a:gd name="T5" fmla="*/ 38284 h 207"/>
                <a:gd name="T6" fmla="*/ 7176 w 223"/>
                <a:gd name="T7" fmla="*/ 38284 h 207"/>
                <a:gd name="T8" fmla="*/ 14352 w 223"/>
                <a:gd name="T9" fmla="*/ 41474 h 207"/>
                <a:gd name="T10" fmla="*/ 20730 w 223"/>
                <a:gd name="T11" fmla="*/ 38284 h 207"/>
                <a:gd name="T12" fmla="*/ 24717 w 223"/>
                <a:gd name="T13" fmla="*/ 31903 h 207"/>
                <a:gd name="T14" fmla="*/ 27906 w 223"/>
                <a:gd name="T15" fmla="*/ 25523 h 207"/>
                <a:gd name="T16" fmla="*/ 34284 w 223"/>
                <a:gd name="T17" fmla="*/ 19142 h 207"/>
                <a:gd name="T18" fmla="*/ 37474 w 223"/>
                <a:gd name="T19" fmla="*/ 19142 h 207"/>
                <a:gd name="T20" fmla="*/ 34284 w 223"/>
                <a:gd name="T21" fmla="*/ 15952 h 207"/>
                <a:gd name="T22" fmla="*/ 44649 w 223"/>
                <a:gd name="T23" fmla="*/ 6381 h 207"/>
                <a:gd name="T24" fmla="*/ 44649 w 223"/>
                <a:gd name="T25" fmla="*/ 3190 h 207"/>
                <a:gd name="T26" fmla="*/ 41460 w 223"/>
                <a:gd name="T27" fmla="*/ 3190 h 207"/>
                <a:gd name="T28" fmla="*/ 41460 w 223"/>
                <a:gd name="T29" fmla="*/ 0 h 207"/>
                <a:gd name="T30" fmla="*/ 37474 w 223"/>
                <a:gd name="T31" fmla="*/ 3190 h 207"/>
                <a:gd name="T32" fmla="*/ 37474 w 223"/>
                <a:gd name="T33" fmla="*/ 0 h 207"/>
                <a:gd name="T34" fmla="*/ 34284 w 223"/>
                <a:gd name="T35" fmla="*/ 0 h 207"/>
                <a:gd name="T36" fmla="*/ 31095 w 223"/>
                <a:gd name="T37" fmla="*/ 0 h 207"/>
                <a:gd name="T38" fmla="*/ 31095 w 223"/>
                <a:gd name="T39" fmla="*/ 6381 h 207"/>
                <a:gd name="T40" fmla="*/ 27906 w 223"/>
                <a:gd name="T41" fmla="*/ 6381 h 207"/>
                <a:gd name="T42" fmla="*/ 24717 w 223"/>
                <a:gd name="T43" fmla="*/ 12761 h 207"/>
                <a:gd name="T44" fmla="*/ 10365 w 223"/>
                <a:gd name="T45" fmla="*/ 22332 h 207"/>
                <a:gd name="T46" fmla="*/ 0 w 223"/>
                <a:gd name="T47" fmla="*/ 35094 h 207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23"/>
                <a:gd name="T73" fmla="*/ 0 h 207"/>
                <a:gd name="T74" fmla="*/ 223 w 223"/>
                <a:gd name="T75" fmla="*/ 207 h 207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23" h="207">
                  <a:moveTo>
                    <a:pt x="0" y="174"/>
                  </a:moveTo>
                  <a:lnTo>
                    <a:pt x="0" y="174"/>
                  </a:lnTo>
                  <a:lnTo>
                    <a:pt x="17" y="192"/>
                  </a:lnTo>
                  <a:lnTo>
                    <a:pt x="34" y="192"/>
                  </a:lnTo>
                  <a:lnTo>
                    <a:pt x="69" y="207"/>
                  </a:lnTo>
                  <a:lnTo>
                    <a:pt x="104" y="192"/>
                  </a:lnTo>
                  <a:lnTo>
                    <a:pt x="121" y="159"/>
                  </a:lnTo>
                  <a:lnTo>
                    <a:pt x="138" y="127"/>
                  </a:lnTo>
                  <a:lnTo>
                    <a:pt x="171" y="96"/>
                  </a:lnTo>
                  <a:lnTo>
                    <a:pt x="188" y="96"/>
                  </a:lnTo>
                  <a:lnTo>
                    <a:pt x="171" y="79"/>
                  </a:lnTo>
                  <a:lnTo>
                    <a:pt x="223" y="31"/>
                  </a:lnTo>
                  <a:lnTo>
                    <a:pt x="223" y="15"/>
                  </a:lnTo>
                  <a:lnTo>
                    <a:pt x="205" y="15"/>
                  </a:lnTo>
                  <a:lnTo>
                    <a:pt x="205" y="0"/>
                  </a:lnTo>
                  <a:lnTo>
                    <a:pt x="188" y="15"/>
                  </a:lnTo>
                  <a:lnTo>
                    <a:pt x="188" y="0"/>
                  </a:lnTo>
                  <a:lnTo>
                    <a:pt x="171" y="0"/>
                  </a:lnTo>
                  <a:lnTo>
                    <a:pt x="153" y="0"/>
                  </a:lnTo>
                  <a:lnTo>
                    <a:pt x="153" y="31"/>
                  </a:lnTo>
                  <a:lnTo>
                    <a:pt x="138" y="31"/>
                  </a:lnTo>
                  <a:lnTo>
                    <a:pt x="121" y="63"/>
                  </a:lnTo>
                  <a:lnTo>
                    <a:pt x="52" y="111"/>
                  </a:lnTo>
                  <a:lnTo>
                    <a:pt x="0" y="174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21" name="Freeform 101">
              <a:extLst>
                <a:ext uri="{FF2B5EF4-FFF2-40B4-BE49-F238E27FC236}">
                  <a16:creationId xmlns:a16="http://schemas.microsoft.com/office/drawing/2014/main" id="{B80ABDDD-F88C-A013-7CEE-F5755EE02EDD}"/>
                </a:ext>
              </a:extLst>
            </p:cNvPr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8851501" y="5851505"/>
              <a:ext cx="14179" cy="11664"/>
            </a:xfrm>
            <a:custGeom>
              <a:avLst/>
              <a:gdLst>
                <a:gd name="T0" fmla="*/ 0 w 19"/>
                <a:gd name="T1" fmla="*/ 2223 h 15"/>
                <a:gd name="T2" fmla="*/ 0 w 19"/>
                <a:gd name="T3" fmla="*/ 2223 h 15"/>
                <a:gd name="T4" fmla="*/ 3008 w 19"/>
                <a:gd name="T5" fmla="*/ 2223 h 15"/>
                <a:gd name="T6" fmla="*/ 3008 w 19"/>
                <a:gd name="T7" fmla="*/ 0 h 15"/>
                <a:gd name="T8" fmla="*/ 0 w 19"/>
                <a:gd name="T9" fmla="*/ 2223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15"/>
                <a:gd name="T17" fmla="*/ 19 w 19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15">
                  <a:moveTo>
                    <a:pt x="0" y="15"/>
                  </a:moveTo>
                  <a:lnTo>
                    <a:pt x="0" y="15"/>
                  </a:lnTo>
                  <a:lnTo>
                    <a:pt x="19" y="15"/>
                  </a:lnTo>
                  <a:lnTo>
                    <a:pt x="19" y="0"/>
                  </a:lnTo>
                  <a:lnTo>
                    <a:pt x="0" y="15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22" name="Freeform 102">
              <a:extLst>
                <a:ext uri="{FF2B5EF4-FFF2-40B4-BE49-F238E27FC236}">
                  <a16:creationId xmlns:a16="http://schemas.microsoft.com/office/drawing/2014/main" id="{9DA3D743-1995-35CE-8F1C-AEDEFDB0A869}"/>
                </a:ext>
              </a:extLst>
            </p:cNvPr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7792801" y="4956652"/>
              <a:ext cx="157545" cy="13331"/>
            </a:xfrm>
            <a:custGeom>
              <a:avLst/>
              <a:gdLst>
                <a:gd name="T0" fmla="*/ 0 w 208"/>
                <a:gd name="T1" fmla="*/ 3175 h 16"/>
                <a:gd name="T2" fmla="*/ 0 w 208"/>
                <a:gd name="T3" fmla="*/ 3175 h 16"/>
                <a:gd name="T4" fmla="*/ 3969 w 208"/>
                <a:gd name="T5" fmla="*/ 3175 h 16"/>
                <a:gd name="T6" fmla="*/ 17463 w 208"/>
                <a:gd name="T7" fmla="*/ 0 h 16"/>
                <a:gd name="T8" fmla="*/ 30956 w 208"/>
                <a:gd name="T9" fmla="*/ 3175 h 16"/>
                <a:gd name="T10" fmla="*/ 41275 w 208"/>
                <a:gd name="T11" fmla="*/ 0 h 16"/>
                <a:gd name="T12" fmla="*/ 34925 w 208"/>
                <a:gd name="T13" fmla="*/ 0 h 16"/>
                <a:gd name="T14" fmla="*/ 23812 w 208"/>
                <a:gd name="T15" fmla="*/ 0 h 16"/>
                <a:gd name="T16" fmla="*/ 17463 w 208"/>
                <a:gd name="T17" fmla="*/ 0 h 16"/>
                <a:gd name="T18" fmla="*/ 7144 w 208"/>
                <a:gd name="T19" fmla="*/ 0 h 16"/>
                <a:gd name="T20" fmla="*/ 10319 w 208"/>
                <a:gd name="T21" fmla="*/ 0 h 16"/>
                <a:gd name="T22" fmla="*/ 0 w 208"/>
                <a:gd name="T23" fmla="*/ 0 h 16"/>
                <a:gd name="T24" fmla="*/ 0 w 208"/>
                <a:gd name="T25" fmla="*/ 3175 h 1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08"/>
                <a:gd name="T40" fmla="*/ 0 h 16"/>
                <a:gd name="T41" fmla="*/ 208 w 208"/>
                <a:gd name="T42" fmla="*/ 16 h 1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08" h="16">
                  <a:moveTo>
                    <a:pt x="0" y="16"/>
                  </a:moveTo>
                  <a:lnTo>
                    <a:pt x="0" y="16"/>
                  </a:lnTo>
                  <a:lnTo>
                    <a:pt x="17" y="16"/>
                  </a:lnTo>
                  <a:lnTo>
                    <a:pt x="87" y="0"/>
                  </a:lnTo>
                  <a:lnTo>
                    <a:pt x="156" y="16"/>
                  </a:lnTo>
                  <a:lnTo>
                    <a:pt x="208" y="0"/>
                  </a:lnTo>
                  <a:lnTo>
                    <a:pt x="173" y="0"/>
                  </a:lnTo>
                  <a:lnTo>
                    <a:pt x="121" y="0"/>
                  </a:lnTo>
                  <a:lnTo>
                    <a:pt x="87" y="0"/>
                  </a:lnTo>
                  <a:lnTo>
                    <a:pt x="35" y="0"/>
                  </a:lnTo>
                  <a:lnTo>
                    <a:pt x="52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23" name="Freeform 103">
              <a:extLst>
                <a:ext uri="{FF2B5EF4-FFF2-40B4-BE49-F238E27FC236}">
                  <a16:creationId xmlns:a16="http://schemas.microsoft.com/office/drawing/2014/main" id="{E0E79E31-00D6-F47F-0A07-8BAB8C26006C}"/>
                </a:ext>
              </a:extLst>
            </p:cNvPr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7847942" y="4981648"/>
              <a:ext cx="39387" cy="13331"/>
            </a:xfrm>
            <a:custGeom>
              <a:avLst/>
              <a:gdLst>
                <a:gd name="T0" fmla="*/ 0 w 52"/>
                <a:gd name="T1" fmla="*/ 0 h 17"/>
                <a:gd name="T2" fmla="*/ 0 w 52"/>
                <a:gd name="T3" fmla="*/ 0 h 17"/>
                <a:gd name="T4" fmla="*/ 7144 w 52"/>
                <a:gd name="T5" fmla="*/ 2988 h 17"/>
                <a:gd name="T6" fmla="*/ 10319 w 52"/>
                <a:gd name="T7" fmla="*/ 2988 h 17"/>
                <a:gd name="T8" fmla="*/ 7144 w 52"/>
                <a:gd name="T9" fmla="*/ 0 h 17"/>
                <a:gd name="T10" fmla="*/ 0 w 52"/>
                <a:gd name="T11" fmla="*/ 0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"/>
                <a:gd name="T19" fmla="*/ 0 h 17"/>
                <a:gd name="T20" fmla="*/ 52 w 52"/>
                <a:gd name="T21" fmla="*/ 17 h 1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" h="17">
                  <a:moveTo>
                    <a:pt x="0" y="0"/>
                  </a:moveTo>
                  <a:lnTo>
                    <a:pt x="0" y="0"/>
                  </a:lnTo>
                  <a:lnTo>
                    <a:pt x="35" y="17"/>
                  </a:lnTo>
                  <a:lnTo>
                    <a:pt x="52" y="17"/>
                  </a:lnTo>
                  <a:lnTo>
                    <a:pt x="35" y="0"/>
                  </a:lnTo>
                  <a:lnTo>
                    <a:pt x="0" y="0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24" name="Freeform 104">
              <a:extLst>
                <a:ext uri="{FF2B5EF4-FFF2-40B4-BE49-F238E27FC236}">
                  <a16:creationId xmlns:a16="http://schemas.microsoft.com/office/drawing/2014/main" id="{8A8461BC-D4D5-58FF-0B1E-0C4B339C665A}"/>
                </a:ext>
              </a:extLst>
            </p:cNvPr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7937742" y="4956652"/>
              <a:ext cx="78772" cy="38328"/>
            </a:xfrm>
            <a:custGeom>
              <a:avLst/>
              <a:gdLst>
                <a:gd name="T0" fmla="*/ 0 w 104"/>
                <a:gd name="T1" fmla="*/ 9525 h 48"/>
                <a:gd name="T2" fmla="*/ 0 w 104"/>
                <a:gd name="T3" fmla="*/ 9525 h 48"/>
                <a:gd name="T4" fmla="*/ 7144 w 104"/>
                <a:gd name="T5" fmla="*/ 9525 h 48"/>
                <a:gd name="T6" fmla="*/ 20638 w 104"/>
                <a:gd name="T7" fmla="*/ 0 h 48"/>
                <a:gd name="T8" fmla="*/ 10319 w 104"/>
                <a:gd name="T9" fmla="*/ 0 h 48"/>
                <a:gd name="T10" fmla="*/ 3969 w 104"/>
                <a:gd name="T11" fmla="*/ 5556 h 48"/>
                <a:gd name="T12" fmla="*/ 0 w 104"/>
                <a:gd name="T13" fmla="*/ 9525 h 4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4"/>
                <a:gd name="T22" fmla="*/ 0 h 48"/>
                <a:gd name="T23" fmla="*/ 104 w 104"/>
                <a:gd name="T24" fmla="*/ 48 h 4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4" h="48">
                  <a:moveTo>
                    <a:pt x="0" y="48"/>
                  </a:moveTo>
                  <a:lnTo>
                    <a:pt x="0" y="48"/>
                  </a:lnTo>
                  <a:lnTo>
                    <a:pt x="35" y="48"/>
                  </a:lnTo>
                  <a:lnTo>
                    <a:pt x="104" y="0"/>
                  </a:lnTo>
                  <a:lnTo>
                    <a:pt x="52" y="0"/>
                  </a:lnTo>
                  <a:lnTo>
                    <a:pt x="17" y="31"/>
                  </a:lnTo>
                  <a:lnTo>
                    <a:pt x="0" y="48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25" name="Freeform 105">
              <a:extLst>
                <a:ext uri="{FF2B5EF4-FFF2-40B4-BE49-F238E27FC236}">
                  <a16:creationId xmlns:a16="http://schemas.microsoft.com/office/drawing/2014/main" id="{152882A9-D6C8-CA7D-506B-9504AA888746}"/>
                </a:ext>
              </a:extLst>
            </p:cNvPr>
            <p:cNvSpPr>
              <a:spLocks/>
            </p:cNvSpPr>
            <p:nvPr>
              <p:custDataLst>
                <p:tags r:id="rId111"/>
              </p:custDataLst>
            </p:nvPr>
          </p:nvSpPr>
          <p:spPr bwMode="auto">
            <a:xfrm>
              <a:off x="8159880" y="4893329"/>
              <a:ext cx="15754" cy="38328"/>
            </a:xfrm>
            <a:custGeom>
              <a:avLst/>
              <a:gdLst>
                <a:gd name="T0" fmla="*/ 0 w 19"/>
                <a:gd name="T1" fmla="*/ 9525 h 48"/>
                <a:gd name="T2" fmla="*/ 0 w 19"/>
                <a:gd name="T3" fmla="*/ 9525 h 48"/>
                <a:gd name="T4" fmla="*/ 4178 w 19"/>
                <a:gd name="T5" fmla="*/ 2381 h 48"/>
                <a:gd name="T6" fmla="*/ 4178 w 19"/>
                <a:gd name="T7" fmla="*/ 0 h 48"/>
                <a:gd name="T8" fmla="*/ 0 w 19"/>
                <a:gd name="T9" fmla="*/ 9525 h 4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48"/>
                <a:gd name="T17" fmla="*/ 19 w 19"/>
                <a:gd name="T18" fmla="*/ 48 h 4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48">
                  <a:moveTo>
                    <a:pt x="0" y="48"/>
                  </a:moveTo>
                  <a:lnTo>
                    <a:pt x="0" y="48"/>
                  </a:lnTo>
                  <a:lnTo>
                    <a:pt x="19" y="15"/>
                  </a:lnTo>
                  <a:lnTo>
                    <a:pt x="19" y="0"/>
                  </a:lnTo>
                  <a:lnTo>
                    <a:pt x="0" y="48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26" name="Freeform 106">
              <a:extLst>
                <a:ext uri="{FF2B5EF4-FFF2-40B4-BE49-F238E27FC236}">
                  <a16:creationId xmlns:a16="http://schemas.microsoft.com/office/drawing/2014/main" id="{117FF16B-44CD-B625-19A7-78A9A4AA71FD}"/>
                </a:ext>
              </a:extLst>
            </p:cNvPr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7847942" y="4751686"/>
              <a:ext cx="129187" cy="153308"/>
            </a:xfrm>
            <a:custGeom>
              <a:avLst/>
              <a:gdLst>
                <a:gd name="T0" fmla="*/ 0 w 173"/>
                <a:gd name="T1" fmla="*/ 22225 h 192"/>
                <a:gd name="T2" fmla="*/ 0 w 173"/>
                <a:gd name="T3" fmla="*/ 22225 h 192"/>
                <a:gd name="T4" fmla="*/ 0 w 173"/>
                <a:gd name="T5" fmla="*/ 26194 h 192"/>
                <a:gd name="T6" fmla="*/ 3157 w 173"/>
                <a:gd name="T7" fmla="*/ 26194 h 192"/>
                <a:gd name="T8" fmla="*/ 3157 w 173"/>
                <a:gd name="T9" fmla="*/ 28575 h 192"/>
                <a:gd name="T10" fmla="*/ 3157 w 173"/>
                <a:gd name="T11" fmla="*/ 38100 h 192"/>
                <a:gd name="T12" fmla="*/ 6313 w 173"/>
                <a:gd name="T13" fmla="*/ 35719 h 192"/>
                <a:gd name="T14" fmla="*/ 6313 w 173"/>
                <a:gd name="T15" fmla="*/ 26194 h 192"/>
                <a:gd name="T16" fmla="*/ 10259 w 173"/>
                <a:gd name="T17" fmla="*/ 22225 h 192"/>
                <a:gd name="T18" fmla="*/ 13416 w 173"/>
                <a:gd name="T19" fmla="*/ 22225 h 192"/>
                <a:gd name="T20" fmla="*/ 10259 w 173"/>
                <a:gd name="T21" fmla="*/ 26194 h 192"/>
                <a:gd name="T22" fmla="*/ 13416 w 173"/>
                <a:gd name="T23" fmla="*/ 28575 h 192"/>
                <a:gd name="T24" fmla="*/ 13416 w 173"/>
                <a:gd name="T25" fmla="*/ 32544 h 192"/>
                <a:gd name="T26" fmla="*/ 20518 w 173"/>
                <a:gd name="T27" fmla="*/ 32544 h 192"/>
                <a:gd name="T28" fmla="*/ 20518 w 173"/>
                <a:gd name="T29" fmla="*/ 38100 h 192"/>
                <a:gd name="T30" fmla="*/ 23675 w 173"/>
                <a:gd name="T31" fmla="*/ 35719 h 192"/>
                <a:gd name="T32" fmla="*/ 23675 w 173"/>
                <a:gd name="T33" fmla="*/ 32544 h 192"/>
                <a:gd name="T34" fmla="*/ 16572 w 173"/>
                <a:gd name="T35" fmla="*/ 26194 h 192"/>
                <a:gd name="T36" fmla="*/ 20518 w 173"/>
                <a:gd name="T37" fmla="*/ 26194 h 192"/>
                <a:gd name="T38" fmla="*/ 13416 w 173"/>
                <a:gd name="T39" fmla="*/ 19050 h 192"/>
                <a:gd name="T40" fmla="*/ 20518 w 173"/>
                <a:gd name="T41" fmla="*/ 13494 h 192"/>
                <a:gd name="T42" fmla="*/ 23675 w 173"/>
                <a:gd name="T43" fmla="*/ 13494 h 192"/>
                <a:gd name="T44" fmla="*/ 10259 w 173"/>
                <a:gd name="T45" fmla="*/ 16669 h 192"/>
                <a:gd name="T46" fmla="*/ 6313 w 173"/>
                <a:gd name="T47" fmla="*/ 13494 h 192"/>
                <a:gd name="T48" fmla="*/ 6313 w 173"/>
                <a:gd name="T49" fmla="*/ 9525 h 192"/>
                <a:gd name="T50" fmla="*/ 10259 w 173"/>
                <a:gd name="T51" fmla="*/ 7144 h 192"/>
                <a:gd name="T52" fmla="*/ 30777 w 173"/>
                <a:gd name="T53" fmla="*/ 7144 h 192"/>
                <a:gd name="T54" fmla="*/ 33934 w 173"/>
                <a:gd name="T55" fmla="*/ 0 h 192"/>
                <a:gd name="T56" fmla="*/ 26832 w 173"/>
                <a:gd name="T57" fmla="*/ 3969 h 192"/>
                <a:gd name="T58" fmla="*/ 20518 w 173"/>
                <a:gd name="T59" fmla="*/ 7144 h 192"/>
                <a:gd name="T60" fmla="*/ 10259 w 173"/>
                <a:gd name="T61" fmla="*/ 3969 h 192"/>
                <a:gd name="T62" fmla="*/ 10259 w 173"/>
                <a:gd name="T63" fmla="*/ 7144 h 192"/>
                <a:gd name="T64" fmla="*/ 6313 w 173"/>
                <a:gd name="T65" fmla="*/ 7144 h 192"/>
                <a:gd name="T66" fmla="*/ 6313 w 173"/>
                <a:gd name="T67" fmla="*/ 13494 h 192"/>
                <a:gd name="T68" fmla="*/ 0 w 173"/>
                <a:gd name="T69" fmla="*/ 22225 h 19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73"/>
                <a:gd name="T106" fmla="*/ 0 h 192"/>
                <a:gd name="T107" fmla="*/ 173 w 173"/>
                <a:gd name="T108" fmla="*/ 192 h 19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73" h="192">
                  <a:moveTo>
                    <a:pt x="0" y="113"/>
                  </a:moveTo>
                  <a:lnTo>
                    <a:pt x="0" y="113"/>
                  </a:lnTo>
                  <a:lnTo>
                    <a:pt x="0" y="129"/>
                  </a:lnTo>
                  <a:lnTo>
                    <a:pt x="17" y="129"/>
                  </a:lnTo>
                  <a:lnTo>
                    <a:pt x="17" y="144"/>
                  </a:lnTo>
                  <a:lnTo>
                    <a:pt x="17" y="192"/>
                  </a:lnTo>
                  <a:lnTo>
                    <a:pt x="35" y="177"/>
                  </a:lnTo>
                  <a:lnTo>
                    <a:pt x="35" y="129"/>
                  </a:lnTo>
                  <a:lnTo>
                    <a:pt x="52" y="113"/>
                  </a:lnTo>
                  <a:lnTo>
                    <a:pt x="69" y="113"/>
                  </a:lnTo>
                  <a:lnTo>
                    <a:pt x="52" y="129"/>
                  </a:lnTo>
                  <a:lnTo>
                    <a:pt x="69" y="144"/>
                  </a:lnTo>
                  <a:lnTo>
                    <a:pt x="69" y="161"/>
                  </a:lnTo>
                  <a:lnTo>
                    <a:pt x="104" y="161"/>
                  </a:lnTo>
                  <a:lnTo>
                    <a:pt x="104" y="192"/>
                  </a:lnTo>
                  <a:lnTo>
                    <a:pt x="121" y="177"/>
                  </a:lnTo>
                  <a:lnTo>
                    <a:pt x="121" y="161"/>
                  </a:lnTo>
                  <a:lnTo>
                    <a:pt x="87" y="129"/>
                  </a:lnTo>
                  <a:lnTo>
                    <a:pt x="104" y="129"/>
                  </a:lnTo>
                  <a:lnTo>
                    <a:pt x="69" y="96"/>
                  </a:lnTo>
                  <a:lnTo>
                    <a:pt x="104" y="66"/>
                  </a:lnTo>
                  <a:lnTo>
                    <a:pt x="121" y="66"/>
                  </a:lnTo>
                  <a:lnTo>
                    <a:pt x="52" y="81"/>
                  </a:lnTo>
                  <a:lnTo>
                    <a:pt x="35" y="66"/>
                  </a:lnTo>
                  <a:lnTo>
                    <a:pt x="35" y="48"/>
                  </a:lnTo>
                  <a:lnTo>
                    <a:pt x="52" y="33"/>
                  </a:lnTo>
                  <a:lnTo>
                    <a:pt x="156" y="33"/>
                  </a:lnTo>
                  <a:lnTo>
                    <a:pt x="173" y="0"/>
                  </a:lnTo>
                  <a:lnTo>
                    <a:pt x="138" y="18"/>
                  </a:lnTo>
                  <a:lnTo>
                    <a:pt x="104" y="33"/>
                  </a:lnTo>
                  <a:lnTo>
                    <a:pt x="52" y="18"/>
                  </a:lnTo>
                  <a:lnTo>
                    <a:pt x="52" y="33"/>
                  </a:lnTo>
                  <a:lnTo>
                    <a:pt x="35" y="33"/>
                  </a:lnTo>
                  <a:lnTo>
                    <a:pt x="35" y="66"/>
                  </a:lnTo>
                  <a:lnTo>
                    <a:pt x="0" y="113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27" name="Freeform 107">
              <a:extLst>
                <a:ext uri="{FF2B5EF4-FFF2-40B4-BE49-F238E27FC236}">
                  <a16:creationId xmlns:a16="http://schemas.microsoft.com/office/drawing/2014/main" id="{864FBFAB-8EA3-EEEC-4057-09D63DCEB131}"/>
                </a:ext>
              </a:extLst>
            </p:cNvPr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8016515" y="4740021"/>
              <a:ext cx="25207" cy="63323"/>
            </a:xfrm>
            <a:custGeom>
              <a:avLst/>
              <a:gdLst>
                <a:gd name="T0" fmla="*/ 0 w 34"/>
                <a:gd name="T1" fmla="*/ 6272 h 81"/>
                <a:gd name="T2" fmla="*/ 0 w 34"/>
                <a:gd name="T3" fmla="*/ 6272 h 81"/>
                <a:gd name="T4" fmla="*/ 3175 w 34"/>
                <a:gd name="T5" fmla="*/ 11759 h 81"/>
                <a:gd name="T6" fmla="*/ 7144 w 34"/>
                <a:gd name="T7" fmla="*/ 15679 h 81"/>
                <a:gd name="T8" fmla="*/ 3175 w 34"/>
                <a:gd name="T9" fmla="*/ 11759 h 81"/>
                <a:gd name="T10" fmla="*/ 3175 w 34"/>
                <a:gd name="T11" fmla="*/ 9407 h 81"/>
                <a:gd name="T12" fmla="*/ 7144 w 34"/>
                <a:gd name="T13" fmla="*/ 9407 h 81"/>
                <a:gd name="T14" fmla="*/ 7144 w 34"/>
                <a:gd name="T15" fmla="*/ 6272 h 81"/>
                <a:gd name="T16" fmla="*/ 7144 w 34"/>
                <a:gd name="T17" fmla="*/ 2352 h 81"/>
                <a:gd name="T18" fmla="*/ 7144 w 34"/>
                <a:gd name="T19" fmla="*/ 6272 h 81"/>
                <a:gd name="T20" fmla="*/ 3175 w 34"/>
                <a:gd name="T21" fmla="*/ 0 h 81"/>
                <a:gd name="T22" fmla="*/ 0 w 34"/>
                <a:gd name="T23" fmla="*/ 6272 h 8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4"/>
                <a:gd name="T37" fmla="*/ 0 h 81"/>
                <a:gd name="T38" fmla="*/ 34 w 34"/>
                <a:gd name="T39" fmla="*/ 81 h 8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4" h="81">
                  <a:moveTo>
                    <a:pt x="0" y="33"/>
                  </a:moveTo>
                  <a:lnTo>
                    <a:pt x="0" y="33"/>
                  </a:lnTo>
                  <a:lnTo>
                    <a:pt x="17" y="63"/>
                  </a:lnTo>
                  <a:lnTo>
                    <a:pt x="34" y="81"/>
                  </a:lnTo>
                  <a:lnTo>
                    <a:pt x="17" y="63"/>
                  </a:lnTo>
                  <a:lnTo>
                    <a:pt x="17" y="48"/>
                  </a:lnTo>
                  <a:lnTo>
                    <a:pt x="34" y="48"/>
                  </a:lnTo>
                  <a:lnTo>
                    <a:pt x="34" y="33"/>
                  </a:lnTo>
                  <a:lnTo>
                    <a:pt x="34" y="15"/>
                  </a:lnTo>
                  <a:lnTo>
                    <a:pt x="34" y="33"/>
                  </a:lnTo>
                  <a:lnTo>
                    <a:pt x="17" y="0"/>
                  </a:lnTo>
                  <a:lnTo>
                    <a:pt x="0" y="33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28" name="Freeform 108">
              <a:extLst>
                <a:ext uri="{FF2B5EF4-FFF2-40B4-BE49-F238E27FC236}">
                  <a16:creationId xmlns:a16="http://schemas.microsoft.com/office/drawing/2014/main" id="{AAD09547-BBA6-480E-6802-90E2CB4869A4}"/>
                </a:ext>
              </a:extLst>
            </p:cNvPr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7991308" y="4855002"/>
              <a:ext cx="25207" cy="11664"/>
            </a:xfrm>
            <a:custGeom>
              <a:avLst/>
              <a:gdLst>
                <a:gd name="T0" fmla="*/ 0 w 35"/>
                <a:gd name="T1" fmla="*/ 0 h 15"/>
                <a:gd name="T2" fmla="*/ 0 w 35"/>
                <a:gd name="T3" fmla="*/ 0 h 15"/>
                <a:gd name="T4" fmla="*/ 6169 w 35"/>
                <a:gd name="T5" fmla="*/ 3387 h 15"/>
                <a:gd name="T6" fmla="*/ 6169 w 35"/>
                <a:gd name="T7" fmla="*/ 0 h 15"/>
                <a:gd name="T8" fmla="*/ 0 w 35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5"/>
                <a:gd name="T16" fmla="*/ 0 h 15"/>
                <a:gd name="T17" fmla="*/ 35 w 35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5" h="15">
                  <a:moveTo>
                    <a:pt x="0" y="0"/>
                  </a:moveTo>
                  <a:lnTo>
                    <a:pt x="0" y="0"/>
                  </a:lnTo>
                  <a:lnTo>
                    <a:pt x="35" y="15"/>
                  </a:lnTo>
                  <a:lnTo>
                    <a:pt x="35" y="0"/>
                  </a:lnTo>
                  <a:lnTo>
                    <a:pt x="0" y="0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29" name="Freeform 109">
              <a:extLst>
                <a:ext uri="{FF2B5EF4-FFF2-40B4-BE49-F238E27FC236}">
                  <a16:creationId xmlns:a16="http://schemas.microsoft.com/office/drawing/2014/main" id="{88A6017E-91BB-0079-FDC0-C16A9996CF4B}"/>
                </a:ext>
              </a:extLst>
            </p:cNvPr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8030693" y="4841671"/>
              <a:ext cx="64594" cy="24995"/>
            </a:xfrm>
            <a:custGeom>
              <a:avLst/>
              <a:gdLst>
                <a:gd name="T0" fmla="*/ 0 w 86"/>
                <a:gd name="T1" fmla="*/ 3277 h 31"/>
                <a:gd name="T2" fmla="*/ 0 w 86"/>
                <a:gd name="T3" fmla="*/ 3277 h 31"/>
                <a:gd name="T4" fmla="*/ 17463 w 86"/>
                <a:gd name="T5" fmla="*/ 6555 h 31"/>
                <a:gd name="T6" fmla="*/ 14288 w 86"/>
                <a:gd name="T7" fmla="*/ 3277 h 31"/>
                <a:gd name="T8" fmla="*/ 10319 w 86"/>
                <a:gd name="T9" fmla="*/ 0 h 31"/>
                <a:gd name="T10" fmla="*/ 3969 w 86"/>
                <a:gd name="T11" fmla="*/ 0 h 31"/>
                <a:gd name="T12" fmla="*/ 0 w 86"/>
                <a:gd name="T13" fmla="*/ 3277 h 3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6"/>
                <a:gd name="T22" fmla="*/ 0 h 31"/>
                <a:gd name="T23" fmla="*/ 86 w 86"/>
                <a:gd name="T24" fmla="*/ 31 h 3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6" h="31">
                  <a:moveTo>
                    <a:pt x="0" y="16"/>
                  </a:moveTo>
                  <a:lnTo>
                    <a:pt x="0" y="16"/>
                  </a:lnTo>
                  <a:lnTo>
                    <a:pt x="86" y="31"/>
                  </a:lnTo>
                  <a:lnTo>
                    <a:pt x="69" y="16"/>
                  </a:lnTo>
                  <a:lnTo>
                    <a:pt x="52" y="0"/>
                  </a:lnTo>
                  <a:lnTo>
                    <a:pt x="17" y="0"/>
                  </a:lnTo>
                  <a:lnTo>
                    <a:pt x="0" y="16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30" name="Freeform 110">
              <a:extLst>
                <a:ext uri="{FF2B5EF4-FFF2-40B4-BE49-F238E27FC236}">
                  <a16:creationId xmlns:a16="http://schemas.microsoft.com/office/drawing/2014/main" id="{56DEA19F-1401-D9A2-FAC8-EDF4737EE9C9}"/>
                </a:ext>
              </a:extLst>
            </p:cNvPr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8016515" y="4816675"/>
              <a:ext cx="25207" cy="0"/>
            </a:xfrm>
            <a:custGeom>
              <a:avLst/>
              <a:gdLst>
                <a:gd name="T0" fmla="*/ 0 w 34"/>
                <a:gd name="T1" fmla="*/ 0 w 34"/>
                <a:gd name="T2" fmla="*/ 7144 w 34"/>
                <a:gd name="T3" fmla="*/ 3175 w 34"/>
                <a:gd name="T4" fmla="*/ 0 w 34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  <a:gd name="T10" fmla="*/ 0 w 34"/>
                <a:gd name="T11" fmla="*/ 34 w 34"/>
              </a:gdLst>
              <a:ahLst/>
              <a:cxnLst>
                <a:cxn ang="T5">
                  <a:pos x="T0" y="0"/>
                </a:cxn>
                <a:cxn ang="T6">
                  <a:pos x="T1" y="0"/>
                </a:cxn>
                <a:cxn ang="T7">
                  <a:pos x="T2" y="0"/>
                </a:cxn>
                <a:cxn ang="T8">
                  <a:pos x="T3" y="0"/>
                </a:cxn>
                <a:cxn ang="T9">
                  <a:pos x="T4" y="0"/>
                </a:cxn>
              </a:cxnLst>
              <a:rect l="T10" t="0" r="T11" b="0"/>
              <a:pathLst>
                <a:path w="34">
                  <a:moveTo>
                    <a:pt x="0" y="0"/>
                  </a:moveTo>
                  <a:lnTo>
                    <a:pt x="0" y="0"/>
                  </a:lnTo>
                  <a:lnTo>
                    <a:pt x="34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31" name="Freeform 111">
              <a:extLst>
                <a:ext uri="{FF2B5EF4-FFF2-40B4-BE49-F238E27FC236}">
                  <a16:creationId xmlns:a16="http://schemas.microsoft.com/office/drawing/2014/main" id="{088D558F-F153-B295-A482-1759D4AB6668}"/>
                </a:ext>
              </a:extLst>
            </p:cNvPr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8185087" y="4803344"/>
              <a:ext cx="14180" cy="13331"/>
            </a:xfrm>
            <a:custGeom>
              <a:avLst/>
              <a:gdLst>
                <a:gd name="T0" fmla="*/ 0 w 18"/>
                <a:gd name="T1" fmla="*/ 0 h 15"/>
                <a:gd name="T2" fmla="*/ 0 w 18"/>
                <a:gd name="T3" fmla="*/ 0 h 15"/>
                <a:gd name="T4" fmla="*/ 3969 w 18"/>
                <a:gd name="T5" fmla="*/ 3387 h 15"/>
                <a:gd name="T6" fmla="*/ 3969 w 18"/>
                <a:gd name="T7" fmla="*/ 0 h 15"/>
                <a:gd name="T8" fmla="*/ 0 w 18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5"/>
                <a:gd name="T17" fmla="*/ 18 w 18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5">
                  <a:moveTo>
                    <a:pt x="0" y="0"/>
                  </a:moveTo>
                  <a:lnTo>
                    <a:pt x="0" y="0"/>
                  </a:lnTo>
                  <a:lnTo>
                    <a:pt x="18" y="15"/>
                  </a:lnTo>
                  <a:lnTo>
                    <a:pt x="18" y="0"/>
                  </a:lnTo>
                  <a:lnTo>
                    <a:pt x="0" y="0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32" name="Freeform 112">
              <a:extLst>
                <a:ext uri="{FF2B5EF4-FFF2-40B4-BE49-F238E27FC236}">
                  <a16:creationId xmlns:a16="http://schemas.microsoft.com/office/drawing/2014/main" id="{34AEFA76-A9E3-15C4-5E20-A1CB90B2176F}"/>
                </a:ext>
              </a:extLst>
            </p:cNvPr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8446611" y="4866667"/>
              <a:ext cx="92952" cy="51659"/>
            </a:xfrm>
            <a:custGeom>
              <a:avLst/>
              <a:gdLst>
                <a:gd name="T0" fmla="*/ 0 w 123"/>
                <a:gd name="T1" fmla="*/ 6252 h 65"/>
                <a:gd name="T2" fmla="*/ 0 w 123"/>
                <a:gd name="T3" fmla="*/ 6252 h 65"/>
                <a:gd name="T4" fmla="*/ 6298 w 123"/>
                <a:gd name="T5" fmla="*/ 12505 h 65"/>
                <a:gd name="T6" fmla="*/ 13384 w 123"/>
                <a:gd name="T7" fmla="*/ 12505 h 65"/>
                <a:gd name="T8" fmla="*/ 20470 w 123"/>
                <a:gd name="T9" fmla="*/ 9378 h 65"/>
                <a:gd name="T10" fmla="*/ 23619 w 123"/>
                <a:gd name="T11" fmla="*/ 3126 h 65"/>
                <a:gd name="T12" fmla="*/ 23619 w 123"/>
                <a:gd name="T13" fmla="*/ 0 h 65"/>
                <a:gd name="T14" fmla="*/ 20470 w 123"/>
                <a:gd name="T15" fmla="*/ 0 h 65"/>
                <a:gd name="T16" fmla="*/ 20470 w 123"/>
                <a:gd name="T17" fmla="*/ 6252 h 65"/>
                <a:gd name="T18" fmla="*/ 17321 w 123"/>
                <a:gd name="T19" fmla="*/ 6252 h 65"/>
                <a:gd name="T20" fmla="*/ 13384 w 123"/>
                <a:gd name="T21" fmla="*/ 6252 h 65"/>
                <a:gd name="T22" fmla="*/ 0 w 123"/>
                <a:gd name="T23" fmla="*/ 6252 h 6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23"/>
                <a:gd name="T37" fmla="*/ 0 h 65"/>
                <a:gd name="T38" fmla="*/ 123 w 123"/>
                <a:gd name="T39" fmla="*/ 65 h 6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23" h="65">
                  <a:moveTo>
                    <a:pt x="0" y="33"/>
                  </a:moveTo>
                  <a:lnTo>
                    <a:pt x="0" y="33"/>
                  </a:lnTo>
                  <a:lnTo>
                    <a:pt x="35" y="65"/>
                  </a:lnTo>
                  <a:lnTo>
                    <a:pt x="71" y="65"/>
                  </a:lnTo>
                  <a:lnTo>
                    <a:pt x="106" y="48"/>
                  </a:lnTo>
                  <a:lnTo>
                    <a:pt x="123" y="17"/>
                  </a:lnTo>
                  <a:lnTo>
                    <a:pt x="123" y="0"/>
                  </a:lnTo>
                  <a:lnTo>
                    <a:pt x="106" y="0"/>
                  </a:lnTo>
                  <a:lnTo>
                    <a:pt x="106" y="33"/>
                  </a:lnTo>
                  <a:lnTo>
                    <a:pt x="88" y="33"/>
                  </a:lnTo>
                  <a:lnTo>
                    <a:pt x="71" y="33"/>
                  </a:lnTo>
                  <a:lnTo>
                    <a:pt x="0" y="33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33" name="Freeform 113">
              <a:extLst>
                <a:ext uri="{FF2B5EF4-FFF2-40B4-BE49-F238E27FC236}">
                  <a16:creationId xmlns:a16="http://schemas.microsoft.com/office/drawing/2014/main" id="{A65D0630-1B67-3D3D-9AB2-DD3FADE9F4B3}"/>
                </a:ext>
              </a:extLst>
            </p:cNvPr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8514355" y="4855002"/>
              <a:ext cx="37811" cy="24995"/>
            </a:xfrm>
            <a:custGeom>
              <a:avLst/>
              <a:gdLst>
                <a:gd name="T0" fmla="*/ 0 w 52"/>
                <a:gd name="T1" fmla="*/ 0 h 32"/>
                <a:gd name="T2" fmla="*/ 0 w 52"/>
                <a:gd name="T3" fmla="*/ 0 h 32"/>
                <a:gd name="T4" fmla="*/ 7144 w 52"/>
                <a:gd name="T5" fmla="*/ 2381 h 32"/>
                <a:gd name="T6" fmla="*/ 10319 w 52"/>
                <a:gd name="T7" fmla="*/ 6350 h 32"/>
                <a:gd name="T8" fmla="*/ 10319 w 52"/>
                <a:gd name="T9" fmla="*/ 2381 h 32"/>
                <a:gd name="T10" fmla="*/ 0 w 52"/>
                <a:gd name="T11" fmla="*/ 0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"/>
                <a:gd name="T19" fmla="*/ 0 h 32"/>
                <a:gd name="T20" fmla="*/ 52 w 52"/>
                <a:gd name="T21" fmla="*/ 32 h 3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" h="32">
                  <a:moveTo>
                    <a:pt x="0" y="0"/>
                  </a:moveTo>
                  <a:lnTo>
                    <a:pt x="0" y="0"/>
                  </a:lnTo>
                  <a:lnTo>
                    <a:pt x="35" y="15"/>
                  </a:lnTo>
                  <a:lnTo>
                    <a:pt x="52" y="32"/>
                  </a:lnTo>
                  <a:lnTo>
                    <a:pt x="52" y="15"/>
                  </a:lnTo>
                  <a:lnTo>
                    <a:pt x="0" y="0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34" name="Freeform 114">
              <a:extLst>
                <a:ext uri="{FF2B5EF4-FFF2-40B4-BE49-F238E27FC236}">
                  <a16:creationId xmlns:a16="http://schemas.microsoft.com/office/drawing/2014/main" id="{BDE9932F-BE2F-7C97-8721-090F033C9285}"/>
                </a:ext>
              </a:extLst>
            </p:cNvPr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8591552" y="4893329"/>
              <a:ext cx="26783" cy="38328"/>
            </a:xfrm>
            <a:custGeom>
              <a:avLst/>
              <a:gdLst>
                <a:gd name="T0" fmla="*/ 0 w 35"/>
                <a:gd name="T1" fmla="*/ 0 h 48"/>
                <a:gd name="T2" fmla="*/ 0 w 35"/>
                <a:gd name="T3" fmla="*/ 0 h 48"/>
                <a:gd name="T4" fmla="*/ 3084 w 35"/>
                <a:gd name="T5" fmla="*/ 9525 h 48"/>
                <a:gd name="T6" fmla="*/ 6169 w 35"/>
                <a:gd name="T7" fmla="*/ 6350 h 48"/>
                <a:gd name="T8" fmla="*/ 0 w 35"/>
                <a:gd name="T9" fmla="*/ 0 h 4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5"/>
                <a:gd name="T16" fmla="*/ 0 h 48"/>
                <a:gd name="T17" fmla="*/ 35 w 35"/>
                <a:gd name="T18" fmla="*/ 48 h 4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5" h="48">
                  <a:moveTo>
                    <a:pt x="0" y="0"/>
                  </a:moveTo>
                  <a:lnTo>
                    <a:pt x="0" y="0"/>
                  </a:lnTo>
                  <a:lnTo>
                    <a:pt x="17" y="48"/>
                  </a:lnTo>
                  <a:lnTo>
                    <a:pt x="35" y="32"/>
                  </a:lnTo>
                  <a:lnTo>
                    <a:pt x="0" y="0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35" name="Freeform 115">
              <a:extLst>
                <a:ext uri="{FF2B5EF4-FFF2-40B4-BE49-F238E27FC236}">
                  <a16:creationId xmlns:a16="http://schemas.microsoft.com/office/drawing/2014/main" id="{CFA0B7E4-380E-0369-B863-4883F4FBF3CF}"/>
                </a:ext>
              </a:extLst>
            </p:cNvPr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8682928" y="4969983"/>
              <a:ext cx="26783" cy="11665"/>
            </a:xfrm>
            <a:custGeom>
              <a:avLst/>
              <a:gdLst>
                <a:gd name="T0" fmla="*/ 0 w 34"/>
                <a:gd name="T1" fmla="*/ 0 h 15"/>
                <a:gd name="T2" fmla="*/ 0 w 34"/>
                <a:gd name="T3" fmla="*/ 0 h 15"/>
                <a:gd name="T4" fmla="*/ 0 w 34"/>
                <a:gd name="T5" fmla="*/ 3387 h 15"/>
                <a:gd name="T6" fmla="*/ 8404 w 34"/>
                <a:gd name="T7" fmla="*/ 3387 h 15"/>
                <a:gd name="T8" fmla="*/ 0 w 34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4"/>
                <a:gd name="T16" fmla="*/ 0 h 15"/>
                <a:gd name="T17" fmla="*/ 34 w 34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4" h="15">
                  <a:moveTo>
                    <a:pt x="0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34" y="15"/>
                  </a:lnTo>
                  <a:lnTo>
                    <a:pt x="0" y="0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36" name="Freeform 116">
              <a:extLst>
                <a:ext uri="{FF2B5EF4-FFF2-40B4-BE49-F238E27FC236}">
                  <a16:creationId xmlns:a16="http://schemas.microsoft.com/office/drawing/2014/main" id="{9351CE72-ABCA-93D3-52DE-C9E43144B6DD}"/>
                </a:ext>
              </a:extLst>
            </p:cNvPr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8840472" y="5084965"/>
              <a:ext cx="12604" cy="24995"/>
            </a:xfrm>
            <a:custGeom>
              <a:avLst/>
              <a:gdLst>
                <a:gd name="T0" fmla="*/ 0 w 18"/>
                <a:gd name="T1" fmla="*/ 0 h 32"/>
                <a:gd name="T2" fmla="*/ 0 w 18"/>
                <a:gd name="T3" fmla="*/ 0 h 32"/>
                <a:gd name="T4" fmla="*/ 0 w 18"/>
                <a:gd name="T5" fmla="*/ 6350 h 32"/>
                <a:gd name="T6" fmla="*/ 3969 w 18"/>
                <a:gd name="T7" fmla="*/ 2381 h 32"/>
                <a:gd name="T8" fmla="*/ 0 w 18"/>
                <a:gd name="T9" fmla="*/ 0 h 3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32"/>
                <a:gd name="T17" fmla="*/ 18 w 18"/>
                <a:gd name="T18" fmla="*/ 32 h 3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32">
                  <a:moveTo>
                    <a:pt x="0" y="0"/>
                  </a:moveTo>
                  <a:lnTo>
                    <a:pt x="0" y="0"/>
                  </a:lnTo>
                  <a:lnTo>
                    <a:pt x="0" y="32"/>
                  </a:lnTo>
                  <a:lnTo>
                    <a:pt x="18" y="15"/>
                  </a:lnTo>
                  <a:lnTo>
                    <a:pt x="0" y="0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37" name="Freeform 117">
              <a:extLst>
                <a:ext uri="{FF2B5EF4-FFF2-40B4-BE49-F238E27FC236}">
                  <a16:creationId xmlns:a16="http://schemas.microsoft.com/office/drawing/2014/main" id="{7A594C1F-B5A9-36FB-1D90-AC3F2D08C9C1}"/>
                </a:ext>
              </a:extLst>
            </p:cNvPr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8790058" y="5199945"/>
              <a:ext cx="50414" cy="49992"/>
            </a:xfrm>
            <a:custGeom>
              <a:avLst/>
              <a:gdLst>
                <a:gd name="T0" fmla="*/ 0 w 67"/>
                <a:gd name="T1" fmla="*/ 0 h 63"/>
                <a:gd name="T2" fmla="*/ 0 w 67"/>
                <a:gd name="T3" fmla="*/ 0 h 63"/>
                <a:gd name="T4" fmla="*/ 3128 w 67"/>
                <a:gd name="T5" fmla="*/ 6249 h 63"/>
                <a:gd name="T6" fmla="*/ 9383 w 67"/>
                <a:gd name="T7" fmla="*/ 11717 h 63"/>
                <a:gd name="T8" fmla="*/ 12511 w 67"/>
                <a:gd name="T9" fmla="*/ 11717 h 63"/>
                <a:gd name="T10" fmla="*/ 3128 w 67"/>
                <a:gd name="T11" fmla="*/ 2343 h 63"/>
                <a:gd name="T12" fmla="*/ 0 w 67"/>
                <a:gd name="T13" fmla="*/ 0 h 6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7"/>
                <a:gd name="T22" fmla="*/ 0 h 63"/>
                <a:gd name="T23" fmla="*/ 67 w 67"/>
                <a:gd name="T24" fmla="*/ 63 h 6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7" h="63">
                  <a:moveTo>
                    <a:pt x="0" y="0"/>
                  </a:moveTo>
                  <a:lnTo>
                    <a:pt x="0" y="0"/>
                  </a:lnTo>
                  <a:lnTo>
                    <a:pt x="17" y="32"/>
                  </a:lnTo>
                  <a:lnTo>
                    <a:pt x="50" y="63"/>
                  </a:lnTo>
                  <a:lnTo>
                    <a:pt x="67" y="63"/>
                  </a:lnTo>
                  <a:lnTo>
                    <a:pt x="17" y="15"/>
                  </a:lnTo>
                  <a:lnTo>
                    <a:pt x="0" y="0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38" name="Freeform 118">
              <a:extLst>
                <a:ext uri="{FF2B5EF4-FFF2-40B4-BE49-F238E27FC236}">
                  <a16:creationId xmlns:a16="http://schemas.microsoft.com/office/drawing/2014/main" id="{B1094420-2C66-0127-3761-2062BD05F51B}"/>
                </a:ext>
              </a:extLst>
            </p:cNvPr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9050007" y="5134956"/>
              <a:ext cx="26782" cy="26662"/>
            </a:xfrm>
            <a:custGeom>
              <a:avLst/>
              <a:gdLst>
                <a:gd name="T0" fmla="*/ 0 w 34"/>
                <a:gd name="T1" fmla="*/ 6158 h 33"/>
                <a:gd name="T2" fmla="*/ 0 w 34"/>
                <a:gd name="T3" fmla="*/ 6158 h 33"/>
                <a:gd name="T4" fmla="*/ 8404 w 34"/>
                <a:gd name="T5" fmla="*/ 6158 h 33"/>
                <a:gd name="T6" fmla="*/ 8404 w 34"/>
                <a:gd name="T7" fmla="*/ 3079 h 33"/>
                <a:gd name="T8" fmla="*/ 4202 w 34"/>
                <a:gd name="T9" fmla="*/ 0 h 33"/>
                <a:gd name="T10" fmla="*/ 0 w 34"/>
                <a:gd name="T11" fmla="*/ 6158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4"/>
                <a:gd name="T19" fmla="*/ 0 h 33"/>
                <a:gd name="T20" fmla="*/ 34 w 34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4" h="33">
                  <a:moveTo>
                    <a:pt x="0" y="33"/>
                  </a:moveTo>
                  <a:lnTo>
                    <a:pt x="0" y="33"/>
                  </a:lnTo>
                  <a:lnTo>
                    <a:pt x="34" y="33"/>
                  </a:lnTo>
                  <a:lnTo>
                    <a:pt x="34" y="17"/>
                  </a:lnTo>
                  <a:lnTo>
                    <a:pt x="17" y="0"/>
                  </a:lnTo>
                  <a:lnTo>
                    <a:pt x="0" y="33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39" name="Freeform 119">
              <a:extLst>
                <a:ext uri="{FF2B5EF4-FFF2-40B4-BE49-F238E27FC236}">
                  <a16:creationId xmlns:a16="http://schemas.microsoft.com/office/drawing/2014/main" id="{977CACBD-CEF6-B2C8-4B67-EC269FCAC4DC}"/>
                </a:ext>
              </a:extLst>
            </p:cNvPr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9076789" y="5123291"/>
              <a:ext cx="26783" cy="11665"/>
            </a:xfrm>
            <a:custGeom>
              <a:avLst/>
              <a:gdLst>
                <a:gd name="T0" fmla="*/ 0 w 35"/>
                <a:gd name="T1" fmla="*/ 0 h 15"/>
                <a:gd name="T2" fmla="*/ 0 w 35"/>
                <a:gd name="T3" fmla="*/ 0 h 15"/>
                <a:gd name="T4" fmla="*/ 3084 w 35"/>
                <a:gd name="T5" fmla="*/ 3387 h 15"/>
                <a:gd name="T6" fmla="*/ 6169 w 35"/>
                <a:gd name="T7" fmla="*/ 0 h 15"/>
                <a:gd name="T8" fmla="*/ 0 w 35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5"/>
                <a:gd name="T16" fmla="*/ 0 h 15"/>
                <a:gd name="T17" fmla="*/ 35 w 35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5" h="15">
                  <a:moveTo>
                    <a:pt x="0" y="0"/>
                  </a:moveTo>
                  <a:lnTo>
                    <a:pt x="0" y="0"/>
                  </a:lnTo>
                  <a:lnTo>
                    <a:pt x="17" y="15"/>
                  </a:lnTo>
                  <a:lnTo>
                    <a:pt x="35" y="0"/>
                  </a:lnTo>
                  <a:lnTo>
                    <a:pt x="0" y="0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40" name="Freeform 125">
              <a:extLst>
                <a:ext uri="{FF2B5EF4-FFF2-40B4-BE49-F238E27FC236}">
                  <a16:creationId xmlns:a16="http://schemas.microsoft.com/office/drawing/2014/main" id="{C5B8EDC4-D8DB-E125-F50A-69F6C83BFC4D}"/>
                </a:ext>
              </a:extLst>
            </p:cNvPr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7649435" y="4650036"/>
              <a:ext cx="209535" cy="114982"/>
            </a:xfrm>
            <a:custGeom>
              <a:avLst/>
              <a:gdLst>
                <a:gd name="T0" fmla="*/ 30956 w 278"/>
                <a:gd name="T1" fmla="*/ 9525 h 144"/>
                <a:gd name="T2" fmla="*/ 30956 w 278"/>
                <a:gd name="T3" fmla="*/ 9525 h 144"/>
                <a:gd name="T4" fmla="*/ 34131 w 278"/>
                <a:gd name="T5" fmla="*/ 9525 h 144"/>
                <a:gd name="T6" fmla="*/ 30956 w 278"/>
                <a:gd name="T7" fmla="*/ 11906 h 144"/>
                <a:gd name="T8" fmla="*/ 27781 w 278"/>
                <a:gd name="T9" fmla="*/ 11906 h 144"/>
                <a:gd name="T10" fmla="*/ 23813 w 278"/>
                <a:gd name="T11" fmla="*/ 11906 h 144"/>
                <a:gd name="T12" fmla="*/ 17463 w 278"/>
                <a:gd name="T13" fmla="*/ 19050 h 144"/>
                <a:gd name="T14" fmla="*/ 10319 w 278"/>
                <a:gd name="T15" fmla="*/ 19050 h 144"/>
                <a:gd name="T16" fmla="*/ 10319 w 278"/>
                <a:gd name="T17" fmla="*/ 24606 h 144"/>
                <a:gd name="T18" fmla="*/ 0 w 278"/>
                <a:gd name="T19" fmla="*/ 24606 h 144"/>
                <a:gd name="T20" fmla="*/ 7144 w 278"/>
                <a:gd name="T21" fmla="*/ 28575 h 144"/>
                <a:gd name="T22" fmla="*/ 13494 w 278"/>
                <a:gd name="T23" fmla="*/ 28575 h 144"/>
                <a:gd name="T24" fmla="*/ 17463 w 278"/>
                <a:gd name="T25" fmla="*/ 24606 h 144"/>
                <a:gd name="T26" fmla="*/ 23813 w 278"/>
                <a:gd name="T27" fmla="*/ 28575 h 144"/>
                <a:gd name="T28" fmla="*/ 27781 w 278"/>
                <a:gd name="T29" fmla="*/ 24606 h 144"/>
                <a:gd name="T30" fmla="*/ 38100 w 278"/>
                <a:gd name="T31" fmla="*/ 11906 h 144"/>
                <a:gd name="T32" fmla="*/ 48419 w 278"/>
                <a:gd name="T33" fmla="*/ 11906 h 144"/>
                <a:gd name="T34" fmla="*/ 52388 w 278"/>
                <a:gd name="T35" fmla="*/ 11906 h 144"/>
                <a:gd name="T36" fmla="*/ 48419 w 278"/>
                <a:gd name="T37" fmla="*/ 9525 h 144"/>
                <a:gd name="T38" fmla="*/ 55563 w 278"/>
                <a:gd name="T39" fmla="*/ 9525 h 144"/>
                <a:gd name="T40" fmla="*/ 44450 w 278"/>
                <a:gd name="T41" fmla="*/ 5556 h 144"/>
                <a:gd name="T42" fmla="*/ 44450 w 278"/>
                <a:gd name="T43" fmla="*/ 2381 h 144"/>
                <a:gd name="T44" fmla="*/ 41275 w 278"/>
                <a:gd name="T45" fmla="*/ 0 h 144"/>
                <a:gd name="T46" fmla="*/ 34131 w 278"/>
                <a:gd name="T47" fmla="*/ 5556 h 144"/>
                <a:gd name="T48" fmla="*/ 30956 w 278"/>
                <a:gd name="T49" fmla="*/ 9525 h 14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78"/>
                <a:gd name="T76" fmla="*/ 0 h 144"/>
                <a:gd name="T77" fmla="*/ 278 w 278"/>
                <a:gd name="T78" fmla="*/ 144 h 14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78" h="144">
                  <a:moveTo>
                    <a:pt x="158" y="48"/>
                  </a:moveTo>
                  <a:lnTo>
                    <a:pt x="158" y="48"/>
                  </a:lnTo>
                  <a:lnTo>
                    <a:pt x="175" y="48"/>
                  </a:lnTo>
                  <a:lnTo>
                    <a:pt x="158" y="63"/>
                  </a:lnTo>
                  <a:lnTo>
                    <a:pt x="140" y="63"/>
                  </a:lnTo>
                  <a:lnTo>
                    <a:pt x="123" y="63"/>
                  </a:lnTo>
                  <a:lnTo>
                    <a:pt x="88" y="96"/>
                  </a:lnTo>
                  <a:lnTo>
                    <a:pt x="52" y="96"/>
                  </a:lnTo>
                  <a:lnTo>
                    <a:pt x="52" y="126"/>
                  </a:lnTo>
                  <a:lnTo>
                    <a:pt x="0" y="126"/>
                  </a:lnTo>
                  <a:lnTo>
                    <a:pt x="35" y="144"/>
                  </a:lnTo>
                  <a:lnTo>
                    <a:pt x="69" y="144"/>
                  </a:lnTo>
                  <a:lnTo>
                    <a:pt x="88" y="126"/>
                  </a:lnTo>
                  <a:lnTo>
                    <a:pt x="123" y="144"/>
                  </a:lnTo>
                  <a:lnTo>
                    <a:pt x="140" y="126"/>
                  </a:lnTo>
                  <a:lnTo>
                    <a:pt x="192" y="63"/>
                  </a:lnTo>
                  <a:lnTo>
                    <a:pt x="244" y="63"/>
                  </a:lnTo>
                  <a:lnTo>
                    <a:pt x="261" y="63"/>
                  </a:lnTo>
                  <a:lnTo>
                    <a:pt x="244" y="48"/>
                  </a:lnTo>
                  <a:lnTo>
                    <a:pt x="278" y="48"/>
                  </a:lnTo>
                  <a:lnTo>
                    <a:pt x="227" y="30"/>
                  </a:lnTo>
                  <a:lnTo>
                    <a:pt x="227" y="15"/>
                  </a:lnTo>
                  <a:lnTo>
                    <a:pt x="209" y="0"/>
                  </a:lnTo>
                  <a:lnTo>
                    <a:pt x="175" y="30"/>
                  </a:lnTo>
                  <a:lnTo>
                    <a:pt x="158" y="48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41" name="Freeform 126">
              <a:extLst>
                <a:ext uri="{FF2B5EF4-FFF2-40B4-BE49-F238E27FC236}">
                  <a16:creationId xmlns:a16="http://schemas.microsoft.com/office/drawing/2014/main" id="{D231E0EB-E7F6-1256-3625-7E67DC183E24}"/>
                </a:ext>
              </a:extLst>
            </p:cNvPr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7742387" y="4688363"/>
              <a:ext cx="37811" cy="13331"/>
            </a:xfrm>
            <a:custGeom>
              <a:avLst/>
              <a:gdLst>
                <a:gd name="T0" fmla="*/ 0 w 52"/>
                <a:gd name="T1" fmla="*/ 3387 h 15"/>
                <a:gd name="T2" fmla="*/ 0 w 52"/>
                <a:gd name="T3" fmla="*/ 3387 h 15"/>
                <a:gd name="T4" fmla="*/ 3969 w 52"/>
                <a:gd name="T5" fmla="*/ 3387 h 15"/>
                <a:gd name="T6" fmla="*/ 7144 w 52"/>
                <a:gd name="T7" fmla="*/ 3387 h 15"/>
                <a:gd name="T8" fmla="*/ 10319 w 52"/>
                <a:gd name="T9" fmla="*/ 0 h 15"/>
                <a:gd name="T10" fmla="*/ 7144 w 52"/>
                <a:gd name="T11" fmla="*/ 0 h 15"/>
                <a:gd name="T12" fmla="*/ 0 w 52"/>
                <a:gd name="T13" fmla="*/ 3387 h 1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"/>
                <a:gd name="T22" fmla="*/ 0 h 15"/>
                <a:gd name="T23" fmla="*/ 52 w 52"/>
                <a:gd name="T24" fmla="*/ 15 h 1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" h="15">
                  <a:moveTo>
                    <a:pt x="0" y="15"/>
                  </a:moveTo>
                  <a:lnTo>
                    <a:pt x="0" y="15"/>
                  </a:lnTo>
                  <a:lnTo>
                    <a:pt x="17" y="15"/>
                  </a:lnTo>
                  <a:lnTo>
                    <a:pt x="35" y="15"/>
                  </a:lnTo>
                  <a:lnTo>
                    <a:pt x="52" y="0"/>
                  </a:lnTo>
                  <a:lnTo>
                    <a:pt x="35" y="0"/>
                  </a:lnTo>
                  <a:lnTo>
                    <a:pt x="0" y="15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42" name="Freeform 127">
              <a:extLst>
                <a:ext uri="{FF2B5EF4-FFF2-40B4-BE49-F238E27FC236}">
                  <a16:creationId xmlns:a16="http://schemas.microsoft.com/office/drawing/2014/main" id="{79788F9F-331F-0F76-DC55-012C614975C9}"/>
                </a:ext>
              </a:extLst>
            </p:cNvPr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7635257" y="4701694"/>
              <a:ext cx="212685" cy="164972"/>
            </a:xfrm>
            <a:custGeom>
              <a:avLst/>
              <a:gdLst>
                <a:gd name="T0" fmla="*/ 3997 w 278"/>
                <a:gd name="T1" fmla="*/ 12761 h 207"/>
                <a:gd name="T2" fmla="*/ 3997 w 278"/>
                <a:gd name="T3" fmla="*/ 12761 h 207"/>
                <a:gd name="T4" fmla="*/ 10393 w 278"/>
                <a:gd name="T5" fmla="*/ 16749 h 207"/>
                <a:gd name="T6" fmla="*/ 17588 w 278"/>
                <a:gd name="T7" fmla="*/ 16749 h 207"/>
                <a:gd name="T8" fmla="*/ 20786 w 278"/>
                <a:gd name="T9" fmla="*/ 12761 h 207"/>
                <a:gd name="T10" fmla="*/ 27981 w 278"/>
                <a:gd name="T11" fmla="*/ 16749 h 207"/>
                <a:gd name="T12" fmla="*/ 31179 w 278"/>
                <a:gd name="T13" fmla="*/ 12761 h 207"/>
                <a:gd name="T14" fmla="*/ 41572 w 278"/>
                <a:gd name="T15" fmla="*/ 0 h 207"/>
                <a:gd name="T16" fmla="*/ 52764 w 278"/>
                <a:gd name="T17" fmla="*/ 0 h 207"/>
                <a:gd name="T18" fmla="*/ 49567 w 278"/>
                <a:gd name="T19" fmla="*/ 7178 h 207"/>
                <a:gd name="T20" fmla="*/ 52764 w 278"/>
                <a:gd name="T21" fmla="*/ 9571 h 207"/>
                <a:gd name="T22" fmla="*/ 49567 w 278"/>
                <a:gd name="T23" fmla="*/ 12761 h 207"/>
                <a:gd name="T24" fmla="*/ 56762 w 278"/>
                <a:gd name="T25" fmla="*/ 16749 h 207"/>
                <a:gd name="T26" fmla="*/ 52764 w 278"/>
                <a:gd name="T27" fmla="*/ 19142 h 207"/>
                <a:gd name="T28" fmla="*/ 45569 w 278"/>
                <a:gd name="T29" fmla="*/ 26320 h 207"/>
                <a:gd name="T30" fmla="*/ 41572 w 278"/>
                <a:gd name="T31" fmla="*/ 31903 h 207"/>
                <a:gd name="T32" fmla="*/ 45569 w 278"/>
                <a:gd name="T33" fmla="*/ 31903 h 207"/>
                <a:gd name="T34" fmla="*/ 41572 w 278"/>
                <a:gd name="T35" fmla="*/ 38284 h 207"/>
                <a:gd name="T36" fmla="*/ 35176 w 278"/>
                <a:gd name="T37" fmla="*/ 41474 h 207"/>
                <a:gd name="T38" fmla="*/ 31179 w 278"/>
                <a:gd name="T39" fmla="*/ 38284 h 207"/>
                <a:gd name="T40" fmla="*/ 24783 w 278"/>
                <a:gd name="T41" fmla="*/ 38284 h 207"/>
                <a:gd name="T42" fmla="*/ 17588 w 278"/>
                <a:gd name="T43" fmla="*/ 38284 h 207"/>
                <a:gd name="T44" fmla="*/ 17588 w 278"/>
                <a:gd name="T45" fmla="*/ 35094 h 207"/>
                <a:gd name="T46" fmla="*/ 10393 w 278"/>
                <a:gd name="T47" fmla="*/ 35094 h 207"/>
                <a:gd name="T48" fmla="*/ 7195 w 278"/>
                <a:gd name="T49" fmla="*/ 28713 h 207"/>
                <a:gd name="T50" fmla="*/ 3997 w 278"/>
                <a:gd name="T51" fmla="*/ 22332 h 207"/>
                <a:gd name="T52" fmla="*/ 0 w 278"/>
                <a:gd name="T53" fmla="*/ 16749 h 207"/>
                <a:gd name="T54" fmla="*/ 3997 w 278"/>
                <a:gd name="T55" fmla="*/ 12761 h 20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78"/>
                <a:gd name="T85" fmla="*/ 0 h 207"/>
                <a:gd name="T86" fmla="*/ 278 w 278"/>
                <a:gd name="T87" fmla="*/ 207 h 20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78" h="207">
                  <a:moveTo>
                    <a:pt x="17" y="63"/>
                  </a:moveTo>
                  <a:lnTo>
                    <a:pt x="17" y="63"/>
                  </a:lnTo>
                  <a:lnTo>
                    <a:pt x="52" y="81"/>
                  </a:lnTo>
                  <a:lnTo>
                    <a:pt x="86" y="81"/>
                  </a:lnTo>
                  <a:lnTo>
                    <a:pt x="104" y="63"/>
                  </a:lnTo>
                  <a:lnTo>
                    <a:pt x="138" y="81"/>
                  </a:lnTo>
                  <a:lnTo>
                    <a:pt x="155" y="63"/>
                  </a:lnTo>
                  <a:lnTo>
                    <a:pt x="207" y="0"/>
                  </a:lnTo>
                  <a:lnTo>
                    <a:pt x="261" y="0"/>
                  </a:lnTo>
                  <a:lnTo>
                    <a:pt x="244" y="33"/>
                  </a:lnTo>
                  <a:lnTo>
                    <a:pt x="261" y="48"/>
                  </a:lnTo>
                  <a:lnTo>
                    <a:pt x="244" y="63"/>
                  </a:lnTo>
                  <a:lnTo>
                    <a:pt x="278" y="81"/>
                  </a:lnTo>
                  <a:lnTo>
                    <a:pt x="261" y="96"/>
                  </a:lnTo>
                  <a:lnTo>
                    <a:pt x="224" y="129"/>
                  </a:lnTo>
                  <a:lnTo>
                    <a:pt x="207" y="159"/>
                  </a:lnTo>
                  <a:lnTo>
                    <a:pt x="224" y="159"/>
                  </a:lnTo>
                  <a:lnTo>
                    <a:pt x="207" y="192"/>
                  </a:lnTo>
                  <a:lnTo>
                    <a:pt x="173" y="207"/>
                  </a:lnTo>
                  <a:lnTo>
                    <a:pt x="155" y="192"/>
                  </a:lnTo>
                  <a:lnTo>
                    <a:pt x="121" y="192"/>
                  </a:lnTo>
                  <a:lnTo>
                    <a:pt x="86" y="192"/>
                  </a:lnTo>
                  <a:lnTo>
                    <a:pt x="86" y="176"/>
                  </a:lnTo>
                  <a:lnTo>
                    <a:pt x="52" y="176"/>
                  </a:lnTo>
                  <a:lnTo>
                    <a:pt x="34" y="144"/>
                  </a:lnTo>
                  <a:lnTo>
                    <a:pt x="17" y="111"/>
                  </a:lnTo>
                  <a:lnTo>
                    <a:pt x="0" y="81"/>
                  </a:lnTo>
                  <a:lnTo>
                    <a:pt x="17" y="63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43" name="Freeform 128">
              <a:extLst>
                <a:ext uri="{FF2B5EF4-FFF2-40B4-BE49-F238E27FC236}">
                  <a16:creationId xmlns:a16="http://schemas.microsoft.com/office/drawing/2014/main" id="{0C2E15C5-D096-B392-0DE6-64361B680535}"/>
                </a:ext>
              </a:extLst>
            </p:cNvPr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7400515" y="4751686"/>
              <a:ext cx="14180" cy="26662"/>
            </a:xfrm>
            <a:custGeom>
              <a:avLst/>
              <a:gdLst>
                <a:gd name="T0" fmla="*/ 0 w 19"/>
                <a:gd name="T1" fmla="*/ 3079 h 33"/>
                <a:gd name="T2" fmla="*/ 0 w 19"/>
                <a:gd name="T3" fmla="*/ 3079 h 33"/>
                <a:gd name="T4" fmla="*/ 4178 w 19"/>
                <a:gd name="T5" fmla="*/ 6158 h 33"/>
                <a:gd name="T6" fmla="*/ 0 w 19"/>
                <a:gd name="T7" fmla="*/ 0 h 33"/>
                <a:gd name="T8" fmla="*/ 0 w 19"/>
                <a:gd name="T9" fmla="*/ 3079 h 3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33"/>
                <a:gd name="T17" fmla="*/ 19 w 19"/>
                <a:gd name="T18" fmla="*/ 33 h 3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33">
                  <a:moveTo>
                    <a:pt x="0" y="18"/>
                  </a:moveTo>
                  <a:lnTo>
                    <a:pt x="0" y="18"/>
                  </a:lnTo>
                  <a:lnTo>
                    <a:pt x="19" y="33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44" name="Freeform 129">
              <a:extLst>
                <a:ext uri="{FF2B5EF4-FFF2-40B4-BE49-F238E27FC236}">
                  <a16:creationId xmlns:a16="http://schemas.microsoft.com/office/drawing/2014/main" id="{85F18611-E412-9EF4-11BF-1DB44A52D47D}"/>
                </a:ext>
              </a:extLst>
            </p:cNvPr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7427298" y="4803344"/>
              <a:ext cx="12604" cy="24996"/>
            </a:xfrm>
            <a:custGeom>
              <a:avLst/>
              <a:gdLst>
                <a:gd name="T0" fmla="*/ 0 w 16"/>
                <a:gd name="T1" fmla="*/ 0 h 30"/>
                <a:gd name="T2" fmla="*/ 0 w 16"/>
                <a:gd name="T3" fmla="*/ 0 h 30"/>
                <a:gd name="T4" fmla="*/ 3175 w 16"/>
                <a:gd name="T5" fmla="*/ 7620 h 30"/>
                <a:gd name="T6" fmla="*/ 3175 w 16"/>
                <a:gd name="T7" fmla="*/ 3387 h 30"/>
                <a:gd name="T8" fmla="*/ 3175 w 16"/>
                <a:gd name="T9" fmla="*/ 0 h 30"/>
                <a:gd name="T10" fmla="*/ 0 w 16"/>
                <a:gd name="T11" fmla="*/ 0 h 3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6"/>
                <a:gd name="T19" fmla="*/ 0 h 30"/>
                <a:gd name="T20" fmla="*/ 16 w 16"/>
                <a:gd name="T21" fmla="*/ 30 h 3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6" h="30">
                  <a:moveTo>
                    <a:pt x="0" y="0"/>
                  </a:moveTo>
                  <a:lnTo>
                    <a:pt x="0" y="0"/>
                  </a:lnTo>
                  <a:lnTo>
                    <a:pt x="16" y="30"/>
                  </a:lnTo>
                  <a:lnTo>
                    <a:pt x="16" y="15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45" name="Freeform 130">
              <a:extLst>
                <a:ext uri="{FF2B5EF4-FFF2-40B4-BE49-F238E27FC236}">
                  <a16:creationId xmlns:a16="http://schemas.microsoft.com/office/drawing/2014/main" id="{A97A2AE3-3EAA-AA26-7C2D-E57C699C9477}"/>
                </a:ext>
              </a:extLst>
            </p:cNvPr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7035012" y="4586713"/>
              <a:ext cx="53565" cy="76654"/>
            </a:xfrm>
            <a:custGeom>
              <a:avLst/>
              <a:gdLst>
                <a:gd name="T0" fmla="*/ 0 w 71"/>
                <a:gd name="T1" fmla="*/ 9525 h 96"/>
                <a:gd name="T2" fmla="*/ 0 w 71"/>
                <a:gd name="T3" fmla="*/ 9525 h 96"/>
                <a:gd name="T4" fmla="*/ 4025 w 71"/>
                <a:gd name="T5" fmla="*/ 19050 h 96"/>
                <a:gd name="T6" fmla="*/ 11269 w 71"/>
                <a:gd name="T7" fmla="*/ 19050 h 96"/>
                <a:gd name="T8" fmla="*/ 14489 w 71"/>
                <a:gd name="T9" fmla="*/ 11906 h 96"/>
                <a:gd name="T10" fmla="*/ 8049 w 71"/>
                <a:gd name="T11" fmla="*/ 2381 h 96"/>
                <a:gd name="T12" fmla="*/ 4025 w 71"/>
                <a:gd name="T13" fmla="*/ 0 h 96"/>
                <a:gd name="T14" fmla="*/ 0 w 71"/>
                <a:gd name="T15" fmla="*/ 9525 h 9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1"/>
                <a:gd name="T25" fmla="*/ 0 h 96"/>
                <a:gd name="T26" fmla="*/ 71 w 71"/>
                <a:gd name="T27" fmla="*/ 96 h 9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1" h="96">
                  <a:moveTo>
                    <a:pt x="0" y="48"/>
                  </a:moveTo>
                  <a:lnTo>
                    <a:pt x="0" y="48"/>
                  </a:lnTo>
                  <a:lnTo>
                    <a:pt x="17" y="96"/>
                  </a:lnTo>
                  <a:lnTo>
                    <a:pt x="54" y="96"/>
                  </a:lnTo>
                  <a:lnTo>
                    <a:pt x="71" y="63"/>
                  </a:lnTo>
                  <a:lnTo>
                    <a:pt x="37" y="15"/>
                  </a:lnTo>
                  <a:lnTo>
                    <a:pt x="17" y="0"/>
                  </a:lnTo>
                  <a:lnTo>
                    <a:pt x="0" y="48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46" name="Freeform 131">
              <a:extLst>
                <a:ext uri="{FF2B5EF4-FFF2-40B4-BE49-F238E27FC236}">
                  <a16:creationId xmlns:a16="http://schemas.microsoft.com/office/drawing/2014/main" id="{DAE5C0EC-D426-6F14-6D16-BB779DE46518}"/>
                </a:ext>
              </a:extLst>
            </p:cNvPr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7635257" y="4381747"/>
              <a:ext cx="53565" cy="38326"/>
            </a:xfrm>
            <a:custGeom>
              <a:avLst/>
              <a:gdLst>
                <a:gd name="T0" fmla="*/ 0 w 69"/>
                <a:gd name="T1" fmla="*/ 2381 h 48"/>
                <a:gd name="T2" fmla="*/ 0 w 69"/>
                <a:gd name="T3" fmla="*/ 2381 h 48"/>
                <a:gd name="T4" fmla="*/ 0 w 69"/>
                <a:gd name="T5" fmla="*/ 5556 h 48"/>
                <a:gd name="T6" fmla="*/ 7247 w 69"/>
                <a:gd name="T7" fmla="*/ 9525 h 48"/>
                <a:gd name="T8" fmla="*/ 10468 w 69"/>
                <a:gd name="T9" fmla="*/ 5556 h 48"/>
                <a:gd name="T10" fmla="*/ 14495 w 69"/>
                <a:gd name="T11" fmla="*/ 0 h 48"/>
                <a:gd name="T12" fmla="*/ 4026 w 69"/>
                <a:gd name="T13" fmla="*/ 0 h 48"/>
                <a:gd name="T14" fmla="*/ 0 w 69"/>
                <a:gd name="T15" fmla="*/ 2381 h 4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9"/>
                <a:gd name="T25" fmla="*/ 0 h 48"/>
                <a:gd name="T26" fmla="*/ 69 w 69"/>
                <a:gd name="T27" fmla="*/ 48 h 4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9" h="48">
                  <a:moveTo>
                    <a:pt x="0" y="15"/>
                  </a:moveTo>
                  <a:lnTo>
                    <a:pt x="0" y="15"/>
                  </a:lnTo>
                  <a:lnTo>
                    <a:pt x="0" y="31"/>
                  </a:lnTo>
                  <a:lnTo>
                    <a:pt x="34" y="48"/>
                  </a:lnTo>
                  <a:lnTo>
                    <a:pt x="52" y="31"/>
                  </a:lnTo>
                  <a:lnTo>
                    <a:pt x="69" y="0"/>
                  </a:lnTo>
                  <a:lnTo>
                    <a:pt x="17" y="0"/>
                  </a:lnTo>
                  <a:lnTo>
                    <a:pt x="0" y="15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47" name="Freeform 132">
              <a:extLst>
                <a:ext uri="{FF2B5EF4-FFF2-40B4-BE49-F238E27FC236}">
                  <a16:creationId xmlns:a16="http://schemas.microsoft.com/office/drawing/2014/main" id="{84F27B43-1803-2084-9229-F3F4B7DE8A98}"/>
                </a:ext>
              </a:extLst>
            </p:cNvPr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7871574" y="4266765"/>
              <a:ext cx="39386" cy="63323"/>
            </a:xfrm>
            <a:custGeom>
              <a:avLst/>
              <a:gdLst>
                <a:gd name="T0" fmla="*/ 0 w 52"/>
                <a:gd name="T1" fmla="*/ 9646 h 79"/>
                <a:gd name="T2" fmla="*/ 0 w 52"/>
                <a:gd name="T3" fmla="*/ 9646 h 79"/>
                <a:gd name="T4" fmla="*/ 0 w 52"/>
                <a:gd name="T5" fmla="*/ 12861 h 79"/>
                <a:gd name="T6" fmla="*/ 3969 w 52"/>
                <a:gd name="T7" fmla="*/ 16076 h 79"/>
                <a:gd name="T8" fmla="*/ 10319 w 52"/>
                <a:gd name="T9" fmla="*/ 0 h 79"/>
                <a:gd name="T10" fmla="*/ 7144 w 52"/>
                <a:gd name="T11" fmla="*/ 0 h 79"/>
                <a:gd name="T12" fmla="*/ 0 w 52"/>
                <a:gd name="T13" fmla="*/ 9646 h 7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"/>
                <a:gd name="T22" fmla="*/ 0 h 79"/>
                <a:gd name="T23" fmla="*/ 52 w 52"/>
                <a:gd name="T24" fmla="*/ 79 h 7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" h="79">
                  <a:moveTo>
                    <a:pt x="0" y="48"/>
                  </a:moveTo>
                  <a:lnTo>
                    <a:pt x="0" y="48"/>
                  </a:lnTo>
                  <a:lnTo>
                    <a:pt x="0" y="63"/>
                  </a:lnTo>
                  <a:lnTo>
                    <a:pt x="17" y="79"/>
                  </a:lnTo>
                  <a:lnTo>
                    <a:pt x="52" y="0"/>
                  </a:lnTo>
                  <a:lnTo>
                    <a:pt x="34" y="0"/>
                  </a:lnTo>
                  <a:lnTo>
                    <a:pt x="0" y="48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48" name="Freeform 133">
              <a:extLst>
                <a:ext uri="{FF2B5EF4-FFF2-40B4-BE49-F238E27FC236}">
                  <a16:creationId xmlns:a16="http://schemas.microsoft.com/office/drawing/2014/main" id="{30BD0FCA-B0F5-5739-9668-95E7C7735FC6}"/>
                </a:ext>
              </a:extLst>
            </p:cNvPr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7361129" y="4675032"/>
              <a:ext cx="223713" cy="229962"/>
            </a:xfrm>
            <a:custGeom>
              <a:avLst/>
              <a:gdLst>
                <a:gd name="T0" fmla="*/ 0 w 296"/>
                <a:gd name="T1" fmla="*/ 0 h 288"/>
                <a:gd name="T2" fmla="*/ 0 w 296"/>
                <a:gd name="T3" fmla="*/ 0 h 288"/>
                <a:gd name="T4" fmla="*/ 0 w 296"/>
                <a:gd name="T5" fmla="*/ 3969 h 288"/>
                <a:gd name="T6" fmla="*/ 7144 w 296"/>
                <a:gd name="T7" fmla="*/ 9525 h 288"/>
                <a:gd name="T8" fmla="*/ 14288 w 296"/>
                <a:gd name="T9" fmla="*/ 15875 h 288"/>
                <a:gd name="T10" fmla="*/ 17462 w 296"/>
                <a:gd name="T11" fmla="*/ 19050 h 288"/>
                <a:gd name="T12" fmla="*/ 20637 w 296"/>
                <a:gd name="T13" fmla="*/ 26194 h 288"/>
                <a:gd name="T14" fmla="*/ 27781 w 296"/>
                <a:gd name="T15" fmla="*/ 31750 h 288"/>
                <a:gd name="T16" fmla="*/ 34131 w 296"/>
                <a:gd name="T17" fmla="*/ 44450 h 288"/>
                <a:gd name="T18" fmla="*/ 48419 w 296"/>
                <a:gd name="T19" fmla="*/ 57150 h 288"/>
                <a:gd name="T20" fmla="*/ 55563 w 296"/>
                <a:gd name="T21" fmla="*/ 57150 h 288"/>
                <a:gd name="T22" fmla="*/ 58738 w 296"/>
                <a:gd name="T23" fmla="*/ 44450 h 288"/>
                <a:gd name="T24" fmla="*/ 55563 w 296"/>
                <a:gd name="T25" fmla="*/ 38100 h 288"/>
                <a:gd name="T26" fmla="*/ 52388 w 296"/>
                <a:gd name="T27" fmla="*/ 38100 h 288"/>
                <a:gd name="T28" fmla="*/ 48419 w 296"/>
                <a:gd name="T29" fmla="*/ 31750 h 288"/>
                <a:gd name="T30" fmla="*/ 44450 w 296"/>
                <a:gd name="T31" fmla="*/ 31750 h 288"/>
                <a:gd name="T32" fmla="*/ 44450 w 296"/>
                <a:gd name="T33" fmla="*/ 28575 h 288"/>
                <a:gd name="T34" fmla="*/ 41275 w 296"/>
                <a:gd name="T35" fmla="*/ 26194 h 288"/>
                <a:gd name="T36" fmla="*/ 41275 w 296"/>
                <a:gd name="T37" fmla="*/ 22225 h 288"/>
                <a:gd name="T38" fmla="*/ 30956 w 296"/>
                <a:gd name="T39" fmla="*/ 15875 h 288"/>
                <a:gd name="T40" fmla="*/ 27781 w 296"/>
                <a:gd name="T41" fmla="*/ 15875 h 288"/>
                <a:gd name="T42" fmla="*/ 10319 w 296"/>
                <a:gd name="T43" fmla="*/ 3969 h 288"/>
                <a:gd name="T44" fmla="*/ 0 w 296"/>
                <a:gd name="T45" fmla="*/ 0 h 28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96"/>
                <a:gd name="T70" fmla="*/ 0 h 288"/>
                <a:gd name="T71" fmla="*/ 296 w 296"/>
                <a:gd name="T72" fmla="*/ 288 h 28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96" h="288">
                  <a:moveTo>
                    <a:pt x="0" y="0"/>
                  </a:moveTo>
                  <a:lnTo>
                    <a:pt x="0" y="0"/>
                  </a:lnTo>
                  <a:lnTo>
                    <a:pt x="0" y="18"/>
                  </a:lnTo>
                  <a:lnTo>
                    <a:pt x="35" y="48"/>
                  </a:lnTo>
                  <a:lnTo>
                    <a:pt x="71" y="81"/>
                  </a:lnTo>
                  <a:lnTo>
                    <a:pt x="88" y="96"/>
                  </a:lnTo>
                  <a:lnTo>
                    <a:pt x="106" y="129"/>
                  </a:lnTo>
                  <a:lnTo>
                    <a:pt x="140" y="162"/>
                  </a:lnTo>
                  <a:lnTo>
                    <a:pt x="175" y="225"/>
                  </a:lnTo>
                  <a:lnTo>
                    <a:pt x="244" y="288"/>
                  </a:lnTo>
                  <a:lnTo>
                    <a:pt x="278" y="288"/>
                  </a:lnTo>
                  <a:lnTo>
                    <a:pt x="296" y="225"/>
                  </a:lnTo>
                  <a:lnTo>
                    <a:pt x="278" y="192"/>
                  </a:lnTo>
                  <a:lnTo>
                    <a:pt x="261" y="192"/>
                  </a:lnTo>
                  <a:lnTo>
                    <a:pt x="244" y="162"/>
                  </a:lnTo>
                  <a:lnTo>
                    <a:pt x="227" y="162"/>
                  </a:lnTo>
                  <a:lnTo>
                    <a:pt x="227" y="144"/>
                  </a:lnTo>
                  <a:lnTo>
                    <a:pt x="209" y="129"/>
                  </a:lnTo>
                  <a:lnTo>
                    <a:pt x="209" y="114"/>
                  </a:lnTo>
                  <a:lnTo>
                    <a:pt x="158" y="81"/>
                  </a:lnTo>
                  <a:lnTo>
                    <a:pt x="140" y="81"/>
                  </a:lnTo>
                  <a:lnTo>
                    <a:pt x="54" y="18"/>
                  </a:lnTo>
                  <a:lnTo>
                    <a:pt x="0" y="0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49" name="Freeform 134">
              <a:extLst>
                <a:ext uri="{FF2B5EF4-FFF2-40B4-BE49-F238E27FC236}">
                  <a16:creationId xmlns:a16="http://schemas.microsoft.com/office/drawing/2014/main" id="{3D5C92B6-2313-C2CC-82AC-66BBEFA6EB01}"/>
                </a:ext>
              </a:extLst>
            </p:cNvPr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7570663" y="4904994"/>
              <a:ext cx="182752" cy="51658"/>
            </a:xfrm>
            <a:custGeom>
              <a:avLst/>
              <a:gdLst>
                <a:gd name="T0" fmla="*/ 0 w 242"/>
                <a:gd name="T1" fmla="*/ 3126 h 65"/>
                <a:gd name="T2" fmla="*/ 0 w 242"/>
                <a:gd name="T3" fmla="*/ 3126 h 65"/>
                <a:gd name="T4" fmla="*/ 14288 w 242"/>
                <a:gd name="T5" fmla="*/ 9378 h 65"/>
                <a:gd name="T6" fmla="*/ 48419 w 242"/>
                <a:gd name="T7" fmla="*/ 12505 h 65"/>
                <a:gd name="T8" fmla="*/ 48419 w 242"/>
                <a:gd name="T9" fmla="*/ 9378 h 65"/>
                <a:gd name="T10" fmla="*/ 41275 w 242"/>
                <a:gd name="T11" fmla="*/ 9378 h 65"/>
                <a:gd name="T12" fmla="*/ 38100 w 242"/>
                <a:gd name="T13" fmla="*/ 6252 h 65"/>
                <a:gd name="T14" fmla="*/ 27781 w 242"/>
                <a:gd name="T15" fmla="*/ 3126 h 65"/>
                <a:gd name="T16" fmla="*/ 27781 w 242"/>
                <a:gd name="T17" fmla="*/ 6252 h 65"/>
                <a:gd name="T18" fmla="*/ 20638 w 242"/>
                <a:gd name="T19" fmla="*/ 3126 h 65"/>
                <a:gd name="T20" fmla="*/ 10319 w 242"/>
                <a:gd name="T21" fmla="*/ 0 h 65"/>
                <a:gd name="T22" fmla="*/ 3969 w 242"/>
                <a:gd name="T23" fmla="*/ 0 h 65"/>
                <a:gd name="T24" fmla="*/ 0 w 242"/>
                <a:gd name="T25" fmla="*/ 3126 h 6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42"/>
                <a:gd name="T40" fmla="*/ 0 h 65"/>
                <a:gd name="T41" fmla="*/ 242 w 242"/>
                <a:gd name="T42" fmla="*/ 65 h 6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42" h="65">
                  <a:moveTo>
                    <a:pt x="0" y="17"/>
                  </a:moveTo>
                  <a:lnTo>
                    <a:pt x="0" y="17"/>
                  </a:lnTo>
                  <a:lnTo>
                    <a:pt x="70" y="48"/>
                  </a:lnTo>
                  <a:lnTo>
                    <a:pt x="242" y="65"/>
                  </a:lnTo>
                  <a:lnTo>
                    <a:pt x="242" y="48"/>
                  </a:lnTo>
                  <a:lnTo>
                    <a:pt x="208" y="48"/>
                  </a:lnTo>
                  <a:lnTo>
                    <a:pt x="191" y="33"/>
                  </a:lnTo>
                  <a:lnTo>
                    <a:pt x="139" y="17"/>
                  </a:lnTo>
                  <a:lnTo>
                    <a:pt x="139" y="33"/>
                  </a:lnTo>
                  <a:lnTo>
                    <a:pt x="104" y="17"/>
                  </a:lnTo>
                  <a:lnTo>
                    <a:pt x="52" y="0"/>
                  </a:lnTo>
                  <a:lnTo>
                    <a:pt x="18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50" name="Freeform 135">
              <a:extLst>
                <a:ext uri="{FF2B5EF4-FFF2-40B4-BE49-F238E27FC236}">
                  <a16:creationId xmlns:a16="http://schemas.microsoft.com/office/drawing/2014/main" id="{F0A20B2C-E86E-EF67-2197-7D2335D68D3A}"/>
                </a:ext>
              </a:extLst>
            </p:cNvPr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7753415" y="4956652"/>
              <a:ext cx="26783" cy="0"/>
            </a:xfrm>
            <a:custGeom>
              <a:avLst/>
              <a:gdLst>
                <a:gd name="T0" fmla="*/ 0 w 37"/>
                <a:gd name="T1" fmla="*/ 0 w 37"/>
                <a:gd name="T2" fmla="*/ 3089 w 37"/>
                <a:gd name="T3" fmla="*/ 6951 w 37"/>
                <a:gd name="T4" fmla="*/ 0 w 37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  <a:gd name="T10" fmla="*/ 0 w 37"/>
                <a:gd name="T11" fmla="*/ 37 w 37"/>
              </a:gdLst>
              <a:ahLst/>
              <a:cxnLst>
                <a:cxn ang="T5">
                  <a:pos x="T0" y="0"/>
                </a:cxn>
                <a:cxn ang="T6">
                  <a:pos x="T1" y="0"/>
                </a:cxn>
                <a:cxn ang="T7">
                  <a:pos x="T2" y="0"/>
                </a:cxn>
                <a:cxn ang="T8">
                  <a:pos x="T3" y="0"/>
                </a:cxn>
                <a:cxn ang="T9">
                  <a:pos x="T4" y="0"/>
                </a:cxn>
              </a:cxnLst>
              <a:rect l="T10" t="0" r="T11" b="0"/>
              <a:pathLst>
                <a:path w="37">
                  <a:moveTo>
                    <a:pt x="0" y="0"/>
                  </a:moveTo>
                  <a:lnTo>
                    <a:pt x="0" y="0"/>
                  </a:lnTo>
                  <a:lnTo>
                    <a:pt x="18" y="0"/>
                  </a:lnTo>
                  <a:lnTo>
                    <a:pt x="37" y="0"/>
                  </a:lnTo>
                  <a:lnTo>
                    <a:pt x="0" y="0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51" name="Freeform 136">
              <a:extLst>
                <a:ext uri="{FF2B5EF4-FFF2-40B4-BE49-F238E27FC236}">
                  <a16:creationId xmlns:a16="http://schemas.microsoft.com/office/drawing/2014/main" id="{46D9F17C-3583-D3FA-CD5C-32AC2DD7B21B}"/>
                </a:ext>
              </a:extLst>
            </p:cNvPr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7570663" y="4816675"/>
              <a:ext cx="26783" cy="38328"/>
            </a:xfrm>
            <a:custGeom>
              <a:avLst/>
              <a:gdLst>
                <a:gd name="T0" fmla="*/ 0 w 35"/>
                <a:gd name="T1" fmla="*/ 2381 h 48"/>
                <a:gd name="T2" fmla="*/ 0 w 35"/>
                <a:gd name="T3" fmla="*/ 2381 h 48"/>
                <a:gd name="T4" fmla="*/ 4082 w 35"/>
                <a:gd name="T5" fmla="*/ 6350 h 48"/>
                <a:gd name="T6" fmla="*/ 7348 w 35"/>
                <a:gd name="T7" fmla="*/ 9525 h 48"/>
                <a:gd name="T8" fmla="*/ 7348 w 35"/>
                <a:gd name="T9" fmla="*/ 6350 h 48"/>
                <a:gd name="T10" fmla="*/ 4082 w 35"/>
                <a:gd name="T11" fmla="*/ 0 h 48"/>
                <a:gd name="T12" fmla="*/ 0 w 35"/>
                <a:gd name="T13" fmla="*/ 2381 h 4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5"/>
                <a:gd name="T22" fmla="*/ 0 h 48"/>
                <a:gd name="T23" fmla="*/ 35 w 35"/>
                <a:gd name="T24" fmla="*/ 48 h 4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5" h="48">
                  <a:moveTo>
                    <a:pt x="0" y="15"/>
                  </a:moveTo>
                  <a:lnTo>
                    <a:pt x="0" y="15"/>
                  </a:lnTo>
                  <a:lnTo>
                    <a:pt x="18" y="32"/>
                  </a:lnTo>
                  <a:lnTo>
                    <a:pt x="35" y="48"/>
                  </a:lnTo>
                  <a:lnTo>
                    <a:pt x="35" y="32"/>
                  </a:lnTo>
                  <a:lnTo>
                    <a:pt x="18" y="0"/>
                  </a:lnTo>
                  <a:lnTo>
                    <a:pt x="0" y="15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52" name="Freeform 137">
              <a:extLst>
                <a:ext uri="{FF2B5EF4-FFF2-40B4-BE49-F238E27FC236}">
                  <a16:creationId xmlns:a16="http://schemas.microsoft.com/office/drawing/2014/main" id="{1F79DE03-1E59-B845-F28B-1687E853F0F6}"/>
                </a:ext>
              </a:extLst>
            </p:cNvPr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7610050" y="4841671"/>
              <a:ext cx="14179" cy="13331"/>
            </a:xfrm>
            <a:custGeom>
              <a:avLst/>
              <a:gdLst>
                <a:gd name="T0" fmla="*/ 0 w 18"/>
                <a:gd name="T1" fmla="*/ 3175 h 16"/>
                <a:gd name="T2" fmla="*/ 0 w 18"/>
                <a:gd name="T3" fmla="*/ 3175 h 16"/>
                <a:gd name="T4" fmla="*/ 3969 w 18"/>
                <a:gd name="T5" fmla="*/ 3175 h 16"/>
                <a:gd name="T6" fmla="*/ 3969 w 18"/>
                <a:gd name="T7" fmla="*/ 0 h 16"/>
                <a:gd name="T8" fmla="*/ 0 w 18"/>
                <a:gd name="T9" fmla="*/ 0 h 16"/>
                <a:gd name="T10" fmla="*/ 0 w 18"/>
                <a:gd name="T11" fmla="*/ 3175 h 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8"/>
                <a:gd name="T19" fmla="*/ 0 h 16"/>
                <a:gd name="T20" fmla="*/ 18 w 18"/>
                <a:gd name="T21" fmla="*/ 16 h 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8" h="16">
                  <a:moveTo>
                    <a:pt x="0" y="16"/>
                  </a:moveTo>
                  <a:lnTo>
                    <a:pt x="0" y="16"/>
                  </a:lnTo>
                  <a:lnTo>
                    <a:pt x="18" y="16"/>
                  </a:lnTo>
                  <a:lnTo>
                    <a:pt x="18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53" name="Freeform 138">
              <a:extLst>
                <a:ext uri="{FF2B5EF4-FFF2-40B4-BE49-F238E27FC236}">
                  <a16:creationId xmlns:a16="http://schemas.microsoft.com/office/drawing/2014/main" id="{7C093485-ED2B-DFA4-6FFC-2026A22EF197}"/>
                </a:ext>
              </a:extLst>
            </p:cNvPr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7871574" y="4406742"/>
              <a:ext cx="78772" cy="114982"/>
            </a:xfrm>
            <a:custGeom>
              <a:avLst/>
              <a:gdLst>
                <a:gd name="T0" fmla="*/ 0 w 104"/>
                <a:gd name="T1" fmla="*/ 13588 h 143"/>
                <a:gd name="T2" fmla="*/ 0 w 104"/>
                <a:gd name="T3" fmla="*/ 13588 h 143"/>
                <a:gd name="T4" fmla="*/ 0 w 104"/>
                <a:gd name="T5" fmla="*/ 19183 h 143"/>
                <a:gd name="T6" fmla="*/ 3969 w 104"/>
                <a:gd name="T7" fmla="*/ 23180 h 143"/>
                <a:gd name="T8" fmla="*/ 3969 w 104"/>
                <a:gd name="T9" fmla="*/ 25578 h 143"/>
                <a:gd name="T10" fmla="*/ 7144 w 104"/>
                <a:gd name="T11" fmla="*/ 25578 h 143"/>
                <a:gd name="T12" fmla="*/ 10319 w 104"/>
                <a:gd name="T13" fmla="*/ 25578 h 143"/>
                <a:gd name="T14" fmla="*/ 14288 w 104"/>
                <a:gd name="T15" fmla="*/ 28775 h 143"/>
                <a:gd name="T16" fmla="*/ 14288 w 104"/>
                <a:gd name="T17" fmla="*/ 25578 h 143"/>
                <a:gd name="T18" fmla="*/ 17463 w 104"/>
                <a:gd name="T19" fmla="*/ 28775 h 143"/>
                <a:gd name="T20" fmla="*/ 20638 w 104"/>
                <a:gd name="T21" fmla="*/ 28775 h 143"/>
                <a:gd name="T22" fmla="*/ 17463 w 104"/>
                <a:gd name="T23" fmla="*/ 25578 h 143"/>
                <a:gd name="T24" fmla="*/ 20638 w 104"/>
                <a:gd name="T25" fmla="*/ 25578 h 143"/>
                <a:gd name="T26" fmla="*/ 14288 w 104"/>
                <a:gd name="T27" fmla="*/ 23180 h 143"/>
                <a:gd name="T28" fmla="*/ 10319 w 104"/>
                <a:gd name="T29" fmla="*/ 25578 h 143"/>
                <a:gd name="T30" fmla="*/ 7144 w 104"/>
                <a:gd name="T31" fmla="*/ 19183 h 143"/>
                <a:gd name="T32" fmla="*/ 14288 w 104"/>
                <a:gd name="T33" fmla="*/ 9592 h 143"/>
                <a:gd name="T34" fmla="*/ 10319 w 104"/>
                <a:gd name="T35" fmla="*/ 6394 h 143"/>
                <a:gd name="T36" fmla="*/ 14288 w 104"/>
                <a:gd name="T37" fmla="*/ 0 h 143"/>
                <a:gd name="T38" fmla="*/ 10319 w 104"/>
                <a:gd name="T39" fmla="*/ 3997 h 143"/>
                <a:gd name="T40" fmla="*/ 3969 w 104"/>
                <a:gd name="T41" fmla="*/ 0 h 143"/>
                <a:gd name="T42" fmla="*/ 0 w 104"/>
                <a:gd name="T43" fmla="*/ 13588 h 14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04"/>
                <a:gd name="T67" fmla="*/ 0 h 143"/>
                <a:gd name="T68" fmla="*/ 104 w 104"/>
                <a:gd name="T69" fmla="*/ 143 h 14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04" h="143">
                  <a:moveTo>
                    <a:pt x="0" y="65"/>
                  </a:moveTo>
                  <a:lnTo>
                    <a:pt x="0" y="65"/>
                  </a:lnTo>
                  <a:lnTo>
                    <a:pt x="0" y="95"/>
                  </a:lnTo>
                  <a:lnTo>
                    <a:pt x="17" y="113"/>
                  </a:lnTo>
                  <a:lnTo>
                    <a:pt x="17" y="128"/>
                  </a:lnTo>
                  <a:lnTo>
                    <a:pt x="34" y="128"/>
                  </a:lnTo>
                  <a:lnTo>
                    <a:pt x="52" y="128"/>
                  </a:lnTo>
                  <a:lnTo>
                    <a:pt x="69" y="143"/>
                  </a:lnTo>
                  <a:lnTo>
                    <a:pt x="69" y="128"/>
                  </a:lnTo>
                  <a:lnTo>
                    <a:pt x="86" y="143"/>
                  </a:lnTo>
                  <a:lnTo>
                    <a:pt x="104" y="143"/>
                  </a:lnTo>
                  <a:lnTo>
                    <a:pt x="86" y="128"/>
                  </a:lnTo>
                  <a:lnTo>
                    <a:pt x="104" y="128"/>
                  </a:lnTo>
                  <a:lnTo>
                    <a:pt x="69" y="113"/>
                  </a:lnTo>
                  <a:lnTo>
                    <a:pt x="52" y="128"/>
                  </a:lnTo>
                  <a:lnTo>
                    <a:pt x="34" y="95"/>
                  </a:lnTo>
                  <a:lnTo>
                    <a:pt x="69" y="48"/>
                  </a:lnTo>
                  <a:lnTo>
                    <a:pt x="52" y="32"/>
                  </a:lnTo>
                  <a:lnTo>
                    <a:pt x="69" y="0"/>
                  </a:lnTo>
                  <a:lnTo>
                    <a:pt x="52" y="17"/>
                  </a:lnTo>
                  <a:lnTo>
                    <a:pt x="17" y="0"/>
                  </a:lnTo>
                  <a:lnTo>
                    <a:pt x="0" y="65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54" name="Freeform 139">
              <a:extLst>
                <a:ext uri="{FF2B5EF4-FFF2-40B4-BE49-F238E27FC236}">
                  <a16:creationId xmlns:a16="http://schemas.microsoft.com/office/drawing/2014/main" id="{29A8F174-D730-30D3-19B8-EE37F217FCAF}"/>
                </a:ext>
              </a:extLst>
            </p:cNvPr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7808556" y="4560050"/>
              <a:ext cx="50414" cy="64990"/>
            </a:xfrm>
            <a:custGeom>
              <a:avLst/>
              <a:gdLst>
                <a:gd name="T0" fmla="*/ 0 w 69"/>
                <a:gd name="T1" fmla="*/ 15679 h 81"/>
                <a:gd name="T2" fmla="*/ 0 w 69"/>
                <a:gd name="T3" fmla="*/ 15679 h 81"/>
                <a:gd name="T4" fmla="*/ 13298 w 69"/>
                <a:gd name="T5" fmla="*/ 3136 h 81"/>
                <a:gd name="T6" fmla="*/ 13298 w 69"/>
                <a:gd name="T7" fmla="*/ 0 h 81"/>
                <a:gd name="T8" fmla="*/ 0 w 69"/>
                <a:gd name="T9" fmla="*/ 15679 h 8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9"/>
                <a:gd name="T16" fmla="*/ 0 h 81"/>
                <a:gd name="T17" fmla="*/ 69 w 69"/>
                <a:gd name="T18" fmla="*/ 81 h 8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9" h="81">
                  <a:moveTo>
                    <a:pt x="0" y="81"/>
                  </a:moveTo>
                  <a:lnTo>
                    <a:pt x="0" y="81"/>
                  </a:lnTo>
                  <a:lnTo>
                    <a:pt x="69" y="18"/>
                  </a:lnTo>
                  <a:lnTo>
                    <a:pt x="69" y="0"/>
                  </a:lnTo>
                  <a:lnTo>
                    <a:pt x="0" y="81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55" name="Freeform 140">
              <a:extLst>
                <a:ext uri="{FF2B5EF4-FFF2-40B4-BE49-F238E27FC236}">
                  <a16:creationId xmlns:a16="http://schemas.microsoft.com/office/drawing/2014/main" id="{91FDC577-BAF2-2AE8-526C-F716A5B7D6E9}"/>
                </a:ext>
              </a:extLst>
            </p:cNvPr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7871574" y="4521724"/>
              <a:ext cx="26782" cy="26662"/>
            </a:xfrm>
            <a:custGeom>
              <a:avLst/>
              <a:gdLst>
                <a:gd name="T0" fmla="*/ 0 w 36"/>
                <a:gd name="T1" fmla="*/ 0 h 33"/>
                <a:gd name="T2" fmla="*/ 0 w 36"/>
                <a:gd name="T3" fmla="*/ 0 h 33"/>
                <a:gd name="T4" fmla="*/ 7144 w 36"/>
                <a:gd name="T5" fmla="*/ 6158 h 33"/>
                <a:gd name="T6" fmla="*/ 7144 w 36"/>
                <a:gd name="T7" fmla="*/ 3079 h 33"/>
                <a:gd name="T8" fmla="*/ 7144 w 36"/>
                <a:gd name="T9" fmla="*/ 0 h 33"/>
                <a:gd name="T10" fmla="*/ 0 w 36"/>
                <a:gd name="T11" fmla="*/ 0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6"/>
                <a:gd name="T19" fmla="*/ 0 h 33"/>
                <a:gd name="T20" fmla="*/ 36 w 36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6" h="33">
                  <a:moveTo>
                    <a:pt x="0" y="0"/>
                  </a:moveTo>
                  <a:lnTo>
                    <a:pt x="0" y="0"/>
                  </a:lnTo>
                  <a:lnTo>
                    <a:pt x="36" y="33"/>
                  </a:lnTo>
                  <a:lnTo>
                    <a:pt x="36" y="18"/>
                  </a:lnTo>
                  <a:lnTo>
                    <a:pt x="36" y="0"/>
                  </a:lnTo>
                  <a:lnTo>
                    <a:pt x="0" y="0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56" name="Freeform 141">
              <a:extLst>
                <a:ext uri="{FF2B5EF4-FFF2-40B4-BE49-F238E27FC236}">
                  <a16:creationId xmlns:a16="http://schemas.microsoft.com/office/drawing/2014/main" id="{13735DF1-0A5C-5015-8E47-E5DBEAD5AB29}"/>
                </a:ext>
              </a:extLst>
            </p:cNvPr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7910959" y="4548386"/>
              <a:ext cx="53565" cy="63323"/>
            </a:xfrm>
            <a:custGeom>
              <a:avLst/>
              <a:gdLst>
                <a:gd name="T0" fmla="*/ 0 w 71"/>
                <a:gd name="T1" fmla="*/ 6272 h 81"/>
                <a:gd name="T2" fmla="*/ 0 w 71"/>
                <a:gd name="T3" fmla="*/ 6272 h 81"/>
                <a:gd name="T4" fmla="*/ 3130 w 71"/>
                <a:gd name="T5" fmla="*/ 6272 h 81"/>
                <a:gd name="T6" fmla="*/ 3130 w 71"/>
                <a:gd name="T7" fmla="*/ 9407 h 81"/>
                <a:gd name="T8" fmla="*/ 7043 w 71"/>
                <a:gd name="T9" fmla="*/ 15679 h 81"/>
                <a:gd name="T10" fmla="*/ 7043 w 71"/>
                <a:gd name="T11" fmla="*/ 11759 h 81"/>
                <a:gd name="T12" fmla="*/ 7043 w 71"/>
                <a:gd name="T13" fmla="*/ 9407 h 81"/>
                <a:gd name="T14" fmla="*/ 13304 w 71"/>
                <a:gd name="T15" fmla="*/ 11759 h 81"/>
                <a:gd name="T16" fmla="*/ 13304 w 71"/>
                <a:gd name="T17" fmla="*/ 9407 h 81"/>
                <a:gd name="T18" fmla="*/ 10174 w 71"/>
                <a:gd name="T19" fmla="*/ 9407 h 81"/>
                <a:gd name="T20" fmla="*/ 10174 w 71"/>
                <a:gd name="T21" fmla="*/ 2352 h 81"/>
                <a:gd name="T22" fmla="*/ 7043 w 71"/>
                <a:gd name="T23" fmla="*/ 6272 h 81"/>
                <a:gd name="T24" fmla="*/ 7043 w 71"/>
                <a:gd name="T25" fmla="*/ 2352 h 81"/>
                <a:gd name="T26" fmla="*/ 3130 w 71"/>
                <a:gd name="T27" fmla="*/ 0 h 81"/>
                <a:gd name="T28" fmla="*/ 0 w 71"/>
                <a:gd name="T29" fmla="*/ 0 h 81"/>
                <a:gd name="T30" fmla="*/ 0 w 71"/>
                <a:gd name="T31" fmla="*/ 6272 h 8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71"/>
                <a:gd name="T49" fmla="*/ 0 h 81"/>
                <a:gd name="T50" fmla="*/ 71 w 71"/>
                <a:gd name="T51" fmla="*/ 81 h 8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71" h="81">
                  <a:moveTo>
                    <a:pt x="0" y="33"/>
                  </a:moveTo>
                  <a:lnTo>
                    <a:pt x="0" y="33"/>
                  </a:lnTo>
                  <a:lnTo>
                    <a:pt x="19" y="33"/>
                  </a:lnTo>
                  <a:lnTo>
                    <a:pt x="19" y="48"/>
                  </a:lnTo>
                  <a:lnTo>
                    <a:pt x="36" y="81"/>
                  </a:lnTo>
                  <a:lnTo>
                    <a:pt x="36" y="63"/>
                  </a:lnTo>
                  <a:lnTo>
                    <a:pt x="36" y="48"/>
                  </a:lnTo>
                  <a:lnTo>
                    <a:pt x="71" y="63"/>
                  </a:lnTo>
                  <a:lnTo>
                    <a:pt x="71" y="48"/>
                  </a:lnTo>
                  <a:lnTo>
                    <a:pt x="53" y="48"/>
                  </a:lnTo>
                  <a:lnTo>
                    <a:pt x="53" y="15"/>
                  </a:lnTo>
                  <a:lnTo>
                    <a:pt x="36" y="33"/>
                  </a:lnTo>
                  <a:lnTo>
                    <a:pt x="36" y="15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33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57" name="Freeform 142">
              <a:extLst>
                <a:ext uri="{FF2B5EF4-FFF2-40B4-BE49-F238E27FC236}">
                  <a16:creationId xmlns:a16="http://schemas.microsoft.com/office/drawing/2014/main" id="{2462D57F-4B18-014C-C3D6-24790A708C91}"/>
                </a:ext>
              </a:extLst>
            </p:cNvPr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7910959" y="4586713"/>
              <a:ext cx="91376" cy="88319"/>
            </a:xfrm>
            <a:custGeom>
              <a:avLst/>
              <a:gdLst>
                <a:gd name="T0" fmla="*/ 0 w 123"/>
                <a:gd name="T1" fmla="*/ 16819 h 111"/>
                <a:gd name="T2" fmla="*/ 0 w 123"/>
                <a:gd name="T3" fmla="*/ 16819 h 111"/>
                <a:gd name="T4" fmla="*/ 3149 w 123"/>
                <a:gd name="T5" fmla="*/ 12814 h 111"/>
                <a:gd name="T6" fmla="*/ 7086 w 123"/>
                <a:gd name="T7" fmla="*/ 12814 h 111"/>
                <a:gd name="T8" fmla="*/ 10235 w 123"/>
                <a:gd name="T9" fmla="*/ 12814 h 111"/>
                <a:gd name="T10" fmla="*/ 13384 w 123"/>
                <a:gd name="T11" fmla="*/ 12814 h 111"/>
                <a:gd name="T12" fmla="*/ 10235 w 123"/>
                <a:gd name="T13" fmla="*/ 19222 h 111"/>
                <a:gd name="T14" fmla="*/ 17321 w 123"/>
                <a:gd name="T15" fmla="*/ 22425 h 111"/>
                <a:gd name="T16" fmla="*/ 20470 w 123"/>
                <a:gd name="T17" fmla="*/ 19222 h 111"/>
                <a:gd name="T18" fmla="*/ 17321 w 123"/>
                <a:gd name="T19" fmla="*/ 16819 h 111"/>
                <a:gd name="T20" fmla="*/ 20470 w 123"/>
                <a:gd name="T21" fmla="*/ 12814 h 111"/>
                <a:gd name="T22" fmla="*/ 23619 w 123"/>
                <a:gd name="T23" fmla="*/ 19222 h 111"/>
                <a:gd name="T24" fmla="*/ 23619 w 123"/>
                <a:gd name="T25" fmla="*/ 12814 h 111"/>
                <a:gd name="T26" fmla="*/ 23619 w 123"/>
                <a:gd name="T27" fmla="*/ 7208 h 111"/>
                <a:gd name="T28" fmla="*/ 17321 w 123"/>
                <a:gd name="T29" fmla="*/ 0 h 111"/>
                <a:gd name="T30" fmla="*/ 17321 w 123"/>
                <a:gd name="T31" fmla="*/ 7208 h 111"/>
                <a:gd name="T32" fmla="*/ 13384 w 123"/>
                <a:gd name="T33" fmla="*/ 7208 h 111"/>
                <a:gd name="T34" fmla="*/ 10235 w 123"/>
                <a:gd name="T35" fmla="*/ 9611 h 111"/>
                <a:gd name="T36" fmla="*/ 7086 w 123"/>
                <a:gd name="T37" fmla="*/ 7208 h 111"/>
                <a:gd name="T38" fmla="*/ 0 w 123"/>
                <a:gd name="T39" fmla="*/ 12814 h 111"/>
                <a:gd name="T40" fmla="*/ 0 w 123"/>
                <a:gd name="T41" fmla="*/ 16819 h 11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23"/>
                <a:gd name="T64" fmla="*/ 0 h 111"/>
                <a:gd name="T65" fmla="*/ 123 w 123"/>
                <a:gd name="T66" fmla="*/ 111 h 111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23" h="111">
                  <a:moveTo>
                    <a:pt x="0" y="81"/>
                  </a:moveTo>
                  <a:lnTo>
                    <a:pt x="0" y="81"/>
                  </a:lnTo>
                  <a:lnTo>
                    <a:pt x="19" y="63"/>
                  </a:lnTo>
                  <a:lnTo>
                    <a:pt x="36" y="63"/>
                  </a:lnTo>
                  <a:lnTo>
                    <a:pt x="53" y="63"/>
                  </a:lnTo>
                  <a:lnTo>
                    <a:pt x="71" y="63"/>
                  </a:lnTo>
                  <a:lnTo>
                    <a:pt x="53" y="96"/>
                  </a:lnTo>
                  <a:lnTo>
                    <a:pt x="88" y="111"/>
                  </a:lnTo>
                  <a:lnTo>
                    <a:pt x="105" y="96"/>
                  </a:lnTo>
                  <a:lnTo>
                    <a:pt x="88" y="81"/>
                  </a:lnTo>
                  <a:lnTo>
                    <a:pt x="105" y="63"/>
                  </a:lnTo>
                  <a:lnTo>
                    <a:pt x="123" y="96"/>
                  </a:lnTo>
                  <a:lnTo>
                    <a:pt x="123" y="63"/>
                  </a:lnTo>
                  <a:lnTo>
                    <a:pt x="123" y="33"/>
                  </a:lnTo>
                  <a:lnTo>
                    <a:pt x="88" y="0"/>
                  </a:lnTo>
                  <a:lnTo>
                    <a:pt x="88" y="33"/>
                  </a:lnTo>
                  <a:lnTo>
                    <a:pt x="71" y="33"/>
                  </a:lnTo>
                  <a:lnTo>
                    <a:pt x="53" y="48"/>
                  </a:lnTo>
                  <a:lnTo>
                    <a:pt x="36" y="33"/>
                  </a:lnTo>
                  <a:lnTo>
                    <a:pt x="0" y="63"/>
                  </a:lnTo>
                  <a:lnTo>
                    <a:pt x="0" y="81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58" name="Freeform 153">
              <a:extLst>
                <a:ext uri="{FF2B5EF4-FFF2-40B4-BE49-F238E27FC236}">
                  <a16:creationId xmlns:a16="http://schemas.microsoft.com/office/drawing/2014/main" id="{D81383E0-A112-DCE5-B433-A51CCFA0C4A3}"/>
                </a:ext>
              </a:extLst>
            </p:cNvPr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7964525" y="4535055"/>
              <a:ext cx="26783" cy="51658"/>
            </a:xfrm>
            <a:custGeom>
              <a:avLst/>
              <a:gdLst>
                <a:gd name="T0" fmla="*/ 0 w 34"/>
                <a:gd name="T1" fmla="*/ 0 h 63"/>
                <a:gd name="T2" fmla="*/ 0 w 34"/>
                <a:gd name="T3" fmla="*/ 0 h 63"/>
                <a:gd name="T4" fmla="*/ 4202 w 34"/>
                <a:gd name="T5" fmla="*/ 3225 h 63"/>
                <a:gd name="T6" fmla="*/ 0 w 34"/>
                <a:gd name="T7" fmla="*/ 6451 h 63"/>
                <a:gd name="T8" fmla="*/ 0 w 34"/>
                <a:gd name="T9" fmla="*/ 9676 h 63"/>
                <a:gd name="T10" fmla="*/ 0 w 34"/>
                <a:gd name="T11" fmla="*/ 12902 h 63"/>
                <a:gd name="T12" fmla="*/ 4202 w 34"/>
                <a:gd name="T13" fmla="*/ 12902 h 63"/>
                <a:gd name="T14" fmla="*/ 4202 w 34"/>
                <a:gd name="T15" fmla="*/ 6451 h 63"/>
                <a:gd name="T16" fmla="*/ 8404 w 34"/>
                <a:gd name="T17" fmla="*/ 6451 h 63"/>
                <a:gd name="T18" fmla="*/ 4202 w 34"/>
                <a:gd name="T19" fmla="*/ 3225 h 63"/>
                <a:gd name="T20" fmla="*/ 4202 w 34"/>
                <a:gd name="T21" fmla="*/ 0 h 63"/>
                <a:gd name="T22" fmla="*/ 0 w 34"/>
                <a:gd name="T23" fmla="*/ 0 h 6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4"/>
                <a:gd name="T37" fmla="*/ 0 h 63"/>
                <a:gd name="T38" fmla="*/ 34 w 34"/>
                <a:gd name="T39" fmla="*/ 63 h 6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4" h="63">
                  <a:moveTo>
                    <a:pt x="0" y="0"/>
                  </a:moveTo>
                  <a:lnTo>
                    <a:pt x="0" y="0"/>
                  </a:lnTo>
                  <a:lnTo>
                    <a:pt x="17" y="15"/>
                  </a:lnTo>
                  <a:lnTo>
                    <a:pt x="0" y="30"/>
                  </a:lnTo>
                  <a:lnTo>
                    <a:pt x="0" y="48"/>
                  </a:lnTo>
                  <a:lnTo>
                    <a:pt x="0" y="63"/>
                  </a:lnTo>
                  <a:lnTo>
                    <a:pt x="17" y="63"/>
                  </a:lnTo>
                  <a:lnTo>
                    <a:pt x="17" y="30"/>
                  </a:lnTo>
                  <a:lnTo>
                    <a:pt x="34" y="30"/>
                  </a:lnTo>
                  <a:lnTo>
                    <a:pt x="17" y="15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59" name="Freeform 154">
              <a:extLst>
                <a:ext uri="{FF2B5EF4-FFF2-40B4-BE49-F238E27FC236}">
                  <a16:creationId xmlns:a16="http://schemas.microsoft.com/office/drawing/2014/main" id="{E3658EB7-3C71-525F-7DAE-3960C487F965}"/>
                </a:ext>
              </a:extLst>
            </p:cNvPr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7509221" y="4496728"/>
              <a:ext cx="99253" cy="74988"/>
            </a:xfrm>
            <a:custGeom>
              <a:avLst/>
              <a:gdLst>
                <a:gd name="T0" fmla="*/ 2922 w 251"/>
                <a:gd name="T1" fmla="*/ 5543 h 175"/>
                <a:gd name="T2" fmla="*/ 2922 w 251"/>
                <a:gd name="T3" fmla="*/ 5543 h 175"/>
                <a:gd name="T4" fmla="*/ 4592 w 251"/>
                <a:gd name="T5" fmla="*/ 4264 h 175"/>
                <a:gd name="T6" fmla="*/ 5427 w 251"/>
                <a:gd name="T7" fmla="*/ 3411 h 175"/>
                <a:gd name="T8" fmla="*/ 7096 w 251"/>
                <a:gd name="T9" fmla="*/ 2558 h 175"/>
                <a:gd name="T10" fmla="*/ 7096 w 251"/>
                <a:gd name="T11" fmla="*/ 0 h 175"/>
                <a:gd name="T12" fmla="*/ 5427 w 251"/>
                <a:gd name="T13" fmla="*/ 0 h 175"/>
                <a:gd name="T14" fmla="*/ 5427 w 251"/>
                <a:gd name="T15" fmla="*/ 853 h 175"/>
                <a:gd name="T16" fmla="*/ 4592 w 251"/>
                <a:gd name="T17" fmla="*/ 0 h 175"/>
                <a:gd name="T18" fmla="*/ 835 w 251"/>
                <a:gd name="T19" fmla="*/ 0 h 175"/>
                <a:gd name="T20" fmla="*/ 0 w 251"/>
                <a:gd name="T21" fmla="*/ 1705 h 175"/>
                <a:gd name="T22" fmla="*/ 835 w 251"/>
                <a:gd name="T23" fmla="*/ 3411 h 175"/>
                <a:gd name="T24" fmla="*/ 835 w 251"/>
                <a:gd name="T25" fmla="*/ 4264 h 175"/>
                <a:gd name="T26" fmla="*/ 835 w 251"/>
                <a:gd name="T27" fmla="*/ 5543 h 175"/>
                <a:gd name="T28" fmla="*/ 2922 w 251"/>
                <a:gd name="T29" fmla="*/ 5543 h 17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51"/>
                <a:gd name="T46" fmla="*/ 0 h 175"/>
                <a:gd name="T47" fmla="*/ 251 w 251"/>
                <a:gd name="T48" fmla="*/ 175 h 17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51" h="175">
                  <a:moveTo>
                    <a:pt x="94" y="175"/>
                  </a:moveTo>
                  <a:lnTo>
                    <a:pt x="94" y="175"/>
                  </a:lnTo>
                  <a:lnTo>
                    <a:pt x="157" y="146"/>
                  </a:lnTo>
                  <a:lnTo>
                    <a:pt x="188" y="117"/>
                  </a:lnTo>
                  <a:lnTo>
                    <a:pt x="251" y="89"/>
                  </a:lnTo>
                  <a:lnTo>
                    <a:pt x="251" y="0"/>
                  </a:lnTo>
                  <a:lnTo>
                    <a:pt x="188" y="0"/>
                  </a:lnTo>
                  <a:lnTo>
                    <a:pt x="188" y="31"/>
                  </a:lnTo>
                  <a:lnTo>
                    <a:pt x="157" y="0"/>
                  </a:lnTo>
                  <a:lnTo>
                    <a:pt x="30" y="0"/>
                  </a:lnTo>
                  <a:lnTo>
                    <a:pt x="0" y="60"/>
                  </a:lnTo>
                  <a:lnTo>
                    <a:pt x="30" y="117"/>
                  </a:lnTo>
                  <a:lnTo>
                    <a:pt x="30" y="146"/>
                  </a:lnTo>
                  <a:lnTo>
                    <a:pt x="30" y="175"/>
                  </a:lnTo>
                  <a:lnTo>
                    <a:pt x="94" y="175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60" name="Freeform 155">
              <a:extLst>
                <a:ext uri="{FF2B5EF4-FFF2-40B4-BE49-F238E27FC236}">
                  <a16:creationId xmlns:a16="http://schemas.microsoft.com/office/drawing/2014/main" id="{CAD56FA4-ED49-0749-0481-B14726F86744}"/>
                </a:ext>
              </a:extLst>
            </p:cNvPr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7203585" y="4240103"/>
              <a:ext cx="105554" cy="116647"/>
            </a:xfrm>
            <a:custGeom>
              <a:avLst/>
              <a:gdLst>
                <a:gd name="T0" fmla="*/ 27781 w 140"/>
                <a:gd name="T1" fmla="*/ 26194 h 144"/>
                <a:gd name="T2" fmla="*/ 27781 w 140"/>
                <a:gd name="T3" fmla="*/ 26194 h 144"/>
                <a:gd name="T4" fmla="*/ 23812 w 140"/>
                <a:gd name="T5" fmla="*/ 15875 h 144"/>
                <a:gd name="T6" fmla="*/ 23812 w 140"/>
                <a:gd name="T7" fmla="*/ 12700 h 144"/>
                <a:gd name="T8" fmla="*/ 20637 w 140"/>
                <a:gd name="T9" fmla="*/ 15875 h 144"/>
                <a:gd name="T10" fmla="*/ 17462 w 140"/>
                <a:gd name="T11" fmla="*/ 15875 h 144"/>
                <a:gd name="T12" fmla="*/ 17462 w 140"/>
                <a:gd name="T13" fmla="*/ 12700 h 144"/>
                <a:gd name="T14" fmla="*/ 23812 w 140"/>
                <a:gd name="T15" fmla="*/ 7144 h 144"/>
                <a:gd name="T16" fmla="*/ 10319 w 140"/>
                <a:gd name="T17" fmla="*/ 7144 h 144"/>
                <a:gd name="T18" fmla="*/ 10319 w 140"/>
                <a:gd name="T19" fmla="*/ 0 h 144"/>
                <a:gd name="T20" fmla="*/ 7144 w 140"/>
                <a:gd name="T21" fmla="*/ 0 h 144"/>
                <a:gd name="T22" fmla="*/ 3175 w 140"/>
                <a:gd name="T23" fmla="*/ 0 h 144"/>
                <a:gd name="T24" fmla="*/ 3175 w 140"/>
                <a:gd name="T25" fmla="*/ 3175 h 144"/>
                <a:gd name="T26" fmla="*/ 0 w 140"/>
                <a:gd name="T27" fmla="*/ 9525 h 144"/>
                <a:gd name="T28" fmla="*/ 3175 w 140"/>
                <a:gd name="T29" fmla="*/ 9525 h 144"/>
                <a:gd name="T30" fmla="*/ 7144 w 140"/>
                <a:gd name="T31" fmla="*/ 26194 h 144"/>
                <a:gd name="T32" fmla="*/ 14287 w 140"/>
                <a:gd name="T33" fmla="*/ 26194 h 144"/>
                <a:gd name="T34" fmla="*/ 20637 w 140"/>
                <a:gd name="T35" fmla="*/ 19050 h 144"/>
                <a:gd name="T36" fmla="*/ 23812 w 140"/>
                <a:gd name="T37" fmla="*/ 28575 h 144"/>
                <a:gd name="T38" fmla="*/ 27781 w 140"/>
                <a:gd name="T39" fmla="*/ 26194 h 14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0"/>
                <a:gd name="T61" fmla="*/ 0 h 144"/>
                <a:gd name="T62" fmla="*/ 140 w 140"/>
                <a:gd name="T63" fmla="*/ 144 h 14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0" h="144">
                  <a:moveTo>
                    <a:pt x="140" y="129"/>
                  </a:moveTo>
                  <a:lnTo>
                    <a:pt x="140" y="129"/>
                  </a:lnTo>
                  <a:lnTo>
                    <a:pt x="123" y="81"/>
                  </a:lnTo>
                  <a:lnTo>
                    <a:pt x="123" y="64"/>
                  </a:lnTo>
                  <a:lnTo>
                    <a:pt x="105" y="81"/>
                  </a:lnTo>
                  <a:lnTo>
                    <a:pt x="88" y="81"/>
                  </a:lnTo>
                  <a:lnTo>
                    <a:pt x="88" y="64"/>
                  </a:lnTo>
                  <a:lnTo>
                    <a:pt x="123" y="33"/>
                  </a:lnTo>
                  <a:lnTo>
                    <a:pt x="52" y="33"/>
                  </a:lnTo>
                  <a:lnTo>
                    <a:pt x="52" y="0"/>
                  </a:lnTo>
                  <a:lnTo>
                    <a:pt x="34" y="0"/>
                  </a:lnTo>
                  <a:lnTo>
                    <a:pt x="17" y="0"/>
                  </a:lnTo>
                  <a:lnTo>
                    <a:pt x="17" y="16"/>
                  </a:lnTo>
                  <a:lnTo>
                    <a:pt x="0" y="48"/>
                  </a:lnTo>
                  <a:lnTo>
                    <a:pt x="17" y="48"/>
                  </a:lnTo>
                  <a:lnTo>
                    <a:pt x="34" y="129"/>
                  </a:lnTo>
                  <a:lnTo>
                    <a:pt x="69" y="129"/>
                  </a:lnTo>
                  <a:lnTo>
                    <a:pt x="105" y="96"/>
                  </a:lnTo>
                  <a:lnTo>
                    <a:pt x="123" y="144"/>
                  </a:lnTo>
                  <a:lnTo>
                    <a:pt x="140" y="129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61" name="Freeform 156">
              <a:extLst>
                <a:ext uri="{FF2B5EF4-FFF2-40B4-BE49-F238E27FC236}">
                  <a16:creationId xmlns:a16="http://schemas.microsoft.com/office/drawing/2014/main" id="{9D99396E-6B6F-777D-9174-687500BE7DF3}"/>
                </a:ext>
              </a:extLst>
            </p:cNvPr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7298112" y="4201777"/>
              <a:ext cx="181176" cy="396601"/>
            </a:xfrm>
            <a:custGeom>
              <a:avLst/>
              <a:gdLst>
                <a:gd name="T0" fmla="*/ 34131 w 240"/>
                <a:gd name="T1" fmla="*/ 98624 h 495"/>
                <a:gd name="T2" fmla="*/ 34131 w 240"/>
                <a:gd name="T3" fmla="*/ 98624 h 495"/>
                <a:gd name="T4" fmla="*/ 41275 w 240"/>
                <a:gd name="T5" fmla="*/ 85898 h 495"/>
                <a:gd name="T6" fmla="*/ 38100 w 240"/>
                <a:gd name="T7" fmla="*/ 76354 h 495"/>
                <a:gd name="T8" fmla="*/ 34131 w 240"/>
                <a:gd name="T9" fmla="*/ 69991 h 495"/>
                <a:gd name="T10" fmla="*/ 34131 w 240"/>
                <a:gd name="T11" fmla="*/ 64424 h 495"/>
                <a:gd name="T12" fmla="*/ 30956 w 240"/>
                <a:gd name="T13" fmla="*/ 54879 h 495"/>
                <a:gd name="T14" fmla="*/ 30956 w 240"/>
                <a:gd name="T15" fmla="*/ 47721 h 495"/>
                <a:gd name="T16" fmla="*/ 44450 w 240"/>
                <a:gd name="T17" fmla="*/ 41358 h 495"/>
                <a:gd name="T18" fmla="*/ 47625 w 240"/>
                <a:gd name="T19" fmla="*/ 35791 h 495"/>
                <a:gd name="T20" fmla="*/ 44450 w 240"/>
                <a:gd name="T21" fmla="*/ 35791 h 495"/>
                <a:gd name="T22" fmla="*/ 38100 w 240"/>
                <a:gd name="T23" fmla="*/ 31814 h 495"/>
                <a:gd name="T24" fmla="*/ 38100 w 240"/>
                <a:gd name="T25" fmla="*/ 28633 h 495"/>
                <a:gd name="T26" fmla="*/ 38100 w 240"/>
                <a:gd name="T27" fmla="*/ 26247 h 495"/>
                <a:gd name="T28" fmla="*/ 34131 w 240"/>
                <a:gd name="T29" fmla="*/ 22270 h 495"/>
                <a:gd name="T30" fmla="*/ 30956 w 240"/>
                <a:gd name="T31" fmla="*/ 22270 h 495"/>
                <a:gd name="T32" fmla="*/ 34131 w 240"/>
                <a:gd name="T33" fmla="*/ 7158 h 495"/>
                <a:gd name="T34" fmla="*/ 30956 w 240"/>
                <a:gd name="T35" fmla="*/ 0 h 495"/>
                <a:gd name="T36" fmla="*/ 27781 w 240"/>
                <a:gd name="T37" fmla="*/ 0 h 495"/>
                <a:gd name="T38" fmla="*/ 27781 w 240"/>
                <a:gd name="T39" fmla="*/ 7158 h 495"/>
                <a:gd name="T40" fmla="*/ 20638 w 240"/>
                <a:gd name="T41" fmla="*/ 7158 h 495"/>
                <a:gd name="T42" fmla="*/ 17463 w 240"/>
                <a:gd name="T43" fmla="*/ 9544 h 495"/>
                <a:gd name="T44" fmla="*/ 10319 w 240"/>
                <a:gd name="T45" fmla="*/ 22270 h 495"/>
                <a:gd name="T46" fmla="*/ 7144 w 240"/>
                <a:gd name="T47" fmla="*/ 26247 h 495"/>
                <a:gd name="T48" fmla="*/ 3969 w 240"/>
                <a:gd name="T49" fmla="*/ 31814 h 495"/>
                <a:gd name="T50" fmla="*/ 3969 w 240"/>
                <a:gd name="T51" fmla="*/ 35791 h 495"/>
                <a:gd name="T52" fmla="*/ 0 w 240"/>
                <a:gd name="T53" fmla="*/ 38177 h 495"/>
                <a:gd name="T54" fmla="*/ 7144 w 240"/>
                <a:gd name="T55" fmla="*/ 45335 h 495"/>
                <a:gd name="T56" fmla="*/ 10319 w 240"/>
                <a:gd name="T57" fmla="*/ 50903 h 495"/>
                <a:gd name="T58" fmla="*/ 14288 w 240"/>
                <a:gd name="T59" fmla="*/ 60447 h 495"/>
                <a:gd name="T60" fmla="*/ 10319 w 240"/>
                <a:gd name="T61" fmla="*/ 64424 h 495"/>
                <a:gd name="T62" fmla="*/ 17463 w 240"/>
                <a:gd name="T63" fmla="*/ 66810 h 495"/>
                <a:gd name="T64" fmla="*/ 23813 w 240"/>
                <a:gd name="T65" fmla="*/ 60447 h 495"/>
                <a:gd name="T66" fmla="*/ 27781 w 240"/>
                <a:gd name="T67" fmla="*/ 64424 h 495"/>
                <a:gd name="T68" fmla="*/ 34131 w 240"/>
                <a:gd name="T69" fmla="*/ 83512 h 495"/>
                <a:gd name="T70" fmla="*/ 34131 w 240"/>
                <a:gd name="T71" fmla="*/ 98624 h 49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40"/>
                <a:gd name="T109" fmla="*/ 0 h 495"/>
                <a:gd name="T110" fmla="*/ 240 w 240"/>
                <a:gd name="T111" fmla="*/ 495 h 495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40" h="495">
                  <a:moveTo>
                    <a:pt x="172" y="495"/>
                  </a:moveTo>
                  <a:lnTo>
                    <a:pt x="172" y="495"/>
                  </a:lnTo>
                  <a:lnTo>
                    <a:pt x="205" y="432"/>
                  </a:lnTo>
                  <a:lnTo>
                    <a:pt x="190" y="384"/>
                  </a:lnTo>
                  <a:lnTo>
                    <a:pt x="172" y="351"/>
                  </a:lnTo>
                  <a:lnTo>
                    <a:pt x="172" y="321"/>
                  </a:lnTo>
                  <a:lnTo>
                    <a:pt x="155" y="273"/>
                  </a:lnTo>
                  <a:lnTo>
                    <a:pt x="155" y="240"/>
                  </a:lnTo>
                  <a:lnTo>
                    <a:pt x="222" y="208"/>
                  </a:lnTo>
                  <a:lnTo>
                    <a:pt x="240" y="177"/>
                  </a:lnTo>
                  <a:lnTo>
                    <a:pt x="222" y="177"/>
                  </a:lnTo>
                  <a:lnTo>
                    <a:pt x="190" y="160"/>
                  </a:lnTo>
                  <a:lnTo>
                    <a:pt x="190" y="144"/>
                  </a:lnTo>
                  <a:lnTo>
                    <a:pt x="190" y="129"/>
                  </a:lnTo>
                  <a:lnTo>
                    <a:pt x="172" y="112"/>
                  </a:lnTo>
                  <a:lnTo>
                    <a:pt x="155" y="112"/>
                  </a:lnTo>
                  <a:lnTo>
                    <a:pt x="172" y="33"/>
                  </a:lnTo>
                  <a:lnTo>
                    <a:pt x="155" y="0"/>
                  </a:lnTo>
                  <a:lnTo>
                    <a:pt x="138" y="0"/>
                  </a:lnTo>
                  <a:lnTo>
                    <a:pt x="138" y="33"/>
                  </a:lnTo>
                  <a:lnTo>
                    <a:pt x="103" y="33"/>
                  </a:lnTo>
                  <a:lnTo>
                    <a:pt x="86" y="48"/>
                  </a:lnTo>
                  <a:lnTo>
                    <a:pt x="51" y="112"/>
                  </a:lnTo>
                  <a:lnTo>
                    <a:pt x="34" y="129"/>
                  </a:lnTo>
                  <a:lnTo>
                    <a:pt x="17" y="160"/>
                  </a:lnTo>
                  <a:lnTo>
                    <a:pt x="17" y="177"/>
                  </a:lnTo>
                  <a:lnTo>
                    <a:pt x="0" y="192"/>
                  </a:lnTo>
                  <a:lnTo>
                    <a:pt x="34" y="225"/>
                  </a:lnTo>
                  <a:lnTo>
                    <a:pt x="51" y="256"/>
                  </a:lnTo>
                  <a:lnTo>
                    <a:pt x="69" y="304"/>
                  </a:lnTo>
                  <a:lnTo>
                    <a:pt x="51" y="321"/>
                  </a:lnTo>
                  <a:lnTo>
                    <a:pt x="86" y="336"/>
                  </a:lnTo>
                  <a:lnTo>
                    <a:pt x="121" y="304"/>
                  </a:lnTo>
                  <a:lnTo>
                    <a:pt x="138" y="321"/>
                  </a:lnTo>
                  <a:lnTo>
                    <a:pt x="172" y="417"/>
                  </a:lnTo>
                  <a:lnTo>
                    <a:pt x="172" y="495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62" name="Freeform 157">
              <a:extLst>
                <a:ext uri="{FF2B5EF4-FFF2-40B4-BE49-F238E27FC236}">
                  <a16:creationId xmlns:a16="http://schemas.microsoft.com/office/drawing/2014/main" id="{CBC8A2D9-9FBB-3081-4EC1-9A5D1D290F73}"/>
                </a:ext>
              </a:extLst>
            </p:cNvPr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7466684" y="4330088"/>
              <a:ext cx="143366" cy="179970"/>
            </a:xfrm>
            <a:custGeom>
              <a:avLst/>
              <a:gdLst>
                <a:gd name="T0" fmla="*/ 38100 w 190"/>
                <a:gd name="T1" fmla="*/ 42069 h 224"/>
                <a:gd name="T2" fmla="*/ 38100 w 190"/>
                <a:gd name="T3" fmla="*/ 42069 h 224"/>
                <a:gd name="T4" fmla="*/ 38100 w 190"/>
                <a:gd name="T5" fmla="*/ 34925 h 224"/>
                <a:gd name="T6" fmla="*/ 30956 w 190"/>
                <a:gd name="T7" fmla="*/ 28575 h 224"/>
                <a:gd name="T8" fmla="*/ 30956 w 190"/>
                <a:gd name="T9" fmla="*/ 25400 h 224"/>
                <a:gd name="T10" fmla="*/ 17463 w 190"/>
                <a:gd name="T11" fmla="*/ 15875 h 224"/>
                <a:gd name="T12" fmla="*/ 23813 w 190"/>
                <a:gd name="T13" fmla="*/ 13494 h 224"/>
                <a:gd name="T14" fmla="*/ 20638 w 190"/>
                <a:gd name="T15" fmla="*/ 9525 h 224"/>
                <a:gd name="T16" fmla="*/ 14288 w 190"/>
                <a:gd name="T17" fmla="*/ 6350 h 224"/>
                <a:gd name="T18" fmla="*/ 10319 w 190"/>
                <a:gd name="T19" fmla="*/ 0 h 224"/>
                <a:gd name="T20" fmla="*/ 7144 w 190"/>
                <a:gd name="T21" fmla="*/ 0 h 224"/>
                <a:gd name="T22" fmla="*/ 7144 w 190"/>
                <a:gd name="T23" fmla="*/ 6350 h 224"/>
                <a:gd name="T24" fmla="*/ 3969 w 190"/>
                <a:gd name="T25" fmla="*/ 6350 h 224"/>
                <a:gd name="T26" fmla="*/ 3969 w 190"/>
                <a:gd name="T27" fmla="*/ 3969 h 224"/>
                <a:gd name="T28" fmla="*/ 0 w 190"/>
                <a:gd name="T29" fmla="*/ 9525 h 224"/>
                <a:gd name="T30" fmla="*/ 0 w 190"/>
                <a:gd name="T31" fmla="*/ 13494 h 224"/>
                <a:gd name="T32" fmla="*/ 3969 w 190"/>
                <a:gd name="T33" fmla="*/ 15875 h 224"/>
                <a:gd name="T34" fmla="*/ 3969 w 190"/>
                <a:gd name="T35" fmla="*/ 25400 h 224"/>
                <a:gd name="T36" fmla="*/ 10319 w 190"/>
                <a:gd name="T37" fmla="*/ 22225 h 224"/>
                <a:gd name="T38" fmla="*/ 17463 w 190"/>
                <a:gd name="T39" fmla="*/ 19050 h 224"/>
                <a:gd name="T40" fmla="*/ 20638 w 190"/>
                <a:gd name="T41" fmla="*/ 25400 h 224"/>
                <a:gd name="T42" fmla="*/ 23813 w 190"/>
                <a:gd name="T43" fmla="*/ 32544 h 224"/>
                <a:gd name="T44" fmla="*/ 27781 w 190"/>
                <a:gd name="T45" fmla="*/ 34925 h 224"/>
                <a:gd name="T46" fmla="*/ 27781 w 190"/>
                <a:gd name="T47" fmla="*/ 42069 h 224"/>
                <a:gd name="T48" fmla="*/ 30956 w 190"/>
                <a:gd name="T49" fmla="*/ 44450 h 224"/>
                <a:gd name="T50" fmla="*/ 30956 w 190"/>
                <a:gd name="T51" fmla="*/ 42069 h 224"/>
                <a:gd name="T52" fmla="*/ 38100 w 190"/>
                <a:gd name="T53" fmla="*/ 42069 h 22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90"/>
                <a:gd name="T82" fmla="*/ 0 h 224"/>
                <a:gd name="T83" fmla="*/ 190 w 190"/>
                <a:gd name="T84" fmla="*/ 224 h 22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90" h="224">
                  <a:moveTo>
                    <a:pt x="190" y="209"/>
                  </a:moveTo>
                  <a:lnTo>
                    <a:pt x="190" y="209"/>
                  </a:lnTo>
                  <a:lnTo>
                    <a:pt x="190" y="176"/>
                  </a:lnTo>
                  <a:lnTo>
                    <a:pt x="156" y="144"/>
                  </a:lnTo>
                  <a:lnTo>
                    <a:pt x="156" y="128"/>
                  </a:lnTo>
                  <a:lnTo>
                    <a:pt x="87" y="80"/>
                  </a:lnTo>
                  <a:lnTo>
                    <a:pt x="121" y="65"/>
                  </a:lnTo>
                  <a:lnTo>
                    <a:pt x="104" y="48"/>
                  </a:lnTo>
                  <a:lnTo>
                    <a:pt x="69" y="32"/>
                  </a:lnTo>
                  <a:lnTo>
                    <a:pt x="52" y="0"/>
                  </a:lnTo>
                  <a:lnTo>
                    <a:pt x="35" y="0"/>
                  </a:lnTo>
                  <a:lnTo>
                    <a:pt x="35" y="32"/>
                  </a:lnTo>
                  <a:lnTo>
                    <a:pt x="18" y="32"/>
                  </a:lnTo>
                  <a:lnTo>
                    <a:pt x="18" y="17"/>
                  </a:lnTo>
                  <a:lnTo>
                    <a:pt x="0" y="48"/>
                  </a:lnTo>
                  <a:lnTo>
                    <a:pt x="0" y="65"/>
                  </a:lnTo>
                  <a:lnTo>
                    <a:pt x="18" y="80"/>
                  </a:lnTo>
                  <a:lnTo>
                    <a:pt x="18" y="128"/>
                  </a:lnTo>
                  <a:lnTo>
                    <a:pt x="52" y="113"/>
                  </a:lnTo>
                  <a:lnTo>
                    <a:pt x="87" y="96"/>
                  </a:lnTo>
                  <a:lnTo>
                    <a:pt x="104" y="128"/>
                  </a:lnTo>
                  <a:lnTo>
                    <a:pt x="121" y="161"/>
                  </a:lnTo>
                  <a:lnTo>
                    <a:pt x="138" y="176"/>
                  </a:lnTo>
                  <a:lnTo>
                    <a:pt x="138" y="209"/>
                  </a:lnTo>
                  <a:lnTo>
                    <a:pt x="156" y="224"/>
                  </a:lnTo>
                  <a:lnTo>
                    <a:pt x="156" y="209"/>
                  </a:lnTo>
                  <a:lnTo>
                    <a:pt x="190" y="209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63" name="Freeform 158">
              <a:extLst>
                <a:ext uri="{FF2B5EF4-FFF2-40B4-BE49-F238E27FC236}">
                  <a16:creationId xmlns:a16="http://schemas.microsoft.com/office/drawing/2014/main" id="{B8C26C65-C6D7-661C-2A72-7A4342BF9B6C}"/>
                </a:ext>
              </a:extLst>
            </p:cNvPr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7506070" y="4316757"/>
              <a:ext cx="143365" cy="294952"/>
            </a:xfrm>
            <a:custGeom>
              <a:avLst/>
              <a:gdLst>
                <a:gd name="T0" fmla="*/ 0 w 190"/>
                <a:gd name="T1" fmla="*/ 3166 h 369"/>
                <a:gd name="T2" fmla="*/ 0 w 190"/>
                <a:gd name="T3" fmla="*/ 3166 h 369"/>
                <a:gd name="T4" fmla="*/ 0 w 190"/>
                <a:gd name="T5" fmla="*/ 0 h 369"/>
                <a:gd name="T6" fmla="*/ 3969 w 190"/>
                <a:gd name="T7" fmla="*/ 3166 h 369"/>
                <a:gd name="T8" fmla="*/ 17463 w 190"/>
                <a:gd name="T9" fmla="*/ 0 h 369"/>
                <a:gd name="T10" fmla="*/ 23813 w 190"/>
                <a:gd name="T11" fmla="*/ 0 h 369"/>
                <a:gd name="T12" fmla="*/ 23813 w 190"/>
                <a:gd name="T13" fmla="*/ 6333 h 369"/>
                <a:gd name="T14" fmla="*/ 30956 w 190"/>
                <a:gd name="T15" fmla="*/ 6333 h 369"/>
                <a:gd name="T16" fmla="*/ 23813 w 190"/>
                <a:gd name="T17" fmla="*/ 9499 h 369"/>
                <a:gd name="T18" fmla="*/ 20638 w 190"/>
                <a:gd name="T19" fmla="*/ 15832 h 369"/>
                <a:gd name="T20" fmla="*/ 17463 w 190"/>
                <a:gd name="T21" fmla="*/ 18998 h 369"/>
                <a:gd name="T22" fmla="*/ 34925 w 190"/>
                <a:gd name="T23" fmla="*/ 40372 h 369"/>
                <a:gd name="T24" fmla="*/ 38100 w 190"/>
                <a:gd name="T25" fmla="*/ 47496 h 369"/>
                <a:gd name="T26" fmla="*/ 34925 w 190"/>
                <a:gd name="T27" fmla="*/ 59370 h 369"/>
                <a:gd name="T28" fmla="*/ 27781 w 190"/>
                <a:gd name="T29" fmla="*/ 63328 h 369"/>
                <a:gd name="T30" fmla="*/ 23813 w 190"/>
                <a:gd name="T31" fmla="*/ 63328 h 369"/>
                <a:gd name="T32" fmla="*/ 20638 w 190"/>
                <a:gd name="T33" fmla="*/ 68869 h 369"/>
                <a:gd name="T34" fmla="*/ 14288 w 190"/>
                <a:gd name="T35" fmla="*/ 72827 h 369"/>
                <a:gd name="T36" fmla="*/ 14288 w 190"/>
                <a:gd name="T37" fmla="*/ 66494 h 369"/>
                <a:gd name="T38" fmla="*/ 10319 w 190"/>
                <a:gd name="T39" fmla="*/ 63328 h 369"/>
                <a:gd name="T40" fmla="*/ 17463 w 190"/>
                <a:gd name="T41" fmla="*/ 59370 h 369"/>
                <a:gd name="T42" fmla="*/ 20638 w 190"/>
                <a:gd name="T43" fmla="*/ 56995 h 369"/>
                <a:gd name="T44" fmla="*/ 27781 w 190"/>
                <a:gd name="T45" fmla="*/ 53829 h 369"/>
                <a:gd name="T46" fmla="*/ 27781 w 190"/>
                <a:gd name="T47" fmla="*/ 44330 h 369"/>
                <a:gd name="T48" fmla="*/ 27781 w 190"/>
                <a:gd name="T49" fmla="*/ 37997 h 369"/>
                <a:gd name="T50" fmla="*/ 20638 w 190"/>
                <a:gd name="T51" fmla="*/ 31664 h 369"/>
                <a:gd name="T52" fmla="*/ 20638 w 190"/>
                <a:gd name="T53" fmla="*/ 28498 h 369"/>
                <a:gd name="T54" fmla="*/ 7144 w 190"/>
                <a:gd name="T55" fmla="*/ 18998 h 369"/>
                <a:gd name="T56" fmla="*/ 14288 w 190"/>
                <a:gd name="T57" fmla="*/ 15832 h 369"/>
                <a:gd name="T58" fmla="*/ 10319 w 190"/>
                <a:gd name="T59" fmla="*/ 12666 h 369"/>
                <a:gd name="T60" fmla="*/ 3969 w 190"/>
                <a:gd name="T61" fmla="*/ 9499 h 369"/>
                <a:gd name="T62" fmla="*/ 0 w 190"/>
                <a:gd name="T63" fmla="*/ 3166 h 36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90"/>
                <a:gd name="T97" fmla="*/ 0 h 369"/>
                <a:gd name="T98" fmla="*/ 190 w 190"/>
                <a:gd name="T99" fmla="*/ 369 h 369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90" h="369">
                  <a:moveTo>
                    <a:pt x="0" y="16"/>
                  </a:moveTo>
                  <a:lnTo>
                    <a:pt x="0" y="16"/>
                  </a:lnTo>
                  <a:lnTo>
                    <a:pt x="0" y="0"/>
                  </a:lnTo>
                  <a:lnTo>
                    <a:pt x="17" y="16"/>
                  </a:lnTo>
                  <a:lnTo>
                    <a:pt x="86" y="0"/>
                  </a:lnTo>
                  <a:lnTo>
                    <a:pt x="121" y="0"/>
                  </a:lnTo>
                  <a:lnTo>
                    <a:pt x="121" y="33"/>
                  </a:lnTo>
                  <a:lnTo>
                    <a:pt x="156" y="33"/>
                  </a:lnTo>
                  <a:lnTo>
                    <a:pt x="121" y="48"/>
                  </a:lnTo>
                  <a:lnTo>
                    <a:pt x="104" y="81"/>
                  </a:lnTo>
                  <a:lnTo>
                    <a:pt x="86" y="96"/>
                  </a:lnTo>
                  <a:lnTo>
                    <a:pt x="173" y="207"/>
                  </a:lnTo>
                  <a:lnTo>
                    <a:pt x="190" y="240"/>
                  </a:lnTo>
                  <a:lnTo>
                    <a:pt x="173" y="303"/>
                  </a:lnTo>
                  <a:lnTo>
                    <a:pt x="138" y="321"/>
                  </a:lnTo>
                  <a:lnTo>
                    <a:pt x="121" y="321"/>
                  </a:lnTo>
                  <a:lnTo>
                    <a:pt x="104" y="351"/>
                  </a:lnTo>
                  <a:lnTo>
                    <a:pt x="69" y="369"/>
                  </a:lnTo>
                  <a:lnTo>
                    <a:pt x="69" y="336"/>
                  </a:lnTo>
                  <a:lnTo>
                    <a:pt x="52" y="321"/>
                  </a:lnTo>
                  <a:lnTo>
                    <a:pt x="86" y="303"/>
                  </a:lnTo>
                  <a:lnTo>
                    <a:pt x="104" y="288"/>
                  </a:lnTo>
                  <a:lnTo>
                    <a:pt x="138" y="273"/>
                  </a:lnTo>
                  <a:lnTo>
                    <a:pt x="138" y="225"/>
                  </a:lnTo>
                  <a:lnTo>
                    <a:pt x="138" y="192"/>
                  </a:lnTo>
                  <a:lnTo>
                    <a:pt x="104" y="160"/>
                  </a:lnTo>
                  <a:lnTo>
                    <a:pt x="104" y="144"/>
                  </a:lnTo>
                  <a:lnTo>
                    <a:pt x="35" y="96"/>
                  </a:lnTo>
                  <a:lnTo>
                    <a:pt x="69" y="81"/>
                  </a:lnTo>
                  <a:lnTo>
                    <a:pt x="52" y="64"/>
                  </a:lnTo>
                  <a:lnTo>
                    <a:pt x="17" y="48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64" name="Freeform 153">
              <a:extLst>
                <a:ext uri="{FF2B5EF4-FFF2-40B4-BE49-F238E27FC236}">
                  <a16:creationId xmlns:a16="http://schemas.microsoft.com/office/drawing/2014/main" id="{B137489D-D555-78A8-B260-69893FA16BC6}"/>
                </a:ext>
              </a:extLst>
            </p:cNvPr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7414695" y="4368416"/>
              <a:ext cx="155969" cy="306616"/>
            </a:xfrm>
            <a:custGeom>
              <a:avLst/>
              <a:gdLst>
                <a:gd name="T0" fmla="*/ 13429 w 207"/>
                <a:gd name="T1" fmla="*/ 0 h 383"/>
                <a:gd name="T2" fmla="*/ 13429 w 207"/>
                <a:gd name="T3" fmla="*/ 0 h 383"/>
                <a:gd name="T4" fmla="*/ 0 w 207"/>
                <a:gd name="T5" fmla="*/ 6367 h 383"/>
                <a:gd name="T6" fmla="*/ 0 w 207"/>
                <a:gd name="T7" fmla="*/ 13529 h 383"/>
                <a:gd name="T8" fmla="*/ 3160 w 207"/>
                <a:gd name="T9" fmla="*/ 23079 h 383"/>
                <a:gd name="T10" fmla="*/ 3160 w 207"/>
                <a:gd name="T11" fmla="*/ 28650 h 383"/>
                <a:gd name="T12" fmla="*/ 6319 w 207"/>
                <a:gd name="T13" fmla="*/ 35016 h 383"/>
                <a:gd name="T14" fmla="*/ 10269 w 207"/>
                <a:gd name="T15" fmla="*/ 44566 h 383"/>
                <a:gd name="T16" fmla="*/ 3160 w 207"/>
                <a:gd name="T17" fmla="*/ 57299 h 383"/>
                <a:gd name="T18" fmla="*/ 3160 w 207"/>
                <a:gd name="T19" fmla="*/ 61278 h 383"/>
                <a:gd name="T20" fmla="*/ 3160 w 207"/>
                <a:gd name="T21" fmla="*/ 63666 h 383"/>
                <a:gd name="T22" fmla="*/ 13429 w 207"/>
                <a:gd name="T23" fmla="*/ 73216 h 383"/>
                <a:gd name="T24" fmla="*/ 13429 w 207"/>
                <a:gd name="T25" fmla="*/ 70828 h 383"/>
                <a:gd name="T26" fmla="*/ 16588 w 207"/>
                <a:gd name="T27" fmla="*/ 73216 h 383"/>
                <a:gd name="T28" fmla="*/ 20538 w 207"/>
                <a:gd name="T29" fmla="*/ 76399 h 383"/>
                <a:gd name="T30" fmla="*/ 23698 w 207"/>
                <a:gd name="T31" fmla="*/ 73216 h 383"/>
                <a:gd name="T32" fmla="*/ 20538 w 207"/>
                <a:gd name="T33" fmla="*/ 70828 h 383"/>
                <a:gd name="T34" fmla="*/ 13429 w 207"/>
                <a:gd name="T35" fmla="*/ 70828 h 383"/>
                <a:gd name="T36" fmla="*/ 10269 w 207"/>
                <a:gd name="T37" fmla="*/ 57299 h 383"/>
                <a:gd name="T38" fmla="*/ 6319 w 207"/>
                <a:gd name="T39" fmla="*/ 57299 h 383"/>
                <a:gd name="T40" fmla="*/ 6319 w 207"/>
                <a:gd name="T41" fmla="*/ 54116 h 383"/>
                <a:gd name="T42" fmla="*/ 10269 w 207"/>
                <a:gd name="T43" fmla="*/ 44566 h 383"/>
                <a:gd name="T44" fmla="*/ 10269 w 207"/>
                <a:gd name="T45" fmla="*/ 38199 h 383"/>
                <a:gd name="T46" fmla="*/ 16588 w 207"/>
                <a:gd name="T47" fmla="*/ 38199 h 383"/>
                <a:gd name="T48" fmla="*/ 16588 w 207"/>
                <a:gd name="T49" fmla="*/ 42179 h 383"/>
                <a:gd name="T50" fmla="*/ 20538 w 207"/>
                <a:gd name="T51" fmla="*/ 42179 h 383"/>
                <a:gd name="T52" fmla="*/ 26857 w 207"/>
                <a:gd name="T53" fmla="*/ 47749 h 383"/>
                <a:gd name="T54" fmla="*/ 26857 w 207"/>
                <a:gd name="T55" fmla="*/ 44566 h 383"/>
                <a:gd name="T56" fmla="*/ 23698 w 207"/>
                <a:gd name="T57" fmla="*/ 38199 h 383"/>
                <a:gd name="T58" fmla="*/ 26857 w 207"/>
                <a:gd name="T59" fmla="*/ 32629 h 383"/>
                <a:gd name="T60" fmla="*/ 40286 w 207"/>
                <a:gd name="T61" fmla="*/ 32629 h 383"/>
                <a:gd name="T62" fmla="*/ 40286 w 207"/>
                <a:gd name="T63" fmla="*/ 25466 h 383"/>
                <a:gd name="T64" fmla="*/ 37126 w 207"/>
                <a:gd name="T65" fmla="*/ 23079 h 383"/>
                <a:gd name="T66" fmla="*/ 33966 w 207"/>
                <a:gd name="T67" fmla="*/ 15916 h 383"/>
                <a:gd name="T68" fmla="*/ 30807 w 207"/>
                <a:gd name="T69" fmla="*/ 9550 h 383"/>
                <a:gd name="T70" fmla="*/ 23698 w 207"/>
                <a:gd name="T71" fmla="*/ 13529 h 383"/>
                <a:gd name="T72" fmla="*/ 16588 w 207"/>
                <a:gd name="T73" fmla="*/ 15916 h 383"/>
                <a:gd name="T74" fmla="*/ 16588 w 207"/>
                <a:gd name="T75" fmla="*/ 6367 h 383"/>
                <a:gd name="T76" fmla="*/ 13429 w 207"/>
                <a:gd name="T77" fmla="*/ 3979 h 383"/>
                <a:gd name="T78" fmla="*/ 13429 w 207"/>
                <a:gd name="T79" fmla="*/ 0 h 38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07"/>
                <a:gd name="T121" fmla="*/ 0 h 383"/>
                <a:gd name="T122" fmla="*/ 207 w 207"/>
                <a:gd name="T123" fmla="*/ 383 h 383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07" h="383">
                  <a:moveTo>
                    <a:pt x="69" y="0"/>
                  </a:moveTo>
                  <a:lnTo>
                    <a:pt x="69" y="0"/>
                  </a:lnTo>
                  <a:lnTo>
                    <a:pt x="0" y="32"/>
                  </a:lnTo>
                  <a:lnTo>
                    <a:pt x="0" y="65"/>
                  </a:lnTo>
                  <a:lnTo>
                    <a:pt x="17" y="113"/>
                  </a:lnTo>
                  <a:lnTo>
                    <a:pt x="17" y="143"/>
                  </a:lnTo>
                  <a:lnTo>
                    <a:pt x="35" y="176"/>
                  </a:lnTo>
                  <a:lnTo>
                    <a:pt x="52" y="224"/>
                  </a:lnTo>
                  <a:lnTo>
                    <a:pt x="17" y="287"/>
                  </a:lnTo>
                  <a:lnTo>
                    <a:pt x="17" y="305"/>
                  </a:lnTo>
                  <a:lnTo>
                    <a:pt x="17" y="320"/>
                  </a:lnTo>
                  <a:lnTo>
                    <a:pt x="69" y="368"/>
                  </a:lnTo>
                  <a:lnTo>
                    <a:pt x="69" y="353"/>
                  </a:lnTo>
                  <a:lnTo>
                    <a:pt x="87" y="368"/>
                  </a:lnTo>
                  <a:lnTo>
                    <a:pt x="104" y="383"/>
                  </a:lnTo>
                  <a:lnTo>
                    <a:pt x="121" y="368"/>
                  </a:lnTo>
                  <a:lnTo>
                    <a:pt x="104" y="353"/>
                  </a:lnTo>
                  <a:lnTo>
                    <a:pt x="69" y="353"/>
                  </a:lnTo>
                  <a:lnTo>
                    <a:pt x="52" y="287"/>
                  </a:lnTo>
                  <a:lnTo>
                    <a:pt x="35" y="287"/>
                  </a:lnTo>
                  <a:lnTo>
                    <a:pt x="35" y="272"/>
                  </a:lnTo>
                  <a:lnTo>
                    <a:pt x="52" y="224"/>
                  </a:lnTo>
                  <a:lnTo>
                    <a:pt x="52" y="191"/>
                  </a:lnTo>
                  <a:lnTo>
                    <a:pt x="87" y="191"/>
                  </a:lnTo>
                  <a:lnTo>
                    <a:pt x="87" y="209"/>
                  </a:lnTo>
                  <a:lnTo>
                    <a:pt x="104" y="209"/>
                  </a:lnTo>
                  <a:lnTo>
                    <a:pt x="138" y="239"/>
                  </a:lnTo>
                  <a:lnTo>
                    <a:pt x="138" y="224"/>
                  </a:lnTo>
                  <a:lnTo>
                    <a:pt x="121" y="191"/>
                  </a:lnTo>
                  <a:lnTo>
                    <a:pt x="138" y="161"/>
                  </a:lnTo>
                  <a:lnTo>
                    <a:pt x="207" y="161"/>
                  </a:lnTo>
                  <a:lnTo>
                    <a:pt x="207" y="128"/>
                  </a:lnTo>
                  <a:lnTo>
                    <a:pt x="190" y="113"/>
                  </a:lnTo>
                  <a:lnTo>
                    <a:pt x="173" y="80"/>
                  </a:lnTo>
                  <a:lnTo>
                    <a:pt x="156" y="48"/>
                  </a:lnTo>
                  <a:lnTo>
                    <a:pt x="121" y="65"/>
                  </a:lnTo>
                  <a:lnTo>
                    <a:pt x="87" y="80"/>
                  </a:lnTo>
                  <a:lnTo>
                    <a:pt x="87" y="32"/>
                  </a:lnTo>
                  <a:lnTo>
                    <a:pt x="69" y="17"/>
                  </a:lnTo>
                  <a:lnTo>
                    <a:pt x="69" y="0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65" name="Freeform 154">
              <a:extLst>
                <a:ext uri="{FF2B5EF4-FFF2-40B4-BE49-F238E27FC236}">
                  <a16:creationId xmlns:a16="http://schemas.microsoft.com/office/drawing/2014/main" id="{2A52A66D-9FEC-3DEA-BC7C-84536BF4095C}"/>
                </a:ext>
              </a:extLst>
            </p:cNvPr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7231943" y="4201777"/>
              <a:ext cx="64593" cy="26662"/>
            </a:xfrm>
            <a:custGeom>
              <a:avLst/>
              <a:gdLst>
                <a:gd name="T0" fmla="*/ 13335 w 85"/>
                <a:gd name="T1" fmla="*/ 0 h 33"/>
                <a:gd name="T2" fmla="*/ 13335 w 85"/>
                <a:gd name="T3" fmla="*/ 0 h 33"/>
                <a:gd name="T4" fmla="*/ 3138 w 85"/>
                <a:gd name="T5" fmla="*/ 0 h 33"/>
                <a:gd name="T6" fmla="*/ 0 w 85"/>
                <a:gd name="T7" fmla="*/ 3079 h 33"/>
                <a:gd name="T8" fmla="*/ 0 w 85"/>
                <a:gd name="T9" fmla="*/ 6158 h 33"/>
                <a:gd name="T10" fmla="*/ 13335 w 85"/>
                <a:gd name="T11" fmla="*/ 6158 h 33"/>
                <a:gd name="T12" fmla="*/ 16473 w 85"/>
                <a:gd name="T13" fmla="*/ 6158 h 33"/>
                <a:gd name="T14" fmla="*/ 13335 w 85"/>
                <a:gd name="T15" fmla="*/ 0 h 3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5"/>
                <a:gd name="T25" fmla="*/ 0 h 33"/>
                <a:gd name="T26" fmla="*/ 85 w 85"/>
                <a:gd name="T27" fmla="*/ 33 h 3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5" h="33">
                  <a:moveTo>
                    <a:pt x="69" y="0"/>
                  </a:moveTo>
                  <a:lnTo>
                    <a:pt x="69" y="0"/>
                  </a:lnTo>
                  <a:lnTo>
                    <a:pt x="18" y="0"/>
                  </a:lnTo>
                  <a:lnTo>
                    <a:pt x="0" y="16"/>
                  </a:lnTo>
                  <a:lnTo>
                    <a:pt x="0" y="33"/>
                  </a:lnTo>
                  <a:lnTo>
                    <a:pt x="69" y="33"/>
                  </a:lnTo>
                  <a:lnTo>
                    <a:pt x="85" y="33"/>
                  </a:lnTo>
                  <a:lnTo>
                    <a:pt x="69" y="0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66" name="Freeform 155">
              <a:extLst>
                <a:ext uri="{FF2B5EF4-FFF2-40B4-BE49-F238E27FC236}">
                  <a16:creationId xmlns:a16="http://schemas.microsoft.com/office/drawing/2014/main" id="{A1E633D5-A80E-FD93-445F-235815ADEE40}"/>
                </a:ext>
              </a:extLst>
            </p:cNvPr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7047615" y="4153451"/>
              <a:ext cx="157545" cy="86652"/>
            </a:xfrm>
            <a:custGeom>
              <a:avLst/>
              <a:gdLst>
                <a:gd name="T0" fmla="*/ 3145 w 210"/>
                <a:gd name="T1" fmla="*/ 0 h 111"/>
                <a:gd name="T2" fmla="*/ 3145 w 210"/>
                <a:gd name="T3" fmla="*/ 0 h 111"/>
                <a:gd name="T4" fmla="*/ 0 w 210"/>
                <a:gd name="T5" fmla="*/ 9439 h 111"/>
                <a:gd name="T6" fmla="*/ 6290 w 210"/>
                <a:gd name="T7" fmla="*/ 11799 h 111"/>
                <a:gd name="T8" fmla="*/ 36951 w 210"/>
                <a:gd name="T9" fmla="*/ 21238 h 111"/>
                <a:gd name="T10" fmla="*/ 40882 w 210"/>
                <a:gd name="T11" fmla="*/ 21238 h 111"/>
                <a:gd name="T12" fmla="*/ 40882 w 210"/>
                <a:gd name="T13" fmla="*/ 18878 h 111"/>
                <a:gd name="T14" fmla="*/ 40882 w 210"/>
                <a:gd name="T15" fmla="*/ 11799 h 111"/>
                <a:gd name="T16" fmla="*/ 30661 w 210"/>
                <a:gd name="T17" fmla="*/ 11799 h 111"/>
                <a:gd name="T18" fmla="*/ 23586 w 210"/>
                <a:gd name="T19" fmla="*/ 9439 h 111"/>
                <a:gd name="T20" fmla="*/ 20441 w 210"/>
                <a:gd name="T21" fmla="*/ 5506 h 111"/>
                <a:gd name="T22" fmla="*/ 16510 w 210"/>
                <a:gd name="T23" fmla="*/ 5506 h 111"/>
                <a:gd name="T24" fmla="*/ 10220 w 210"/>
                <a:gd name="T25" fmla="*/ 0 h 111"/>
                <a:gd name="T26" fmla="*/ 3145 w 210"/>
                <a:gd name="T27" fmla="*/ 0 h 11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10"/>
                <a:gd name="T43" fmla="*/ 0 h 111"/>
                <a:gd name="T44" fmla="*/ 210 w 210"/>
                <a:gd name="T45" fmla="*/ 111 h 11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10" h="111">
                  <a:moveTo>
                    <a:pt x="18" y="0"/>
                  </a:moveTo>
                  <a:lnTo>
                    <a:pt x="18" y="0"/>
                  </a:lnTo>
                  <a:lnTo>
                    <a:pt x="0" y="48"/>
                  </a:lnTo>
                  <a:lnTo>
                    <a:pt x="35" y="63"/>
                  </a:lnTo>
                  <a:lnTo>
                    <a:pt x="192" y="111"/>
                  </a:lnTo>
                  <a:lnTo>
                    <a:pt x="210" y="111"/>
                  </a:lnTo>
                  <a:lnTo>
                    <a:pt x="210" y="96"/>
                  </a:lnTo>
                  <a:lnTo>
                    <a:pt x="210" y="63"/>
                  </a:lnTo>
                  <a:lnTo>
                    <a:pt x="158" y="63"/>
                  </a:lnTo>
                  <a:lnTo>
                    <a:pt x="121" y="48"/>
                  </a:lnTo>
                  <a:lnTo>
                    <a:pt x="104" y="31"/>
                  </a:lnTo>
                  <a:lnTo>
                    <a:pt x="87" y="31"/>
                  </a:lnTo>
                  <a:lnTo>
                    <a:pt x="52" y="0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67" name="Freeform 157">
              <a:extLst>
                <a:ext uri="{FF2B5EF4-FFF2-40B4-BE49-F238E27FC236}">
                  <a16:creationId xmlns:a16="http://schemas.microsoft.com/office/drawing/2014/main" id="{F2D09CE2-902B-E4B0-A38A-2815817C0955}"/>
                </a:ext>
              </a:extLst>
            </p:cNvPr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7964525" y="3846835"/>
              <a:ext cx="130762" cy="124980"/>
            </a:xfrm>
            <a:custGeom>
              <a:avLst/>
              <a:gdLst>
                <a:gd name="T0" fmla="*/ 35331 w 172"/>
                <a:gd name="T1" fmla="*/ 0 h 159"/>
                <a:gd name="T2" fmla="*/ 35331 w 172"/>
                <a:gd name="T3" fmla="*/ 0 h 159"/>
                <a:gd name="T4" fmla="*/ 31316 w 172"/>
                <a:gd name="T5" fmla="*/ 0 h 159"/>
                <a:gd name="T6" fmla="*/ 24892 w 172"/>
                <a:gd name="T7" fmla="*/ 3155 h 159"/>
                <a:gd name="T8" fmla="*/ 20878 w 172"/>
                <a:gd name="T9" fmla="*/ 3155 h 159"/>
                <a:gd name="T10" fmla="*/ 17666 w 172"/>
                <a:gd name="T11" fmla="*/ 5521 h 159"/>
                <a:gd name="T12" fmla="*/ 14454 w 172"/>
                <a:gd name="T13" fmla="*/ 5521 h 159"/>
                <a:gd name="T14" fmla="*/ 0 w 172"/>
                <a:gd name="T15" fmla="*/ 14986 h 159"/>
                <a:gd name="T16" fmla="*/ 0 w 172"/>
                <a:gd name="T17" fmla="*/ 18930 h 159"/>
                <a:gd name="T18" fmla="*/ 4015 w 172"/>
                <a:gd name="T19" fmla="*/ 18930 h 159"/>
                <a:gd name="T20" fmla="*/ 0 w 172"/>
                <a:gd name="T21" fmla="*/ 28395 h 159"/>
                <a:gd name="T22" fmla="*/ 4015 w 172"/>
                <a:gd name="T23" fmla="*/ 30762 h 159"/>
                <a:gd name="T24" fmla="*/ 7227 w 172"/>
                <a:gd name="T25" fmla="*/ 30762 h 159"/>
                <a:gd name="T26" fmla="*/ 10439 w 172"/>
                <a:gd name="T27" fmla="*/ 30762 h 159"/>
                <a:gd name="T28" fmla="*/ 20878 w 172"/>
                <a:gd name="T29" fmla="*/ 24452 h 159"/>
                <a:gd name="T30" fmla="*/ 14454 w 172"/>
                <a:gd name="T31" fmla="*/ 22085 h 159"/>
                <a:gd name="T32" fmla="*/ 14454 w 172"/>
                <a:gd name="T33" fmla="*/ 18930 h 159"/>
                <a:gd name="T34" fmla="*/ 28104 w 172"/>
                <a:gd name="T35" fmla="*/ 12620 h 159"/>
                <a:gd name="T36" fmla="*/ 28104 w 172"/>
                <a:gd name="T37" fmla="*/ 5521 h 159"/>
                <a:gd name="T38" fmla="*/ 35331 w 172"/>
                <a:gd name="T39" fmla="*/ 0 h 15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72"/>
                <a:gd name="T61" fmla="*/ 0 h 159"/>
                <a:gd name="T62" fmla="*/ 172 w 172"/>
                <a:gd name="T63" fmla="*/ 159 h 15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72" h="159">
                  <a:moveTo>
                    <a:pt x="172" y="0"/>
                  </a:moveTo>
                  <a:lnTo>
                    <a:pt x="172" y="0"/>
                  </a:lnTo>
                  <a:lnTo>
                    <a:pt x="155" y="0"/>
                  </a:lnTo>
                  <a:lnTo>
                    <a:pt x="121" y="16"/>
                  </a:lnTo>
                  <a:lnTo>
                    <a:pt x="103" y="16"/>
                  </a:lnTo>
                  <a:lnTo>
                    <a:pt x="86" y="31"/>
                  </a:lnTo>
                  <a:lnTo>
                    <a:pt x="69" y="31"/>
                  </a:lnTo>
                  <a:lnTo>
                    <a:pt x="0" y="79"/>
                  </a:lnTo>
                  <a:lnTo>
                    <a:pt x="0" y="96"/>
                  </a:lnTo>
                  <a:lnTo>
                    <a:pt x="17" y="96"/>
                  </a:lnTo>
                  <a:lnTo>
                    <a:pt x="0" y="144"/>
                  </a:lnTo>
                  <a:lnTo>
                    <a:pt x="17" y="159"/>
                  </a:lnTo>
                  <a:lnTo>
                    <a:pt x="34" y="159"/>
                  </a:lnTo>
                  <a:lnTo>
                    <a:pt x="52" y="159"/>
                  </a:lnTo>
                  <a:lnTo>
                    <a:pt x="103" y="127"/>
                  </a:lnTo>
                  <a:lnTo>
                    <a:pt x="69" y="112"/>
                  </a:lnTo>
                  <a:lnTo>
                    <a:pt x="69" y="96"/>
                  </a:lnTo>
                  <a:lnTo>
                    <a:pt x="138" y="64"/>
                  </a:lnTo>
                  <a:lnTo>
                    <a:pt x="138" y="31"/>
                  </a:lnTo>
                  <a:lnTo>
                    <a:pt x="172" y="0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68" name="Freeform 158">
              <a:extLst>
                <a:ext uri="{FF2B5EF4-FFF2-40B4-BE49-F238E27FC236}">
                  <a16:creationId xmlns:a16="http://schemas.microsoft.com/office/drawing/2014/main" id="{6FF811A6-1C76-75F9-A130-451C174FBB7A}"/>
                </a:ext>
              </a:extLst>
            </p:cNvPr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8068504" y="4061800"/>
              <a:ext cx="51990" cy="76654"/>
            </a:xfrm>
            <a:custGeom>
              <a:avLst/>
              <a:gdLst>
                <a:gd name="T0" fmla="*/ 0 w 69"/>
                <a:gd name="T1" fmla="*/ 3969 h 96"/>
                <a:gd name="T2" fmla="*/ 0 w 69"/>
                <a:gd name="T3" fmla="*/ 3969 h 96"/>
                <a:gd name="T4" fmla="*/ 0 w 69"/>
                <a:gd name="T5" fmla="*/ 6350 h 96"/>
                <a:gd name="T6" fmla="*/ 4026 w 69"/>
                <a:gd name="T7" fmla="*/ 6350 h 96"/>
                <a:gd name="T8" fmla="*/ 4026 w 69"/>
                <a:gd name="T9" fmla="*/ 15875 h 96"/>
                <a:gd name="T10" fmla="*/ 7247 w 69"/>
                <a:gd name="T11" fmla="*/ 19050 h 96"/>
                <a:gd name="T12" fmla="*/ 10468 w 69"/>
                <a:gd name="T13" fmla="*/ 15875 h 96"/>
                <a:gd name="T14" fmla="*/ 14495 w 69"/>
                <a:gd name="T15" fmla="*/ 6350 h 96"/>
                <a:gd name="T16" fmla="*/ 10468 w 69"/>
                <a:gd name="T17" fmla="*/ 3969 h 96"/>
                <a:gd name="T18" fmla="*/ 4026 w 69"/>
                <a:gd name="T19" fmla="*/ 0 h 96"/>
                <a:gd name="T20" fmla="*/ 0 w 69"/>
                <a:gd name="T21" fmla="*/ 3969 h 9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9"/>
                <a:gd name="T34" fmla="*/ 0 h 96"/>
                <a:gd name="T35" fmla="*/ 69 w 69"/>
                <a:gd name="T36" fmla="*/ 96 h 9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9" h="96">
                  <a:moveTo>
                    <a:pt x="0" y="17"/>
                  </a:moveTo>
                  <a:lnTo>
                    <a:pt x="0" y="17"/>
                  </a:lnTo>
                  <a:lnTo>
                    <a:pt x="0" y="32"/>
                  </a:lnTo>
                  <a:lnTo>
                    <a:pt x="17" y="32"/>
                  </a:lnTo>
                  <a:lnTo>
                    <a:pt x="17" y="80"/>
                  </a:lnTo>
                  <a:lnTo>
                    <a:pt x="34" y="96"/>
                  </a:lnTo>
                  <a:lnTo>
                    <a:pt x="52" y="80"/>
                  </a:lnTo>
                  <a:lnTo>
                    <a:pt x="69" y="32"/>
                  </a:lnTo>
                  <a:lnTo>
                    <a:pt x="52" y="17"/>
                  </a:lnTo>
                  <a:lnTo>
                    <a:pt x="17" y="0"/>
                  </a:lnTo>
                  <a:lnTo>
                    <a:pt x="0" y="17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69" name="Freeform 159">
              <a:extLst>
                <a:ext uri="{FF2B5EF4-FFF2-40B4-BE49-F238E27FC236}">
                  <a16:creationId xmlns:a16="http://schemas.microsoft.com/office/drawing/2014/main" id="{8229D224-CD06-B906-EB87-A6883E509261}"/>
                </a:ext>
              </a:extLst>
            </p:cNvPr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8120494" y="4061800"/>
              <a:ext cx="55140" cy="24995"/>
            </a:xfrm>
            <a:custGeom>
              <a:avLst/>
              <a:gdLst>
                <a:gd name="T0" fmla="*/ 0 w 71"/>
                <a:gd name="T1" fmla="*/ 3175 h 32"/>
                <a:gd name="T2" fmla="*/ 0 w 71"/>
                <a:gd name="T3" fmla="*/ 3175 h 32"/>
                <a:gd name="T4" fmla="*/ 0 w 71"/>
                <a:gd name="T5" fmla="*/ 6350 h 32"/>
                <a:gd name="T6" fmla="*/ 4025 w 71"/>
                <a:gd name="T7" fmla="*/ 6350 h 32"/>
                <a:gd name="T8" fmla="*/ 7244 w 71"/>
                <a:gd name="T9" fmla="*/ 3175 h 32"/>
                <a:gd name="T10" fmla="*/ 11269 w 71"/>
                <a:gd name="T11" fmla="*/ 3175 h 32"/>
                <a:gd name="T12" fmla="*/ 14489 w 71"/>
                <a:gd name="T13" fmla="*/ 0 h 32"/>
                <a:gd name="T14" fmla="*/ 7244 w 71"/>
                <a:gd name="T15" fmla="*/ 0 h 32"/>
                <a:gd name="T16" fmla="*/ 0 w 71"/>
                <a:gd name="T17" fmla="*/ 3175 h 3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1"/>
                <a:gd name="T28" fmla="*/ 0 h 32"/>
                <a:gd name="T29" fmla="*/ 71 w 71"/>
                <a:gd name="T30" fmla="*/ 32 h 3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1" h="32">
                  <a:moveTo>
                    <a:pt x="0" y="17"/>
                  </a:moveTo>
                  <a:lnTo>
                    <a:pt x="0" y="17"/>
                  </a:lnTo>
                  <a:lnTo>
                    <a:pt x="0" y="32"/>
                  </a:lnTo>
                  <a:lnTo>
                    <a:pt x="17" y="32"/>
                  </a:lnTo>
                  <a:lnTo>
                    <a:pt x="35" y="17"/>
                  </a:lnTo>
                  <a:lnTo>
                    <a:pt x="54" y="17"/>
                  </a:lnTo>
                  <a:lnTo>
                    <a:pt x="71" y="0"/>
                  </a:lnTo>
                  <a:lnTo>
                    <a:pt x="35" y="0"/>
                  </a:lnTo>
                  <a:lnTo>
                    <a:pt x="0" y="17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70" name="Freeform 160">
              <a:extLst>
                <a:ext uri="{FF2B5EF4-FFF2-40B4-BE49-F238E27FC236}">
                  <a16:creationId xmlns:a16="http://schemas.microsoft.com/office/drawing/2014/main" id="{7D07A559-F5AE-124B-279E-EB6756F6F257}"/>
                </a:ext>
              </a:extLst>
            </p:cNvPr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8096862" y="3870164"/>
              <a:ext cx="222138" cy="206633"/>
            </a:xfrm>
            <a:custGeom>
              <a:avLst/>
              <a:gdLst>
                <a:gd name="T0" fmla="*/ 0 w 294"/>
                <a:gd name="T1" fmla="*/ 44623 h 257"/>
                <a:gd name="T2" fmla="*/ 0 w 294"/>
                <a:gd name="T3" fmla="*/ 44623 h 257"/>
                <a:gd name="T4" fmla="*/ 0 w 294"/>
                <a:gd name="T5" fmla="*/ 47810 h 257"/>
                <a:gd name="T6" fmla="*/ 7144 w 294"/>
                <a:gd name="T7" fmla="*/ 47810 h 257"/>
                <a:gd name="T8" fmla="*/ 20638 w 294"/>
                <a:gd name="T9" fmla="*/ 42233 h 257"/>
                <a:gd name="T10" fmla="*/ 23813 w 294"/>
                <a:gd name="T11" fmla="*/ 44623 h 257"/>
                <a:gd name="T12" fmla="*/ 23813 w 294"/>
                <a:gd name="T13" fmla="*/ 47810 h 257"/>
                <a:gd name="T14" fmla="*/ 27781 w 294"/>
                <a:gd name="T15" fmla="*/ 51795 h 257"/>
                <a:gd name="T16" fmla="*/ 30956 w 294"/>
                <a:gd name="T17" fmla="*/ 44623 h 257"/>
                <a:gd name="T18" fmla="*/ 30956 w 294"/>
                <a:gd name="T19" fmla="*/ 42233 h 257"/>
                <a:gd name="T20" fmla="*/ 34131 w 294"/>
                <a:gd name="T21" fmla="*/ 44623 h 257"/>
                <a:gd name="T22" fmla="*/ 37306 w 294"/>
                <a:gd name="T23" fmla="*/ 44623 h 257"/>
                <a:gd name="T24" fmla="*/ 41275 w 294"/>
                <a:gd name="T25" fmla="*/ 42233 h 257"/>
                <a:gd name="T26" fmla="*/ 44450 w 294"/>
                <a:gd name="T27" fmla="*/ 44623 h 257"/>
                <a:gd name="T28" fmla="*/ 44450 w 294"/>
                <a:gd name="T29" fmla="*/ 42233 h 257"/>
                <a:gd name="T30" fmla="*/ 47625 w 294"/>
                <a:gd name="T31" fmla="*/ 38248 h 257"/>
                <a:gd name="T32" fmla="*/ 47625 w 294"/>
                <a:gd name="T33" fmla="*/ 42233 h 257"/>
                <a:gd name="T34" fmla="*/ 51594 w 294"/>
                <a:gd name="T35" fmla="*/ 42233 h 257"/>
                <a:gd name="T36" fmla="*/ 55563 w 294"/>
                <a:gd name="T37" fmla="*/ 38248 h 257"/>
                <a:gd name="T38" fmla="*/ 55563 w 294"/>
                <a:gd name="T39" fmla="*/ 23108 h 257"/>
                <a:gd name="T40" fmla="*/ 58738 w 294"/>
                <a:gd name="T41" fmla="*/ 23108 h 257"/>
                <a:gd name="T42" fmla="*/ 58738 w 294"/>
                <a:gd name="T43" fmla="*/ 16734 h 257"/>
                <a:gd name="T44" fmla="*/ 58738 w 294"/>
                <a:gd name="T45" fmla="*/ 3984 h 257"/>
                <a:gd name="T46" fmla="*/ 55563 w 294"/>
                <a:gd name="T47" fmla="*/ 0 h 257"/>
                <a:gd name="T48" fmla="*/ 55563 w 294"/>
                <a:gd name="T49" fmla="*/ 3984 h 257"/>
                <a:gd name="T50" fmla="*/ 51594 w 294"/>
                <a:gd name="T51" fmla="*/ 3984 h 257"/>
                <a:gd name="T52" fmla="*/ 47625 w 294"/>
                <a:gd name="T53" fmla="*/ 16734 h 257"/>
                <a:gd name="T54" fmla="*/ 41275 w 294"/>
                <a:gd name="T55" fmla="*/ 25499 h 257"/>
                <a:gd name="T56" fmla="*/ 34131 w 294"/>
                <a:gd name="T57" fmla="*/ 32670 h 257"/>
                <a:gd name="T58" fmla="*/ 34131 w 294"/>
                <a:gd name="T59" fmla="*/ 25499 h 257"/>
                <a:gd name="T60" fmla="*/ 30956 w 294"/>
                <a:gd name="T61" fmla="*/ 28686 h 257"/>
                <a:gd name="T62" fmla="*/ 27781 w 294"/>
                <a:gd name="T63" fmla="*/ 38248 h 257"/>
                <a:gd name="T64" fmla="*/ 23813 w 294"/>
                <a:gd name="T65" fmla="*/ 38248 h 257"/>
                <a:gd name="T66" fmla="*/ 10319 w 294"/>
                <a:gd name="T67" fmla="*/ 38248 h 257"/>
                <a:gd name="T68" fmla="*/ 0 w 294"/>
                <a:gd name="T69" fmla="*/ 44623 h 25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94"/>
                <a:gd name="T106" fmla="*/ 0 h 257"/>
                <a:gd name="T107" fmla="*/ 294 w 294"/>
                <a:gd name="T108" fmla="*/ 257 h 257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94" h="257">
                  <a:moveTo>
                    <a:pt x="0" y="224"/>
                  </a:moveTo>
                  <a:lnTo>
                    <a:pt x="0" y="224"/>
                  </a:lnTo>
                  <a:lnTo>
                    <a:pt x="0" y="240"/>
                  </a:lnTo>
                  <a:lnTo>
                    <a:pt x="35" y="240"/>
                  </a:lnTo>
                  <a:lnTo>
                    <a:pt x="104" y="209"/>
                  </a:lnTo>
                  <a:lnTo>
                    <a:pt x="121" y="224"/>
                  </a:lnTo>
                  <a:lnTo>
                    <a:pt x="121" y="240"/>
                  </a:lnTo>
                  <a:lnTo>
                    <a:pt x="139" y="257"/>
                  </a:lnTo>
                  <a:lnTo>
                    <a:pt x="156" y="224"/>
                  </a:lnTo>
                  <a:lnTo>
                    <a:pt x="156" y="209"/>
                  </a:lnTo>
                  <a:lnTo>
                    <a:pt x="173" y="224"/>
                  </a:lnTo>
                  <a:lnTo>
                    <a:pt x="190" y="224"/>
                  </a:lnTo>
                  <a:lnTo>
                    <a:pt x="208" y="209"/>
                  </a:lnTo>
                  <a:lnTo>
                    <a:pt x="225" y="224"/>
                  </a:lnTo>
                  <a:lnTo>
                    <a:pt x="225" y="209"/>
                  </a:lnTo>
                  <a:lnTo>
                    <a:pt x="242" y="192"/>
                  </a:lnTo>
                  <a:lnTo>
                    <a:pt x="242" y="209"/>
                  </a:lnTo>
                  <a:lnTo>
                    <a:pt x="260" y="209"/>
                  </a:lnTo>
                  <a:lnTo>
                    <a:pt x="277" y="192"/>
                  </a:lnTo>
                  <a:lnTo>
                    <a:pt x="277" y="113"/>
                  </a:lnTo>
                  <a:lnTo>
                    <a:pt x="294" y="113"/>
                  </a:lnTo>
                  <a:lnTo>
                    <a:pt x="294" y="81"/>
                  </a:lnTo>
                  <a:lnTo>
                    <a:pt x="294" y="17"/>
                  </a:lnTo>
                  <a:lnTo>
                    <a:pt x="277" y="0"/>
                  </a:lnTo>
                  <a:lnTo>
                    <a:pt x="277" y="17"/>
                  </a:lnTo>
                  <a:lnTo>
                    <a:pt x="260" y="17"/>
                  </a:lnTo>
                  <a:lnTo>
                    <a:pt x="242" y="81"/>
                  </a:lnTo>
                  <a:lnTo>
                    <a:pt x="208" y="128"/>
                  </a:lnTo>
                  <a:lnTo>
                    <a:pt x="173" y="161"/>
                  </a:lnTo>
                  <a:lnTo>
                    <a:pt x="173" y="128"/>
                  </a:lnTo>
                  <a:lnTo>
                    <a:pt x="156" y="144"/>
                  </a:lnTo>
                  <a:lnTo>
                    <a:pt x="139" y="192"/>
                  </a:lnTo>
                  <a:lnTo>
                    <a:pt x="121" y="192"/>
                  </a:lnTo>
                  <a:lnTo>
                    <a:pt x="52" y="192"/>
                  </a:lnTo>
                  <a:lnTo>
                    <a:pt x="0" y="224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71" name="Freeform 161">
              <a:extLst>
                <a:ext uri="{FF2B5EF4-FFF2-40B4-BE49-F238E27FC236}">
                  <a16:creationId xmlns:a16="http://schemas.microsoft.com/office/drawing/2014/main" id="{86FA704A-0433-5BB9-2CF5-0AC051F2DE72}"/>
                </a:ext>
              </a:extLst>
            </p:cNvPr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8279614" y="3755183"/>
              <a:ext cx="129187" cy="114981"/>
            </a:xfrm>
            <a:custGeom>
              <a:avLst/>
              <a:gdLst>
                <a:gd name="T0" fmla="*/ 0 w 173"/>
                <a:gd name="T1" fmla="*/ 22225 h 144"/>
                <a:gd name="T2" fmla="*/ 0 w 173"/>
                <a:gd name="T3" fmla="*/ 22225 h 144"/>
                <a:gd name="T4" fmla="*/ 0 w 173"/>
                <a:gd name="T5" fmla="*/ 28575 h 144"/>
                <a:gd name="T6" fmla="*/ 6313 w 173"/>
                <a:gd name="T7" fmla="*/ 26194 h 144"/>
                <a:gd name="T8" fmla="*/ 3157 w 173"/>
                <a:gd name="T9" fmla="*/ 26194 h 144"/>
                <a:gd name="T10" fmla="*/ 3157 w 173"/>
                <a:gd name="T11" fmla="*/ 22225 h 144"/>
                <a:gd name="T12" fmla="*/ 6313 w 173"/>
                <a:gd name="T13" fmla="*/ 22225 h 144"/>
                <a:gd name="T14" fmla="*/ 10259 w 173"/>
                <a:gd name="T15" fmla="*/ 22225 h 144"/>
                <a:gd name="T16" fmla="*/ 20518 w 173"/>
                <a:gd name="T17" fmla="*/ 26194 h 144"/>
                <a:gd name="T18" fmla="*/ 23675 w 173"/>
                <a:gd name="T19" fmla="*/ 19050 h 144"/>
                <a:gd name="T20" fmla="*/ 26832 w 173"/>
                <a:gd name="T21" fmla="*/ 19050 h 144"/>
                <a:gd name="T22" fmla="*/ 33934 w 173"/>
                <a:gd name="T23" fmla="*/ 15875 h 144"/>
                <a:gd name="T24" fmla="*/ 30777 w 173"/>
                <a:gd name="T25" fmla="*/ 15875 h 144"/>
                <a:gd name="T26" fmla="*/ 26832 w 173"/>
                <a:gd name="T27" fmla="*/ 13494 h 144"/>
                <a:gd name="T28" fmla="*/ 30777 w 173"/>
                <a:gd name="T29" fmla="*/ 9525 h 144"/>
                <a:gd name="T30" fmla="*/ 26832 w 173"/>
                <a:gd name="T31" fmla="*/ 13494 h 144"/>
                <a:gd name="T32" fmla="*/ 20518 w 173"/>
                <a:gd name="T33" fmla="*/ 9525 h 144"/>
                <a:gd name="T34" fmla="*/ 10259 w 173"/>
                <a:gd name="T35" fmla="*/ 0 h 144"/>
                <a:gd name="T36" fmla="*/ 10259 w 173"/>
                <a:gd name="T37" fmla="*/ 3969 h 144"/>
                <a:gd name="T38" fmla="*/ 10259 w 173"/>
                <a:gd name="T39" fmla="*/ 7144 h 144"/>
                <a:gd name="T40" fmla="*/ 6313 w 173"/>
                <a:gd name="T41" fmla="*/ 19050 h 144"/>
                <a:gd name="T42" fmla="*/ 3157 w 173"/>
                <a:gd name="T43" fmla="*/ 15875 h 144"/>
                <a:gd name="T44" fmla="*/ 3157 w 173"/>
                <a:gd name="T45" fmla="*/ 19050 h 144"/>
                <a:gd name="T46" fmla="*/ 0 w 173"/>
                <a:gd name="T47" fmla="*/ 22225 h 14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73"/>
                <a:gd name="T73" fmla="*/ 0 h 144"/>
                <a:gd name="T74" fmla="*/ 173 w 173"/>
                <a:gd name="T75" fmla="*/ 144 h 14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73" h="144">
                  <a:moveTo>
                    <a:pt x="0" y="113"/>
                  </a:moveTo>
                  <a:lnTo>
                    <a:pt x="0" y="113"/>
                  </a:lnTo>
                  <a:lnTo>
                    <a:pt x="0" y="144"/>
                  </a:lnTo>
                  <a:lnTo>
                    <a:pt x="35" y="129"/>
                  </a:lnTo>
                  <a:lnTo>
                    <a:pt x="18" y="129"/>
                  </a:lnTo>
                  <a:lnTo>
                    <a:pt x="18" y="113"/>
                  </a:lnTo>
                  <a:lnTo>
                    <a:pt x="35" y="113"/>
                  </a:lnTo>
                  <a:lnTo>
                    <a:pt x="52" y="113"/>
                  </a:lnTo>
                  <a:lnTo>
                    <a:pt x="104" y="129"/>
                  </a:lnTo>
                  <a:lnTo>
                    <a:pt x="121" y="96"/>
                  </a:lnTo>
                  <a:lnTo>
                    <a:pt x="139" y="96"/>
                  </a:lnTo>
                  <a:lnTo>
                    <a:pt x="173" y="81"/>
                  </a:lnTo>
                  <a:lnTo>
                    <a:pt x="156" y="81"/>
                  </a:lnTo>
                  <a:lnTo>
                    <a:pt x="139" y="65"/>
                  </a:lnTo>
                  <a:lnTo>
                    <a:pt x="156" y="48"/>
                  </a:lnTo>
                  <a:lnTo>
                    <a:pt x="139" y="65"/>
                  </a:lnTo>
                  <a:lnTo>
                    <a:pt x="104" y="48"/>
                  </a:lnTo>
                  <a:lnTo>
                    <a:pt x="52" y="0"/>
                  </a:lnTo>
                  <a:lnTo>
                    <a:pt x="52" y="17"/>
                  </a:lnTo>
                  <a:lnTo>
                    <a:pt x="52" y="33"/>
                  </a:lnTo>
                  <a:lnTo>
                    <a:pt x="35" y="96"/>
                  </a:lnTo>
                  <a:lnTo>
                    <a:pt x="18" y="81"/>
                  </a:lnTo>
                  <a:lnTo>
                    <a:pt x="18" y="96"/>
                  </a:lnTo>
                  <a:lnTo>
                    <a:pt x="0" y="113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72" name="Freeform 162">
              <a:extLst>
                <a:ext uri="{FF2B5EF4-FFF2-40B4-BE49-F238E27FC236}">
                  <a16:creationId xmlns:a16="http://schemas.microsoft.com/office/drawing/2014/main" id="{E2C73125-6431-F475-3AC2-42AA00EF0684}"/>
                </a:ext>
              </a:extLst>
            </p:cNvPr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8591552" y="3601875"/>
              <a:ext cx="26783" cy="24995"/>
            </a:xfrm>
            <a:custGeom>
              <a:avLst/>
              <a:gdLst>
                <a:gd name="T0" fmla="*/ 0 w 35"/>
                <a:gd name="T1" fmla="*/ 3079 h 33"/>
                <a:gd name="T2" fmla="*/ 0 w 35"/>
                <a:gd name="T3" fmla="*/ 3079 h 33"/>
                <a:gd name="T4" fmla="*/ 0 w 35"/>
                <a:gd name="T5" fmla="*/ 6158 h 33"/>
                <a:gd name="T6" fmla="*/ 3084 w 35"/>
                <a:gd name="T7" fmla="*/ 3079 h 33"/>
                <a:gd name="T8" fmla="*/ 6169 w 35"/>
                <a:gd name="T9" fmla="*/ 0 h 33"/>
                <a:gd name="T10" fmla="*/ 0 w 35"/>
                <a:gd name="T11" fmla="*/ 3079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5"/>
                <a:gd name="T19" fmla="*/ 0 h 33"/>
                <a:gd name="T20" fmla="*/ 35 w 35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5" h="33">
                  <a:moveTo>
                    <a:pt x="0" y="17"/>
                  </a:moveTo>
                  <a:lnTo>
                    <a:pt x="0" y="17"/>
                  </a:lnTo>
                  <a:lnTo>
                    <a:pt x="0" y="33"/>
                  </a:lnTo>
                  <a:lnTo>
                    <a:pt x="17" y="17"/>
                  </a:lnTo>
                  <a:lnTo>
                    <a:pt x="35" y="0"/>
                  </a:lnTo>
                  <a:lnTo>
                    <a:pt x="0" y="17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73" name="Freeform 163">
              <a:extLst>
                <a:ext uri="{FF2B5EF4-FFF2-40B4-BE49-F238E27FC236}">
                  <a16:creationId xmlns:a16="http://schemas.microsoft.com/office/drawing/2014/main" id="{04341347-44E2-BD8B-9084-634619E3B521}"/>
                </a:ext>
              </a:extLst>
            </p:cNvPr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8319000" y="3486894"/>
              <a:ext cx="50414" cy="268290"/>
            </a:xfrm>
            <a:custGeom>
              <a:avLst/>
              <a:gdLst>
                <a:gd name="T0" fmla="*/ 0 w 69"/>
                <a:gd name="T1" fmla="*/ 7144 h 336"/>
                <a:gd name="T2" fmla="*/ 0 w 69"/>
                <a:gd name="T3" fmla="*/ 7144 h 336"/>
                <a:gd name="T4" fmla="*/ 0 w 69"/>
                <a:gd name="T5" fmla="*/ 22225 h 336"/>
                <a:gd name="T6" fmla="*/ 3129 w 69"/>
                <a:gd name="T7" fmla="*/ 26194 h 336"/>
                <a:gd name="T8" fmla="*/ 0 w 69"/>
                <a:gd name="T9" fmla="*/ 44450 h 336"/>
                <a:gd name="T10" fmla="*/ 3129 w 69"/>
                <a:gd name="T11" fmla="*/ 51594 h 336"/>
                <a:gd name="T12" fmla="*/ 0 w 69"/>
                <a:gd name="T13" fmla="*/ 61119 h 336"/>
                <a:gd name="T14" fmla="*/ 3129 w 69"/>
                <a:gd name="T15" fmla="*/ 66675 h 336"/>
                <a:gd name="T16" fmla="*/ 3129 w 69"/>
                <a:gd name="T17" fmla="*/ 61119 h 336"/>
                <a:gd name="T18" fmla="*/ 10169 w 69"/>
                <a:gd name="T19" fmla="*/ 64294 h 336"/>
                <a:gd name="T20" fmla="*/ 10169 w 69"/>
                <a:gd name="T21" fmla="*/ 61119 h 336"/>
                <a:gd name="T22" fmla="*/ 3129 w 69"/>
                <a:gd name="T23" fmla="*/ 51594 h 336"/>
                <a:gd name="T24" fmla="*/ 6258 w 69"/>
                <a:gd name="T25" fmla="*/ 41275 h 336"/>
                <a:gd name="T26" fmla="*/ 10169 w 69"/>
                <a:gd name="T27" fmla="*/ 41275 h 336"/>
                <a:gd name="T28" fmla="*/ 13298 w 69"/>
                <a:gd name="T29" fmla="*/ 41275 h 336"/>
                <a:gd name="T30" fmla="*/ 6258 w 69"/>
                <a:gd name="T31" fmla="*/ 19050 h 336"/>
                <a:gd name="T32" fmla="*/ 6258 w 69"/>
                <a:gd name="T33" fmla="*/ 3969 h 336"/>
                <a:gd name="T34" fmla="*/ 6258 w 69"/>
                <a:gd name="T35" fmla="*/ 0 h 336"/>
                <a:gd name="T36" fmla="*/ 3129 w 69"/>
                <a:gd name="T37" fmla="*/ 0 h 336"/>
                <a:gd name="T38" fmla="*/ 3129 w 69"/>
                <a:gd name="T39" fmla="*/ 3969 h 336"/>
                <a:gd name="T40" fmla="*/ 0 w 69"/>
                <a:gd name="T41" fmla="*/ 7144 h 3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69"/>
                <a:gd name="T64" fmla="*/ 0 h 336"/>
                <a:gd name="T65" fmla="*/ 69 w 69"/>
                <a:gd name="T66" fmla="*/ 336 h 3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69" h="336">
                  <a:moveTo>
                    <a:pt x="0" y="33"/>
                  </a:moveTo>
                  <a:lnTo>
                    <a:pt x="0" y="33"/>
                  </a:lnTo>
                  <a:lnTo>
                    <a:pt x="0" y="113"/>
                  </a:lnTo>
                  <a:lnTo>
                    <a:pt x="17" y="129"/>
                  </a:lnTo>
                  <a:lnTo>
                    <a:pt x="0" y="225"/>
                  </a:lnTo>
                  <a:lnTo>
                    <a:pt x="17" y="257"/>
                  </a:lnTo>
                  <a:lnTo>
                    <a:pt x="0" y="305"/>
                  </a:lnTo>
                  <a:lnTo>
                    <a:pt x="17" y="336"/>
                  </a:lnTo>
                  <a:lnTo>
                    <a:pt x="17" y="305"/>
                  </a:lnTo>
                  <a:lnTo>
                    <a:pt x="52" y="321"/>
                  </a:lnTo>
                  <a:lnTo>
                    <a:pt x="52" y="305"/>
                  </a:lnTo>
                  <a:lnTo>
                    <a:pt x="17" y="257"/>
                  </a:lnTo>
                  <a:lnTo>
                    <a:pt x="35" y="209"/>
                  </a:lnTo>
                  <a:lnTo>
                    <a:pt x="52" y="209"/>
                  </a:lnTo>
                  <a:lnTo>
                    <a:pt x="69" y="209"/>
                  </a:lnTo>
                  <a:lnTo>
                    <a:pt x="35" y="96"/>
                  </a:lnTo>
                  <a:lnTo>
                    <a:pt x="35" y="17"/>
                  </a:lnTo>
                  <a:lnTo>
                    <a:pt x="35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33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74" name="Freeform 169">
              <a:extLst>
                <a:ext uri="{FF2B5EF4-FFF2-40B4-BE49-F238E27FC236}">
                  <a16:creationId xmlns:a16="http://schemas.microsoft.com/office/drawing/2014/main" id="{A93BD830-4528-794D-93A2-1200475E2DF9}"/>
                </a:ext>
              </a:extLst>
            </p:cNvPr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6916854" y="3511890"/>
              <a:ext cx="1258780" cy="856526"/>
            </a:xfrm>
            <a:custGeom>
              <a:avLst/>
              <a:gdLst>
                <a:gd name="T0" fmla="*/ 76292 w 1664"/>
                <a:gd name="T1" fmla="*/ 34958 h 1071"/>
                <a:gd name="T2" fmla="*/ 92980 w 1664"/>
                <a:gd name="T3" fmla="*/ 50847 h 1071"/>
                <a:gd name="T4" fmla="*/ 123974 w 1664"/>
                <a:gd name="T5" fmla="*/ 79449 h 1071"/>
                <a:gd name="T6" fmla="*/ 169272 w 1664"/>
                <a:gd name="T7" fmla="*/ 88983 h 1071"/>
                <a:gd name="T8" fmla="*/ 207418 w 1664"/>
                <a:gd name="T9" fmla="*/ 73093 h 1071"/>
                <a:gd name="T10" fmla="*/ 217749 w 1664"/>
                <a:gd name="T11" fmla="*/ 66737 h 1071"/>
                <a:gd name="T12" fmla="*/ 247948 w 1664"/>
                <a:gd name="T13" fmla="*/ 54025 h 1071"/>
                <a:gd name="T14" fmla="*/ 234438 w 1664"/>
                <a:gd name="T15" fmla="*/ 47669 h 1071"/>
                <a:gd name="T16" fmla="*/ 231259 w 1664"/>
                <a:gd name="T17" fmla="*/ 28602 h 1071"/>
                <a:gd name="T18" fmla="*/ 251921 w 1664"/>
                <a:gd name="T19" fmla="*/ 15890 h 1071"/>
                <a:gd name="T20" fmla="*/ 251921 w 1664"/>
                <a:gd name="T21" fmla="*/ 9534 h 1071"/>
                <a:gd name="T22" fmla="*/ 278941 w 1664"/>
                <a:gd name="T23" fmla="*/ 3178 h 1071"/>
                <a:gd name="T24" fmla="*/ 299604 w 1664"/>
                <a:gd name="T25" fmla="*/ 31780 h 1071"/>
                <a:gd name="T26" fmla="*/ 317087 w 1664"/>
                <a:gd name="T27" fmla="*/ 44491 h 1071"/>
                <a:gd name="T28" fmla="*/ 321061 w 1664"/>
                <a:gd name="T29" fmla="*/ 66737 h 1071"/>
                <a:gd name="T30" fmla="*/ 313908 w 1664"/>
                <a:gd name="T31" fmla="*/ 76271 h 1071"/>
                <a:gd name="T32" fmla="*/ 299604 w 1664"/>
                <a:gd name="T33" fmla="*/ 85805 h 1071"/>
                <a:gd name="T34" fmla="*/ 289272 w 1664"/>
                <a:gd name="T35" fmla="*/ 88983 h 1071"/>
                <a:gd name="T36" fmla="*/ 268610 w 1664"/>
                <a:gd name="T37" fmla="*/ 101695 h 1071"/>
                <a:gd name="T38" fmla="*/ 258279 w 1664"/>
                <a:gd name="T39" fmla="*/ 101695 h 1071"/>
                <a:gd name="T40" fmla="*/ 247948 w 1664"/>
                <a:gd name="T41" fmla="*/ 101695 h 1071"/>
                <a:gd name="T42" fmla="*/ 238411 w 1664"/>
                <a:gd name="T43" fmla="*/ 108051 h 1071"/>
                <a:gd name="T44" fmla="*/ 265431 w 1664"/>
                <a:gd name="T45" fmla="*/ 117585 h 1071"/>
                <a:gd name="T46" fmla="*/ 255100 w 1664"/>
                <a:gd name="T47" fmla="*/ 120763 h 1071"/>
                <a:gd name="T48" fmla="*/ 255100 w 1664"/>
                <a:gd name="T49" fmla="*/ 146186 h 1071"/>
                <a:gd name="T50" fmla="*/ 262252 w 1664"/>
                <a:gd name="T51" fmla="*/ 155720 h 1071"/>
                <a:gd name="T52" fmla="*/ 258279 w 1664"/>
                <a:gd name="T53" fmla="*/ 171610 h 1071"/>
                <a:gd name="T54" fmla="*/ 247948 w 1664"/>
                <a:gd name="T55" fmla="*/ 184322 h 1071"/>
                <a:gd name="T56" fmla="*/ 241590 w 1664"/>
                <a:gd name="T57" fmla="*/ 193856 h 1071"/>
                <a:gd name="T58" fmla="*/ 220928 w 1664"/>
                <a:gd name="T59" fmla="*/ 203390 h 1071"/>
                <a:gd name="T60" fmla="*/ 213775 w 1664"/>
                <a:gd name="T61" fmla="*/ 203390 h 1071"/>
                <a:gd name="T62" fmla="*/ 197087 w 1664"/>
                <a:gd name="T63" fmla="*/ 206568 h 1071"/>
                <a:gd name="T64" fmla="*/ 179603 w 1664"/>
                <a:gd name="T65" fmla="*/ 206568 h 1071"/>
                <a:gd name="T66" fmla="*/ 158146 w 1664"/>
                <a:gd name="T67" fmla="*/ 203390 h 1071"/>
                <a:gd name="T68" fmla="*/ 151789 w 1664"/>
                <a:gd name="T69" fmla="*/ 203390 h 1071"/>
                <a:gd name="T70" fmla="*/ 148610 w 1664"/>
                <a:gd name="T71" fmla="*/ 206568 h 1071"/>
                <a:gd name="T72" fmla="*/ 138279 w 1664"/>
                <a:gd name="T73" fmla="*/ 200212 h 1071"/>
                <a:gd name="T74" fmla="*/ 131126 w 1664"/>
                <a:gd name="T75" fmla="*/ 193856 h 1071"/>
                <a:gd name="T76" fmla="*/ 127947 w 1664"/>
                <a:gd name="T77" fmla="*/ 171610 h 1071"/>
                <a:gd name="T78" fmla="*/ 96954 w 1664"/>
                <a:gd name="T79" fmla="*/ 171610 h 1071"/>
                <a:gd name="T80" fmla="*/ 79470 w 1664"/>
                <a:gd name="T81" fmla="*/ 171610 h 1071"/>
                <a:gd name="T82" fmla="*/ 58808 w 1664"/>
                <a:gd name="T83" fmla="*/ 168432 h 1071"/>
                <a:gd name="T84" fmla="*/ 44503 w 1664"/>
                <a:gd name="T85" fmla="*/ 158898 h 1071"/>
                <a:gd name="T86" fmla="*/ 24636 w 1664"/>
                <a:gd name="T87" fmla="*/ 146186 h 1071"/>
                <a:gd name="T88" fmla="*/ 34172 w 1664"/>
                <a:gd name="T89" fmla="*/ 133474 h 1071"/>
                <a:gd name="T90" fmla="*/ 20662 w 1664"/>
                <a:gd name="T91" fmla="*/ 127119 h 1071"/>
                <a:gd name="T92" fmla="*/ 3974 w 1664"/>
                <a:gd name="T93" fmla="*/ 117585 h 1071"/>
                <a:gd name="T94" fmla="*/ 0 w 1664"/>
                <a:gd name="T95" fmla="*/ 108051 h 1071"/>
                <a:gd name="T96" fmla="*/ 14305 w 1664"/>
                <a:gd name="T97" fmla="*/ 95339 h 1071"/>
                <a:gd name="T98" fmla="*/ 34172 w 1664"/>
                <a:gd name="T99" fmla="*/ 85805 h 1071"/>
                <a:gd name="T100" fmla="*/ 34172 w 1664"/>
                <a:gd name="T101" fmla="*/ 63559 h 1071"/>
                <a:gd name="T102" fmla="*/ 58808 w 1664"/>
                <a:gd name="T103" fmla="*/ 50847 h 1071"/>
                <a:gd name="T104" fmla="*/ 69139 w 1664"/>
                <a:gd name="T105" fmla="*/ 38136 h 107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664"/>
                <a:gd name="T160" fmla="*/ 0 h 1071"/>
                <a:gd name="T161" fmla="*/ 1664 w 1664"/>
                <a:gd name="T162" fmla="*/ 1071 h 1071"/>
                <a:gd name="connsiteX0" fmla="*/ 2085 w 10000"/>
                <a:gd name="connsiteY0" fmla="*/ 1793 h 10000"/>
                <a:gd name="connsiteX1" fmla="*/ 2085 w 10000"/>
                <a:gd name="connsiteY1" fmla="*/ 1793 h 10000"/>
                <a:gd name="connsiteX2" fmla="*/ 2296 w 10000"/>
                <a:gd name="connsiteY2" fmla="*/ 1643 h 10000"/>
                <a:gd name="connsiteX3" fmla="*/ 2500 w 10000"/>
                <a:gd name="connsiteY3" fmla="*/ 2092 h 10000"/>
                <a:gd name="connsiteX4" fmla="*/ 2710 w 10000"/>
                <a:gd name="connsiteY4" fmla="*/ 2092 h 10000"/>
                <a:gd name="connsiteX5" fmla="*/ 2813 w 10000"/>
                <a:gd name="connsiteY5" fmla="*/ 2381 h 10000"/>
                <a:gd name="connsiteX6" fmla="*/ 2813 w 10000"/>
                <a:gd name="connsiteY6" fmla="*/ 2988 h 10000"/>
                <a:gd name="connsiteX7" fmla="*/ 3438 w 10000"/>
                <a:gd name="connsiteY7" fmla="*/ 3277 h 10000"/>
                <a:gd name="connsiteX8" fmla="*/ 3750 w 10000"/>
                <a:gd name="connsiteY8" fmla="*/ 3725 h 10000"/>
                <a:gd name="connsiteX9" fmla="*/ 4369 w 10000"/>
                <a:gd name="connsiteY9" fmla="*/ 3725 h 10000"/>
                <a:gd name="connsiteX10" fmla="*/ 4681 w 10000"/>
                <a:gd name="connsiteY10" fmla="*/ 4034 h 10000"/>
                <a:gd name="connsiteX11" fmla="*/ 5096 w 10000"/>
                <a:gd name="connsiteY11" fmla="*/ 4174 h 10000"/>
                <a:gd name="connsiteX12" fmla="*/ 5523 w 10000"/>
                <a:gd name="connsiteY12" fmla="*/ 3884 h 10000"/>
                <a:gd name="connsiteX13" fmla="*/ 5938 w 10000"/>
                <a:gd name="connsiteY13" fmla="*/ 3884 h 10000"/>
                <a:gd name="connsiteX14" fmla="*/ 6250 w 10000"/>
                <a:gd name="connsiteY14" fmla="*/ 3436 h 10000"/>
                <a:gd name="connsiteX15" fmla="*/ 6148 w 10000"/>
                <a:gd name="connsiteY15" fmla="*/ 3277 h 10000"/>
                <a:gd name="connsiteX16" fmla="*/ 6352 w 10000"/>
                <a:gd name="connsiteY16" fmla="*/ 2988 h 10000"/>
                <a:gd name="connsiteX17" fmla="*/ 6563 w 10000"/>
                <a:gd name="connsiteY17" fmla="*/ 3137 h 10000"/>
                <a:gd name="connsiteX18" fmla="*/ 6875 w 10000"/>
                <a:gd name="connsiteY18" fmla="*/ 2829 h 10000"/>
                <a:gd name="connsiteX19" fmla="*/ 7079 w 10000"/>
                <a:gd name="connsiteY19" fmla="*/ 2540 h 10000"/>
                <a:gd name="connsiteX20" fmla="*/ 7494 w 10000"/>
                <a:gd name="connsiteY20" fmla="*/ 2540 h 10000"/>
                <a:gd name="connsiteX21" fmla="*/ 7392 w 10000"/>
                <a:gd name="connsiteY21" fmla="*/ 2241 h 10000"/>
                <a:gd name="connsiteX22" fmla="*/ 7290 w 10000"/>
                <a:gd name="connsiteY22" fmla="*/ 2092 h 10000"/>
                <a:gd name="connsiteX23" fmla="*/ 7079 w 10000"/>
                <a:gd name="connsiteY23" fmla="*/ 2241 h 10000"/>
                <a:gd name="connsiteX24" fmla="*/ 6875 w 10000"/>
                <a:gd name="connsiteY24" fmla="*/ 2241 h 10000"/>
                <a:gd name="connsiteX25" fmla="*/ 6875 w 10000"/>
                <a:gd name="connsiteY25" fmla="*/ 1643 h 10000"/>
                <a:gd name="connsiteX26" fmla="*/ 6977 w 10000"/>
                <a:gd name="connsiteY26" fmla="*/ 1345 h 10000"/>
                <a:gd name="connsiteX27" fmla="*/ 7188 w 10000"/>
                <a:gd name="connsiteY27" fmla="*/ 1485 h 10000"/>
                <a:gd name="connsiteX28" fmla="*/ 7494 w 10000"/>
                <a:gd name="connsiteY28" fmla="*/ 1345 h 10000"/>
                <a:gd name="connsiteX29" fmla="*/ 7602 w 10000"/>
                <a:gd name="connsiteY29" fmla="*/ 747 h 10000"/>
                <a:gd name="connsiteX30" fmla="*/ 7704 w 10000"/>
                <a:gd name="connsiteY30" fmla="*/ 588 h 10000"/>
                <a:gd name="connsiteX31" fmla="*/ 7704 w 10000"/>
                <a:gd name="connsiteY31" fmla="*/ 448 h 10000"/>
                <a:gd name="connsiteX32" fmla="*/ 7602 w 10000"/>
                <a:gd name="connsiteY32" fmla="*/ 448 h 10000"/>
                <a:gd name="connsiteX33" fmla="*/ 7704 w 10000"/>
                <a:gd name="connsiteY33" fmla="*/ 140 h 10000"/>
                <a:gd name="connsiteX34" fmla="*/ 8119 w 10000"/>
                <a:gd name="connsiteY34" fmla="*/ 0 h 10000"/>
                <a:gd name="connsiteX35" fmla="*/ 8431 w 10000"/>
                <a:gd name="connsiteY35" fmla="*/ 140 h 10000"/>
                <a:gd name="connsiteX36" fmla="*/ 8642 w 10000"/>
                <a:gd name="connsiteY36" fmla="*/ 448 h 10000"/>
                <a:gd name="connsiteX37" fmla="*/ 8846 w 10000"/>
                <a:gd name="connsiteY37" fmla="*/ 1485 h 10000"/>
                <a:gd name="connsiteX38" fmla="*/ 9056 w 10000"/>
                <a:gd name="connsiteY38" fmla="*/ 1485 h 10000"/>
                <a:gd name="connsiteX39" fmla="*/ 9363 w 10000"/>
                <a:gd name="connsiteY39" fmla="*/ 1793 h 10000"/>
                <a:gd name="connsiteX40" fmla="*/ 9363 w 10000"/>
                <a:gd name="connsiteY40" fmla="*/ 2092 h 10000"/>
                <a:gd name="connsiteX41" fmla="*/ 9585 w 10000"/>
                <a:gd name="connsiteY41" fmla="*/ 2092 h 10000"/>
                <a:gd name="connsiteX42" fmla="*/ 10000 w 10000"/>
                <a:gd name="connsiteY42" fmla="*/ 1933 h 10000"/>
                <a:gd name="connsiteX43" fmla="*/ 10000 w 10000"/>
                <a:gd name="connsiteY43" fmla="*/ 2241 h 10000"/>
                <a:gd name="connsiteX44" fmla="*/ 9688 w 10000"/>
                <a:gd name="connsiteY44" fmla="*/ 3137 h 10000"/>
                <a:gd name="connsiteX45" fmla="*/ 9585 w 10000"/>
                <a:gd name="connsiteY45" fmla="*/ 2988 h 10000"/>
                <a:gd name="connsiteX46" fmla="*/ 9363 w 10000"/>
                <a:gd name="connsiteY46" fmla="*/ 3137 h 10000"/>
                <a:gd name="connsiteX47" fmla="*/ 9483 w 10000"/>
                <a:gd name="connsiteY47" fmla="*/ 3585 h 10000"/>
                <a:gd name="connsiteX48" fmla="*/ 9363 w 10000"/>
                <a:gd name="connsiteY48" fmla="*/ 3884 h 10000"/>
                <a:gd name="connsiteX49" fmla="*/ 9261 w 10000"/>
                <a:gd name="connsiteY49" fmla="*/ 3884 h 10000"/>
                <a:gd name="connsiteX50" fmla="*/ 9056 w 10000"/>
                <a:gd name="connsiteY50" fmla="*/ 4034 h 10000"/>
                <a:gd name="connsiteX51" fmla="*/ 8948 w 10000"/>
                <a:gd name="connsiteY51" fmla="*/ 4034 h 10000"/>
                <a:gd name="connsiteX52" fmla="*/ 8846 w 10000"/>
                <a:gd name="connsiteY52" fmla="*/ 4174 h 10000"/>
                <a:gd name="connsiteX53" fmla="*/ 8744 w 10000"/>
                <a:gd name="connsiteY53" fmla="*/ 4174 h 10000"/>
                <a:gd name="connsiteX54" fmla="*/ 8329 w 10000"/>
                <a:gd name="connsiteY54" fmla="*/ 4622 h 10000"/>
                <a:gd name="connsiteX55" fmla="*/ 8329 w 10000"/>
                <a:gd name="connsiteY55" fmla="*/ 4781 h 10000"/>
                <a:gd name="connsiteX56" fmla="*/ 8119 w 10000"/>
                <a:gd name="connsiteY56" fmla="*/ 4781 h 10000"/>
                <a:gd name="connsiteX57" fmla="*/ 7806 w 10000"/>
                <a:gd name="connsiteY57" fmla="*/ 5070 h 10000"/>
                <a:gd name="connsiteX58" fmla="*/ 7806 w 10000"/>
                <a:gd name="connsiteY58" fmla="*/ 4930 h 10000"/>
                <a:gd name="connsiteX59" fmla="*/ 7806 w 10000"/>
                <a:gd name="connsiteY59" fmla="*/ 4781 h 10000"/>
                <a:gd name="connsiteX60" fmla="*/ 7915 w 10000"/>
                <a:gd name="connsiteY60" fmla="*/ 4482 h 10000"/>
                <a:gd name="connsiteX61" fmla="*/ 7806 w 10000"/>
                <a:gd name="connsiteY61" fmla="*/ 4332 h 10000"/>
                <a:gd name="connsiteX62" fmla="*/ 7494 w 10000"/>
                <a:gd name="connsiteY62" fmla="*/ 4781 h 10000"/>
                <a:gd name="connsiteX63" fmla="*/ 7392 w 10000"/>
                <a:gd name="connsiteY63" fmla="*/ 4930 h 10000"/>
                <a:gd name="connsiteX64" fmla="*/ 7290 w 10000"/>
                <a:gd name="connsiteY64" fmla="*/ 4930 h 10000"/>
                <a:gd name="connsiteX65" fmla="*/ 7188 w 10000"/>
                <a:gd name="connsiteY65" fmla="*/ 5070 h 10000"/>
                <a:gd name="connsiteX66" fmla="*/ 7494 w 10000"/>
                <a:gd name="connsiteY66" fmla="*/ 5518 h 10000"/>
                <a:gd name="connsiteX67" fmla="*/ 7704 w 10000"/>
                <a:gd name="connsiteY67" fmla="*/ 5369 h 10000"/>
                <a:gd name="connsiteX68" fmla="*/ 8017 w 10000"/>
                <a:gd name="connsiteY68" fmla="*/ 5518 h 10000"/>
                <a:gd name="connsiteX69" fmla="*/ 8017 w 10000"/>
                <a:gd name="connsiteY69" fmla="*/ 5677 h 10000"/>
                <a:gd name="connsiteX70" fmla="*/ 7915 w 10000"/>
                <a:gd name="connsiteY70" fmla="*/ 5518 h 10000"/>
                <a:gd name="connsiteX71" fmla="*/ 7704 w 10000"/>
                <a:gd name="connsiteY71" fmla="*/ 5677 h 10000"/>
                <a:gd name="connsiteX72" fmla="*/ 7494 w 10000"/>
                <a:gd name="connsiteY72" fmla="*/ 6125 h 10000"/>
                <a:gd name="connsiteX73" fmla="*/ 7602 w 10000"/>
                <a:gd name="connsiteY73" fmla="*/ 6265 h 10000"/>
                <a:gd name="connsiteX74" fmla="*/ 7704 w 10000"/>
                <a:gd name="connsiteY74" fmla="*/ 6863 h 10000"/>
                <a:gd name="connsiteX75" fmla="*/ 7915 w 10000"/>
                <a:gd name="connsiteY75" fmla="*/ 7021 h 10000"/>
                <a:gd name="connsiteX76" fmla="*/ 7806 w 10000"/>
                <a:gd name="connsiteY76" fmla="*/ 7021 h 10000"/>
                <a:gd name="connsiteX77" fmla="*/ 7915 w 10000"/>
                <a:gd name="connsiteY77" fmla="*/ 7311 h 10000"/>
                <a:gd name="connsiteX78" fmla="*/ 7602 w 10000"/>
                <a:gd name="connsiteY78" fmla="*/ 7470 h 10000"/>
                <a:gd name="connsiteX79" fmla="*/ 7915 w 10000"/>
                <a:gd name="connsiteY79" fmla="*/ 7470 h 10000"/>
                <a:gd name="connsiteX80" fmla="*/ 7806 w 10000"/>
                <a:gd name="connsiteY80" fmla="*/ 8058 h 10000"/>
                <a:gd name="connsiteX81" fmla="*/ 7602 w 10000"/>
                <a:gd name="connsiteY81" fmla="*/ 8366 h 10000"/>
                <a:gd name="connsiteX82" fmla="*/ 7494 w 10000"/>
                <a:gd name="connsiteY82" fmla="*/ 8366 h 10000"/>
                <a:gd name="connsiteX83" fmla="*/ 7494 w 10000"/>
                <a:gd name="connsiteY83" fmla="*/ 8655 h 10000"/>
                <a:gd name="connsiteX84" fmla="*/ 7392 w 10000"/>
                <a:gd name="connsiteY84" fmla="*/ 8954 h 10000"/>
                <a:gd name="connsiteX85" fmla="*/ 7290 w 10000"/>
                <a:gd name="connsiteY85" fmla="*/ 8954 h 10000"/>
                <a:gd name="connsiteX86" fmla="*/ 7290 w 10000"/>
                <a:gd name="connsiteY86" fmla="*/ 9104 h 10000"/>
                <a:gd name="connsiteX87" fmla="*/ 6977 w 10000"/>
                <a:gd name="connsiteY87" fmla="*/ 9402 h 10000"/>
                <a:gd name="connsiteX88" fmla="*/ 6665 w 10000"/>
                <a:gd name="connsiteY88" fmla="*/ 9402 h 10000"/>
                <a:gd name="connsiteX89" fmla="*/ 6665 w 10000"/>
                <a:gd name="connsiteY89" fmla="*/ 9552 h 10000"/>
                <a:gd name="connsiteX90" fmla="*/ 6563 w 10000"/>
                <a:gd name="connsiteY90" fmla="*/ 9402 h 10000"/>
                <a:gd name="connsiteX91" fmla="*/ 6563 w 10000"/>
                <a:gd name="connsiteY91" fmla="*/ 9552 h 10000"/>
                <a:gd name="connsiteX92" fmla="*/ 6460 w 10000"/>
                <a:gd name="connsiteY92" fmla="*/ 9552 h 10000"/>
                <a:gd name="connsiteX93" fmla="*/ 6046 w 10000"/>
                <a:gd name="connsiteY93" fmla="*/ 9851 h 10000"/>
                <a:gd name="connsiteX94" fmla="*/ 5938 w 10000"/>
                <a:gd name="connsiteY94" fmla="*/ 10000 h 10000"/>
                <a:gd name="connsiteX95" fmla="*/ 5938 w 10000"/>
                <a:gd name="connsiteY95" fmla="*/ 9711 h 10000"/>
                <a:gd name="connsiteX96" fmla="*/ 5733 w 10000"/>
                <a:gd name="connsiteY96" fmla="*/ 9711 h 10000"/>
                <a:gd name="connsiteX97" fmla="*/ 5625 w 10000"/>
                <a:gd name="connsiteY97" fmla="*/ 9711 h 10000"/>
                <a:gd name="connsiteX98" fmla="*/ 5409 w 10000"/>
                <a:gd name="connsiteY98" fmla="*/ 9711 h 10000"/>
                <a:gd name="connsiteX99" fmla="*/ 5409 w 10000"/>
                <a:gd name="connsiteY99" fmla="*/ 9402 h 10000"/>
                <a:gd name="connsiteX100" fmla="*/ 5198 w 10000"/>
                <a:gd name="connsiteY100" fmla="*/ 9402 h 10000"/>
                <a:gd name="connsiteX101" fmla="*/ 4784 w 10000"/>
                <a:gd name="connsiteY101" fmla="*/ 9552 h 10000"/>
                <a:gd name="connsiteX102" fmla="*/ 4681 w 10000"/>
                <a:gd name="connsiteY102" fmla="*/ 9402 h 10000"/>
                <a:gd name="connsiteX103" fmla="*/ 4681 w 10000"/>
                <a:gd name="connsiteY103" fmla="*/ 9552 h 10000"/>
                <a:gd name="connsiteX104" fmla="*/ 4579 w 10000"/>
                <a:gd name="connsiteY104" fmla="*/ 9552 h 10000"/>
                <a:gd name="connsiteX105" fmla="*/ 4579 w 10000"/>
                <a:gd name="connsiteY105" fmla="*/ 9851 h 10000"/>
                <a:gd name="connsiteX106" fmla="*/ 4477 w 10000"/>
                <a:gd name="connsiteY106" fmla="*/ 9851 h 10000"/>
                <a:gd name="connsiteX107" fmla="*/ 4477 w 10000"/>
                <a:gd name="connsiteY107" fmla="*/ 9711 h 10000"/>
                <a:gd name="connsiteX108" fmla="*/ 4369 w 10000"/>
                <a:gd name="connsiteY108" fmla="*/ 9711 h 10000"/>
                <a:gd name="connsiteX109" fmla="*/ 4165 w 10000"/>
                <a:gd name="connsiteY109" fmla="*/ 9552 h 10000"/>
                <a:gd name="connsiteX110" fmla="*/ 4165 w 10000"/>
                <a:gd name="connsiteY110" fmla="*/ 9402 h 10000"/>
                <a:gd name="connsiteX111" fmla="*/ 4165 w 10000"/>
                <a:gd name="connsiteY111" fmla="*/ 9262 h 10000"/>
                <a:gd name="connsiteX112" fmla="*/ 4056 w 10000"/>
                <a:gd name="connsiteY112" fmla="*/ 9104 h 10000"/>
                <a:gd name="connsiteX113" fmla="*/ 3954 w 10000"/>
                <a:gd name="connsiteY113" fmla="*/ 9104 h 10000"/>
                <a:gd name="connsiteX114" fmla="*/ 4056 w 10000"/>
                <a:gd name="connsiteY114" fmla="*/ 8366 h 10000"/>
                <a:gd name="connsiteX115" fmla="*/ 3954 w 10000"/>
                <a:gd name="connsiteY115" fmla="*/ 8058 h 10000"/>
                <a:gd name="connsiteX116" fmla="*/ 3852 w 10000"/>
                <a:gd name="connsiteY116" fmla="*/ 8058 h 10000"/>
                <a:gd name="connsiteX117" fmla="*/ 3642 w 10000"/>
                <a:gd name="connsiteY117" fmla="*/ 7759 h 10000"/>
                <a:gd name="connsiteX118" fmla="*/ 3438 w 10000"/>
                <a:gd name="connsiteY118" fmla="*/ 7759 h 10000"/>
                <a:gd name="connsiteX119" fmla="*/ 2915 w 10000"/>
                <a:gd name="connsiteY119" fmla="*/ 8058 h 10000"/>
                <a:gd name="connsiteX120" fmla="*/ 2608 w 10000"/>
                <a:gd name="connsiteY120" fmla="*/ 8058 h 10000"/>
                <a:gd name="connsiteX121" fmla="*/ 2500 w 10000"/>
                <a:gd name="connsiteY121" fmla="*/ 8207 h 10000"/>
                <a:gd name="connsiteX122" fmla="*/ 2398 w 10000"/>
                <a:gd name="connsiteY122" fmla="*/ 8058 h 10000"/>
                <a:gd name="connsiteX123" fmla="*/ 2296 w 10000"/>
                <a:gd name="connsiteY123" fmla="*/ 8058 h 10000"/>
                <a:gd name="connsiteX124" fmla="*/ 1983 w 10000"/>
                <a:gd name="connsiteY124" fmla="*/ 8058 h 10000"/>
                <a:gd name="connsiteX125" fmla="*/ 1773 w 10000"/>
                <a:gd name="connsiteY125" fmla="*/ 7918 h 10000"/>
                <a:gd name="connsiteX126" fmla="*/ 1671 w 10000"/>
                <a:gd name="connsiteY126" fmla="*/ 7759 h 10000"/>
                <a:gd name="connsiteX127" fmla="*/ 1556 w 10000"/>
                <a:gd name="connsiteY127" fmla="*/ 7759 h 10000"/>
                <a:gd name="connsiteX128" fmla="*/ 1346 w 10000"/>
                <a:gd name="connsiteY128" fmla="*/ 7470 h 10000"/>
                <a:gd name="connsiteX129" fmla="*/ 1142 w 10000"/>
                <a:gd name="connsiteY129" fmla="*/ 7470 h 10000"/>
                <a:gd name="connsiteX130" fmla="*/ 829 w 10000"/>
                <a:gd name="connsiteY130" fmla="*/ 7311 h 10000"/>
                <a:gd name="connsiteX131" fmla="*/ 727 w 10000"/>
                <a:gd name="connsiteY131" fmla="*/ 6863 h 10000"/>
                <a:gd name="connsiteX132" fmla="*/ 931 w 10000"/>
                <a:gd name="connsiteY132" fmla="*/ 6863 h 10000"/>
                <a:gd name="connsiteX133" fmla="*/ 829 w 10000"/>
                <a:gd name="connsiteY133" fmla="*/ 6573 h 10000"/>
                <a:gd name="connsiteX134" fmla="*/ 1034 w 10000"/>
                <a:gd name="connsiteY134" fmla="*/ 6265 h 10000"/>
                <a:gd name="connsiteX135" fmla="*/ 1034 w 10000"/>
                <a:gd name="connsiteY135" fmla="*/ 5966 h 10000"/>
                <a:gd name="connsiteX136" fmla="*/ 931 w 10000"/>
                <a:gd name="connsiteY136" fmla="*/ 5817 h 10000"/>
                <a:gd name="connsiteX137" fmla="*/ 619 w 10000"/>
                <a:gd name="connsiteY137" fmla="*/ 5966 h 10000"/>
                <a:gd name="connsiteX138" fmla="*/ 415 w 10000"/>
                <a:gd name="connsiteY138" fmla="*/ 5817 h 10000"/>
                <a:gd name="connsiteX139" fmla="*/ 306 w 10000"/>
                <a:gd name="connsiteY139" fmla="*/ 5677 h 10000"/>
                <a:gd name="connsiteX140" fmla="*/ 102 w 10000"/>
                <a:gd name="connsiteY140" fmla="*/ 5518 h 10000"/>
                <a:gd name="connsiteX141" fmla="*/ 216 w 10000"/>
                <a:gd name="connsiteY141" fmla="*/ 5243 h 10000"/>
                <a:gd name="connsiteX142" fmla="*/ 204 w 10000"/>
                <a:gd name="connsiteY142" fmla="*/ 5070 h 10000"/>
                <a:gd name="connsiteX143" fmla="*/ 0 w 10000"/>
                <a:gd name="connsiteY143" fmla="*/ 5070 h 10000"/>
                <a:gd name="connsiteX144" fmla="*/ 0 w 10000"/>
                <a:gd name="connsiteY144" fmla="*/ 4622 h 10000"/>
                <a:gd name="connsiteX145" fmla="*/ 204 w 10000"/>
                <a:gd name="connsiteY145" fmla="*/ 4482 h 10000"/>
                <a:gd name="connsiteX146" fmla="*/ 415 w 10000"/>
                <a:gd name="connsiteY146" fmla="*/ 4482 h 10000"/>
                <a:gd name="connsiteX147" fmla="*/ 517 w 10000"/>
                <a:gd name="connsiteY147" fmla="*/ 4332 h 10000"/>
                <a:gd name="connsiteX148" fmla="*/ 727 w 10000"/>
                <a:gd name="connsiteY148" fmla="*/ 4332 h 10000"/>
                <a:gd name="connsiteX149" fmla="*/ 1034 w 10000"/>
                <a:gd name="connsiteY149" fmla="*/ 4034 h 10000"/>
                <a:gd name="connsiteX150" fmla="*/ 1142 w 10000"/>
                <a:gd name="connsiteY150" fmla="*/ 3725 h 10000"/>
                <a:gd name="connsiteX151" fmla="*/ 1034 w 10000"/>
                <a:gd name="connsiteY151" fmla="*/ 3137 h 10000"/>
                <a:gd name="connsiteX152" fmla="*/ 1034 w 10000"/>
                <a:gd name="connsiteY152" fmla="*/ 2988 h 10000"/>
                <a:gd name="connsiteX153" fmla="*/ 1346 w 10000"/>
                <a:gd name="connsiteY153" fmla="*/ 2988 h 10000"/>
                <a:gd name="connsiteX154" fmla="*/ 1454 w 10000"/>
                <a:gd name="connsiteY154" fmla="*/ 2381 h 10000"/>
                <a:gd name="connsiteX155" fmla="*/ 1773 w 10000"/>
                <a:gd name="connsiteY155" fmla="*/ 2381 h 10000"/>
                <a:gd name="connsiteX156" fmla="*/ 1881 w 10000"/>
                <a:gd name="connsiteY156" fmla="*/ 2381 h 10000"/>
                <a:gd name="connsiteX157" fmla="*/ 1983 w 10000"/>
                <a:gd name="connsiteY157" fmla="*/ 1933 h 10000"/>
                <a:gd name="connsiteX158" fmla="*/ 2085 w 10000"/>
                <a:gd name="connsiteY158" fmla="*/ 1793 h 10000"/>
                <a:gd name="connsiteX0" fmla="*/ 2085 w 10000"/>
                <a:gd name="connsiteY0" fmla="*/ 1793 h 10000"/>
                <a:gd name="connsiteX1" fmla="*/ 2085 w 10000"/>
                <a:gd name="connsiteY1" fmla="*/ 1793 h 10000"/>
                <a:gd name="connsiteX2" fmla="*/ 2296 w 10000"/>
                <a:gd name="connsiteY2" fmla="*/ 1643 h 10000"/>
                <a:gd name="connsiteX3" fmla="*/ 2500 w 10000"/>
                <a:gd name="connsiteY3" fmla="*/ 2092 h 10000"/>
                <a:gd name="connsiteX4" fmla="*/ 2710 w 10000"/>
                <a:gd name="connsiteY4" fmla="*/ 2092 h 10000"/>
                <a:gd name="connsiteX5" fmla="*/ 2813 w 10000"/>
                <a:gd name="connsiteY5" fmla="*/ 2381 h 10000"/>
                <a:gd name="connsiteX6" fmla="*/ 2813 w 10000"/>
                <a:gd name="connsiteY6" fmla="*/ 2988 h 10000"/>
                <a:gd name="connsiteX7" fmla="*/ 3438 w 10000"/>
                <a:gd name="connsiteY7" fmla="*/ 3277 h 10000"/>
                <a:gd name="connsiteX8" fmla="*/ 3750 w 10000"/>
                <a:gd name="connsiteY8" fmla="*/ 3725 h 10000"/>
                <a:gd name="connsiteX9" fmla="*/ 4369 w 10000"/>
                <a:gd name="connsiteY9" fmla="*/ 3725 h 10000"/>
                <a:gd name="connsiteX10" fmla="*/ 4681 w 10000"/>
                <a:gd name="connsiteY10" fmla="*/ 4034 h 10000"/>
                <a:gd name="connsiteX11" fmla="*/ 5096 w 10000"/>
                <a:gd name="connsiteY11" fmla="*/ 4174 h 10000"/>
                <a:gd name="connsiteX12" fmla="*/ 5523 w 10000"/>
                <a:gd name="connsiteY12" fmla="*/ 3884 h 10000"/>
                <a:gd name="connsiteX13" fmla="*/ 5938 w 10000"/>
                <a:gd name="connsiteY13" fmla="*/ 3884 h 10000"/>
                <a:gd name="connsiteX14" fmla="*/ 6250 w 10000"/>
                <a:gd name="connsiteY14" fmla="*/ 3436 h 10000"/>
                <a:gd name="connsiteX15" fmla="*/ 6148 w 10000"/>
                <a:gd name="connsiteY15" fmla="*/ 3277 h 10000"/>
                <a:gd name="connsiteX16" fmla="*/ 6352 w 10000"/>
                <a:gd name="connsiteY16" fmla="*/ 2988 h 10000"/>
                <a:gd name="connsiteX17" fmla="*/ 6563 w 10000"/>
                <a:gd name="connsiteY17" fmla="*/ 3137 h 10000"/>
                <a:gd name="connsiteX18" fmla="*/ 6875 w 10000"/>
                <a:gd name="connsiteY18" fmla="*/ 2829 h 10000"/>
                <a:gd name="connsiteX19" fmla="*/ 7079 w 10000"/>
                <a:gd name="connsiteY19" fmla="*/ 2540 h 10000"/>
                <a:gd name="connsiteX20" fmla="*/ 7494 w 10000"/>
                <a:gd name="connsiteY20" fmla="*/ 2540 h 10000"/>
                <a:gd name="connsiteX21" fmla="*/ 7392 w 10000"/>
                <a:gd name="connsiteY21" fmla="*/ 2241 h 10000"/>
                <a:gd name="connsiteX22" fmla="*/ 7290 w 10000"/>
                <a:gd name="connsiteY22" fmla="*/ 2092 h 10000"/>
                <a:gd name="connsiteX23" fmla="*/ 7079 w 10000"/>
                <a:gd name="connsiteY23" fmla="*/ 2241 h 10000"/>
                <a:gd name="connsiteX24" fmla="*/ 6875 w 10000"/>
                <a:gd name="connsiteY24" fmla="*/ 2241 h 10000"/>
                <a:gd name="connsiteX25" fmla="*/ 6875 w 10000"/>
                <a:gd name="connsiteY25" fmla="*/ 1643 h 10000"/>
                <a:gd name="connsiteX26" fmla="*/ 6977 w 10000"/>
                <a:gd name="connsiteY26" fmla="*/ 1345 h 10000"/>
                <a:gd name="connsiteX27" fmla="*/ 7188 w 10000"/>
                <a:gd name="connsiteY27" fmla="*/ 1485 h 10000"/>
                <a:gd name="connsiteX28" fmla="*/ 7494 w 10000"/>
                <a:gd name="connsiteY28" fmla="*/ 1345 h 10000"/>
                <a:gd name="connsiteX29" fmla="*/ 7602 w 10000"/>
                <a:gd name="connsiteY29" fmla="*/ 747 h 10000"/>
                <a:gd name="connsiteX30" fmla="*/ 7704 w 10000"/>
                <a:gd name="connsiteY30" fmla="*/ 588 h 10000"/>
                <a:gd name="connsiteX31" fmla="*/ 7704 w 10000"/>
                <a:gd name="connsiteY31" fmla="*/ 448 h 10000"/>
                <a:gd name="connsiteX32" fmla="*/ 7602 w 10000"/>
                <a:gd name="connsiteY32" fmla="*/ 448 h 10000"/>
                <a:gd name="connsiteX33" fmla="*/ 7704 w 10000"/>
                <a:gd name="connsiteY33" fmla="*/ 140 h 10000"/>
                <a:gd name="connsiteX34" fmla="*/ 8119 w 10000"/>
                <a:gd name="connsiteY34" fmla="*/ 0 h 10000"/>
                <a:gd name="connsiteX35" fmla="*/ 8431 w 10000"/>
                <a:gd name="connsiteY35" fmla="*/ 140 h 10000"/>
                <a:gd name="connsiteX36" fmla="*/ 8642 w 10000"/>
                <a:gd name="connsiteY36" fmla="*/ 448 h 10000"/>
                <a:gd name="connsiteX37" fmla="*/ 8846 w 10000"/>
                <a:gd name="connsiteY37" fmla="*/ 1485 h 10000"/>
                <a:gd name="connsiteX38" fmla="*/ 9056 w 10000"/>
                <a:gd name="connsiteY38" fmla="*/ 1485 h 10000"/>
                <a:gd name="connsiteX39" fmla="*/ 9363 w 10000"/>
                <a:gd name="connsiteY39" fmla="*/ 1793 h 10000"/>
                <a:gd name="connsiteX40" fmla="*/ 9363 w 10000"/>
                <a:gd name="connsiteY40" fmla="*/ 2092 h 10000"/>
                <a:gd name="connsiteX41" fmla="*/ 9585 w 10000"/>
                <a:gd name="connsiteY41" fmla="*/ 2092 h 10000"/>
                <a:gd name="connsiteX42" fmla="*/ 10000 w 10000"/>
                <a:gd name="connsiteY42" fmla="*/ 1933 h 10000"/>
                <a:gd name="connsiteX43" fmla="*/ 10000 w 10000"/>
                <a:gd name="connsiteY43" fmla="*/ 2241 h 10000"/>
                <a:gd name="connsiteX44" fmla="*/ 9688 w 10000"/>
                <a:gd name="connsiteY44" fmla="*/ 3137 h 10000"/>
                <a:gd name="connsiteX45" fmla="*/ 9585 w 10000"/>
                <a:gd name="connsiteY45" fmla="*/ 2988 h 10000"/>
                <a:gd name="connsiteX46" fmla="*/ 9363 w 10000"/>
                <a:gd name="connsiteY46" fmla="*/ 3137 h 10000"/>
                <a:gd name="connsiteX47" fmla="*/ 9483 w 10000"/>
                <a:gd name="connsiteY47" fmla="*/ 3585 h 10000"/>
                <a:gd name="connsiteX48" fmla="*/ 9363 w 10000"/>
                <a:gd name="connsiteY48" fmla="*/ 3884 h 10000"/>
                <a:gd name="connsiteX49" fmla="*/ 9261 w 10000"/>
                <a:gd name="connsiteY49" fmla="*/ 3884 h 10000"/>
                <a:gd name="connsiteX50" fmla="*/ 9056 w 10000"/>
                <a:gd name="connsiteY50" fmla="*/ 4034 h 10000"/>
                <a:gd name="connsiteX51" fmla="*/ 8948 w 10000"/>
                <a:gd name="connsiteY51" fmla="*/ 4034 h 10000"/>
                <a:gd name="connsiteX52" fmla="*/ 8846 w 10000"/>
                <a:gd name="connsiteY52" fmla="*/ 4174 h 10000"/>
                <a:gd name="connsiteX53" fmla="*/ 8744 w 10000"/>
                <a:gd name="connsiteY53" fmla="*/ 4174 h 10000"/>
                <a:gd name="connsiteX54" fmla="*/ 8329 w 10000"/>
                <a:gd name="connsiteY54" fmla="*/ 4622 h 10000"/>
                <a:gd name="connsiteX55" fmla="*/ 8329 w 10000"/>
                <a:gd name="connsiteY55" fmla="*/ 4781 h 10000"/>
                <a:gd name="connsiteX56" fmla="*/ 8119 w 10000"/>
                <a:gd name="connsiteY56" fmla="*/ 4781 h 10000"/>
                <a:gd name="connsiteX57" fmla="*/ 7806 w 10000"/>
                <a:gd name="connsiteY57" fmla="*/ 5070 h 10000"/>
                <a:gd name="connsiteX58" fmla="*/ 7806 w 10000"/>
                <a:gd name="connsiteY58" fmla="*/ 4930 h 10000"/>
                <a:gd name="connsiteX59" fmla="*/ 7806 w 10000"/>
                <a:gd name="connsiteY59" fmla="*/ 4781 h 10000"/>
                <a:gd name="connsiteX60" fmla="*/ 7915 w 10000"/>
                <a:gd name="connsiteY60" fmla="*/ 4482 h 10000"/>
                <a:gd name="connsiteX61" fmla="*/ 7806 w 10000"/>
                <a:gd name="connsiteY61" fmla="*/ 4332 h 10000"/>
                <a:gd name="connsiteX62" fmla="*/ 7494 w 10000"/>
                <a:gd name="connsiteY62" fmla="*/ 4781 h 10000"/>
                <a:gd name="connsiteX63" fmla="*/ 7392 w 10000"/>
                <a:gd name="connsiteY63" fmla="*/ 4930 h 10000"/>
                <a:gd name="connsiteX64" fmla="*/ 7290 w 10000"/>
                <a:gd name="connsiteY64" fmla="*/ 4930 h 10000"/>
                <a:gd name="connsiteX65" fmla="*/ 7188 w 10000"/>
                <a:gd name="connsiteY65" fmla="*/ 5070 h 10000"/>
                <a:gd name="connsiteX66" fmla="*/ 7494 w 10000"/>
                <a:gd name="connsiteY66" fmla="*/ 5518 h 10000"/>
                <a:gd name="connsiteX67" fmla="*/ 7704 w 10000"/>
                <a:gd name="connsiteY67" fmla="*/ 5369 h 10000"/>
                <a:gd name="connsiteX68" fmla="*/ 8017 w 10000"/>
                <a:gd name="connsiteY68" fmla="*/ 5518 h 10000"/>
                <a:gd name="connsiteX69" fmla="*/ 8017 w 10000"/>
                <a:gd name="connsiteY69" fmla="*/ 5677 h 10000"/>
                <a:gd name="connsiteX70" fmla="*/ 7915 w 10000"/>
                <a:gd name="connsiteY70" fmla="*/ 5518 h 10000"/>
                <a:gd name="connsiteX71" fmla="*/ 7704 w 10000"/>
                <a:gd name="connsiteY71" fmla="*/ 5677 h 10000"/>
                <a:gd name="connsiteX72" fmla="*/ 7494 w 10000"/>
                <a:gd name="connsiteY72" fmla="*/ 6125 h 10000"/>
                <a:gd name="connsiteX73" fmla="*/ 7602 w 10000"/>
                <a:gd name="connsiteY73" fmla="*/ 6265 h 10000"/>
                <a:gd name="connsiteX74" fmla="*/ 7704 w 10000"/>
                <a:gd name="connsiteY74" fmla="*/ 6863 h 10000"/>
                <a:gd name="connsiteX75" fmla="*/ 7915 w 10000"/>
                <a:gd name="connsiteY75" fmla="*/ 7021 h 10000"/>
                <a:gd name="connsiteX76" fmla="*/ 7806 w 10000"/>
                <a:gd name="connsiteY76" fmla="*/ 7021 h 10000"/>
                <a:gd name="connsiteX77" fmla="*/ 7915 w 10000"/>
                <a:gd name="connsiteY77" fmla="*/ 7311 h 10000"/>
                <a:gd name="connsiteX78" fmla="*/ 7602 w 10000"/>
                <a:gd name="connsiteY78" fmla="*/ 7470 h 10000"/>
                <a:gd name="connsiteX79" fmla="*/ 7915 w 10000"/>
                <a:gd name="connsiteY79" fmla="*/ 7470 h 10000"/>
                <a:gd name="connsiteX80" fmla="*/ 7806 w 10000"/>
                <a:gd name="connsiteY80" fmla="*/ 8058 h 10000"/>
                <a:gd name="connsiteX81" fmla="*/ 7602 w 10000"/>
                <a:gd name="connsiteY81" fmla="*/ 8366 h 10000"/>
                <a:gd name="connsiteX82" fmla="*/ 7494 w 10000"/>
                <a:gd name="connsiteY82" fmla="*/ 8366 h 10000"/>
                <a:gd name="connsiteX83" fmla="*/ 7494 w 10000"/>
                <a:gd name="connsiteY83" fmla="*/ 8655 h 10000"/>
                <a:gd name="connsiteX84" fmla="*/ 7392 w 10000"/>
                <a:gd name="connsiteY84" fmla="*/ 8954 h 10000"/>
                <a:gd name="connsiteX85" fmla="*/ 7290 w 10000"/>
                <a:gd name="connsiteY85" fmla="*/ 8954 h 10000"/>
                <a:gd name="connsiteX86" fmla="*/ 7290 w 10000"/>
                <a:gd name="connsiteY86" fmla="*/ 9104 h 10000"/>
                <a:gd name="connsiteX87" fmla="*/ 6977 w 10000"/>
                <a:gd name="connsiteY87" fmla="*/ 9402 h 10000"/>
                <a:gd name="connsiteX88" fmla="*/ 6665 w 10000"/>
                <a:gd name="connsiteY88" fmla="*/ 9402 h 10000"/>
                <a:gd name="connsiteX89" fmla="*/ 6665 w 10000"/>
                <a:gd name="connsiteY89" fmla="*/ 9552 h 10000"/>
                <a:gd name="connsiteX90" fmla="*/ 6563 w 10000"/>
                <a:gd name="connsiteY90" fmla="*/ 9402 h 10000"/>
                <a:gd name="connsiteX91" fmla="*/ 6563 w 10000"/>
                <a:gd name="connsiteY91" fmla="*/ 9552 h 10000"/>
                <a:gd name="connsiteX92" fmla="*/ 6460 w 10000"/>
                <a:gd name="connsiteY92" fmla="*/ 9552 h 10000"/>
                <a:gd name="connsiteX93" fmla="*/ 6046 w 10000"/>
                <a:gd name="connsiteY93" fmla="*/ 9851 h 10000"/>
                <a:gd name="connsiteX94" fmla="*/ 5938 w 10000"/>
                <a:gd name="connsiteY94" fmla="*/ 10000 h 10000"/>
                <a:gd name="connsiteX95" fmla="*/ 5938 w 10000"/>
                <a:gd name="connsiteY95" fmla="*/ 9711 h 10000"/>
                <a:gd name="connsiteX96" fmla="*/ 5733 w 10000"/>
                <a:gd name="connsiteY96" fmla="*/ 9711 h 10000"/>
                <a:gd name="connsiteX97" fmla="*/ 5625 w 10000"/>
                <a:gd name="connsiteY97" fmla="*/ 9711 h 10000"/>
                <a:gd name="connsiteX98" fmla="*/ 5409 w 10000"/>
                <a:gd name="connsiteY98" fmla="*/ 9711 h 10000"/>
                <a:gd name="connsiteX99" fmla="*/ 5409 w 10000"/>
                <a:gd name="connsiteY99" fmla="*/ 9402 h 10000"/>
                <a:gd name="connsiteX100" fmla="*/ 5198 w 10000"/>
                <a:gd name="connsiteY100" fmla="*/ 9402 h 10000"/>
                <a:gd name="connsiteX101" fmla="*/ 4784 w 10000"/>
                <a:gd name="connsiteY101" fmla="*/ 9552 h 10000"/>
                <a:gd name="connsiteX102" fmla="*/ 4681 w 10000"/>
                <a:gd name="connsiteY102" fmla="*/ 9402 h 10000"/>
                <a:gd name="connsiteX103" fmla="*/ 4681 w 10000"/>
                <a:gd name="connsiteY103" fmla="*/ 9552 h 10000"/>
                <a:gd name="connsiteX104" fmla="*/ 4579 w 10000"/>
                <a:gd name="connsiteY104" fmla="*/ 9552 h 10000"/>
                <a:gd name="connsiteX105" fmla="*/ 4579 w 10000"/>
                <a:gd name="connsiteY105" fmla="*/ 9851 h 10000"/>
                <a:gd name="connsiteX106" fmla="*/ 4477 w 10000"/>
                <a:gd name="connsiteY106" fmla="*/ 9851 h 10000"/>
                <a:gd name="connsiteX107" fmla="*/ 4477 w 10000"/>
                <a:gd name="connsiteY107" fmla="*/ 9711 h 10000"/>
                <a:gd name="connsiteX108" fmla="*/ 4369 w 10000"/>
                <a:gd name="connsiteY108" fmla="*/ 9711 h 10000"/>
                <a:gd name="connsiteX109" fmla="*/ 4165 w 10000"/>
                <a:gd name="connsiteY109" fmla="*/ 9552 h 10000"/>
                <a:gd name="connsiteX110" fmla="*/ 4165 w 10000"/>
                <a:gd name="connsiteY110" fmla="*/ 9402 h 10000"/>
                <a:gd name="connsiteX111" fmla="*/ 4165 w 10000"/>
                <a:gd name="connsiteY111" fmla="*/ 9262 h 10000"/>
                <a:gd name="connsiteX112" fmla="*/ 4056 w 10000"/>
                <a:gd name="connsiteY112" fmla="*/ 9104 h 10000"/>
                <a:gd name="connsiteX113" fmla="*/ 3954 w 10000"/>
                <a:gd name="connsiteY113" fmla="*/ 9104 h 10000"/>
                <a:gd name="connsiteX114" fmla="*/ 4056 w 10000"/>
                <a:gd name="connsiteY114" fmla="*/ 8366 h 10000"/>
                <a:gd name="connsiteX115" fmla="*/ 3954 w 10000"/>
                <a:gd name="connsiteY115" fmla="*/ 8058 h 10000"/>
                <a:gd name="connsiteX116" fmla="*/ 3852 w 10000"/>
                <a:gd name="connsiteY116" fmla="*/ 8058 h 10000"/>
                <a:gd name="connsiteX117" fmla="*/ 3642 w 10000"/>
                <a:gd name="connsiteY117" fmla="*/ 7759 h 10000"/>
                <a:gd name="connsiteX118" fmla="*/ 3438 w 10000"/>
                <a:gd name="connsiteY118" fmla="*/ 7759 h 10000"/>
                <a:gd name="connsiteX119" fmla="*/ 2915 w 10000"/>
                <a:gd name="connsiteY119" fmla="*/ 8058 h 10000"/>
                <a:gd name="connsiteX120" fmla="*/ 2608 w 10000"/>
                <a:gd name="connsiteY120" fmla="*/ 8058 h 10000"/>
                <a:gd name="connsiteX121" fmla="*/ 2500 w 10000"/>
                <a:gd name="connsiteY121" fmla="*/ 8207 h 10000"/>
                <a:gd name="connsiteX122" fmla="*/ 2398 w 10000"/>
                <a:gd name="connsiteY122" fmla="*/ 8058 h 10000"/>
                <a:gd name="connsiteX123" fmla="*/ 2296 w 10000"/>
                <a:gd name="connsiteY123" fmla="*/ 8058 h 10000"/>
                <a:gd name="connsiteX124" fmla="*/ 1983 w 10000"/>
                <a:gd name="connsiteY124" fmla="*/ 8058 h 10000"/>
                <a:gd name="connsiteX125" fmla="*/ 1773 w 10000"/>
                <a:gd name="connsiteY125" fmla="*/ 7918 h 10000"/>
                <a:gd name="connsiteX126" fmla="*/ 1671 w 10000"/>
                <a:gd name="connsiteY126" fmla="*/ 7759 h 10000"/>
                <a:gd name="connsiteX127" fmla="*/ 1556 w 10000"/>
                <a:gd name="connsiteY127" fmla="*/ 7759 h 10000"/>
                <a:gd name="connsiteX128" fmla="*/ 1346 w 10000"/>
                <a:gd name="connsiteY128" fmla="*/ 7470 h 10000"/>
                <a:gd name="connsiteX129" fmla="*/ 1142 w 10000"/>
                <a:gd name="connsiteY129" fmla="*/ 7470 h 10000"/>
                <a:gd name="connsiteX130" fmla="*/ 829 w 10000"/>
                <a:gd name="connsiteY130" fmla="*/ 7311 h 10000"/>
                <a:gd name="connsiteX131" fmla="*/ 727 w 10000"/>
                <a:gd name="connsiteY131" fmla="*/ 6863 h 10000"/>
                <a:gd name="connsiteX132" fmla="*/ 931 w 10000"/>
                <a:gd name="connsiteY132" fmla="*/ 6863 h 10000"/>
                <a:gd name="connsiteX133" fmla="*/ 829 w 10000"/>
                <a:gd name="connsiteY133" fmla="*/ 6573 h 10000"/>
                <a:gd name="connsiteX134" fmla="*/ 1034 w 10000"/>
                <a:gd name="connsiteY134" fmla="*/ 6265 h 10000"/>
                <a:gd name="connsiteX135" fmla="*/ 1034 w 10000"/>
                <a:gd name="connsiteY135" fmla="*/ 5966 h 10000"/>
                <a:gd name="connsiteX136" fmla="*/ 931 w 10000"/>
                <a:gd name="connsiteY136" fmla="*/ 5817 h 10000"/>
                <a:gd name="connsiteX137" fmla="*/ 619 w 10000"/>
                <a:gd name="connsiteY137" fmla="*/ 5966 h 10000"/>
                <a:gd name="connsiteX138" fmla="*/ 415 w 10000"/>
                <a:gd name="connsiteY138" fmla="*/ 5817 h 10000"/>
                <a:gd name="connsiteX139" fmla="*/ 444 w 10000"/>
                <a:gd name="connsiteY139" fmla="*/ 5373 h 10000"/>
                <a:gd name="connsiteX140" fmla="*/ 102 w 10000"/>
                <a:gd name="connsiteY140" fmla="*/ 5518 h 10000"/>
                <a:gd name="connsiteX141" fmla="*/ 216 w 10000"/>
                <a:gd name="connsiteY141" fmla="*/ 5243 h 10000"/>
                <a:gd name="connsiteX142" fmla="*/ 204 w 10000"/>
                <a:gd name="connsiteY142" fmla="*/ 5070 h 10000"/>
                <a:gd name="connsiteX143" fmla="*/ 0 w 10000"/>
                <a:gd name="connsiteY143" fmla="*/ 5070 h 10000"/>
                <a:gd name="connsiteX144" fmla="*/ 0 w 10000"/>
                <a:gd name="connsiteY144" fmla="*/ 4622 h 10000"/>
                <a:gd name="connsiteX145" fmla="*/ 204 w 10000"/>
                <a:gd name="connsiteY145" fmla="*/ 4482 h 10000"/>
                <a:gd name="connsiteX146" fmla="*/ 415 w 10000"/>
                <a:gd name="connsiteY146" fmla="*/ 4482 h 10000"/>
                <a:gd name="connsiteX147" fmla="*/ 517 w 10000"/>
                <a:gd name="connsiteY147" fmla="*/ 4332 h 10000"/>
                <a:gd name="connsiteX148" fmla="*/ 727 w 10000"/>
                <a:gd name="connsiteY148" fmla="*/ 4332 h 10000"/>
                <a:gd name="connsiteX149" fmla="*/ 1034 w 10000"/>
                <a:gd name="connsiteY149" fmla="*/ 4034 h 10000"/>
                <a:gd name="connsiteX150" fmla="*/ 1142 w 10000"/>
                <a:gd name="connsiteY150" fmla="*/ 3725 h 10000"/>
                <a:gd name="connsiteX151" fmla="*/ 1034 w 10000"/>
                <a:gd name="connsiteY151" fmla="*/ 3137 h 10000"/>
                <a:gd name="connsiteX152" fmla="*/ 1034 w 10000"/>
                <a:gd name="connsiteY152" fmla="*/ 2988 h 10000"/>
                <a:gd name="connsiteX153" fmla="*/ 1346 w 10000"/>
                <a:gd name="connsiteY153" fmla="*/ 2988 h 10000"/>
                <a:gd name="connsiteX154" fmla="*/ 1454 w 10000"/>
                <a:gd name="connsiteY154" fmla="*/ 2381 h 10000"/>
                <a:gd name="connsiteX155" fmla="*/ 1773 w 10000"/>
                <a:gd name="connsiteY155" fmla="*/ 2381 h 10000"/>
                <a:gd name="connsiteX156" fmla="*/ 1881 w 10000"/>
                <a:gd name="connsiteY156" fmla="*/ 2381 h 10000"/>
                <a:gd name="connsiteX157" fmla="*/ 1983 w 10000"/>
                <a:gd name="connsiteY157" fmla="*/ 1933 h 10000"/>
                <a:gd name="connsiteX158" fmla="*/ 2085 w 10000"/>
                <a:gd name="connsiteY158" fmla="*/ 1793 h 10000"/>
                <a:gd name="connsiteX0" fmla="*/ 2085 w 10000"/>
                <a:gd name="connsiteY0" fmla="*/ 1793 h 10000"/>
                <a:gd name="connsiteX1" fmla="*/ 2085 w 10000"/>
                <a:gd name="connsiteY1" fmla="*/ 1793 h 10000"/>
                <a:gd name="connsiteX2" fmla="*/ 2296 w 10000"/>
                <a:gd name="connsiteY2" fmla="*/ 1643 h 10000"/>
                <a:gd name="connsiteX3" fmla="*/ 2500 w 10000"/>
                <a:gd name="connsiteY3" fmla="*/ 2092 h 10000"/>
                <a:gd name="connsiteX4" fmla="*/ 2710 w 10000"/>
                <a:gd name="connsiteY4" fmla="*/ 2092 h 10000"/>
                <a:gd name="connsiteX5" fmla="*/ 2813 w 10000"/>
                <a:gd name="connsiteY5" fmla="*/ 2381 h 10000"/>
                <a:gd name="connsiteX6" fmla="*/ 2813 w 10000"/>
                <a:gd name="connsiteY6" fmla="*/ 2988 h 10000"/>
                <a:gd name="connsiteX7" fmla="*/ 3438 w 10000"/>
                <a:gd name="connsiteY7" fmla="*/ 3277 h 10000"/>
                <a:gd name="connsiteX8" fmla="*/ 3750 w 10000"/>
                <a:gd name="connsiteY8" fmla="*/ 3725 h 10000"/>
                <a:gd name="connsiteX9" fmla="*/ 4369 w 10000"/>
                <a:gd name="connsiteY9" fmla="*/ 3725 h 10000"/>
                <a:gd name="connsiteX10" fmla="*/ 4681 w 10000"/>
                <a:gd name="connsiteY10" fmla="*/ 4034 h 10000"/>
                <a:gd name="connsiteX11" fmla="*/ 5096 w 10000"/>
                <a:gd name="connsiteY11" fmla="*/ 4174 h 10000"/>
                <a:gd name="connsiteX12" fmla="*/ 5523 w 10000"/>
                <a:gd name="connsiteY12" fmla="*/ 3884 h 10000"/>
                <a:gd name="connsiteX13" fmla="*/ 5938 w 10000"/>
                <a:gd name="connsiteY13" fmla="*/ 3884 h 10000"/>
                <a:gd name="connsiteX14" fmla="*/ 6250 w 10000"/>
                <a:gd name="connsiteY14" fmla="*/ 3436 h 10000"/>
                <a:gd name="connsiteX15" fmla="*/ 6148 w 10000"/>
                <a:gd name="connsiteY15" fmla="*/ 3277 h 10000"/>
                <a:gd name="connsiteX16" fmla="*/ 6352 w 10000"/>
                <a:gd name="connsiteY16" fmla="*/ 2988 h 10000"/>
                <a:gd name="connsiteX17" fmla="*/ 6563 w 10000"/>
                <a:gd name="connsiteY17" fmla="*/ 3137 h 10000"/>
                <a:gd name="connsiteX18" fmla="*/ 6875 w 10000"/>
                <a:gd name="connsiteY18" fmla="*/ 2829 h 10000"/>
                <a:gd name="connsiteX19" fmla="*/ 7079 w 10000"/>
                <a:gd name="connsiteY19" fmla="*/ 2540 h 10000"/>
                <a:gd name="connsiteX20" fmla="*/ 7494 w 10000"/>
                <a:gd name="connsiteY20" fmla="*/ 2540 h 10000"/>
                <a:gd name="connsiteX21" fmla="*/ 7392 w 10000"/>
                <a:gd name="connsiteY21" fmla="*/ 2241 h 10000"/>
                <a:gd name="connsiteX22" fmla="*/ 7290 w 10000"/>
                <a:gd name="connsiteY22" fmla="*/ 2092 h 10000"/>
                <a:gd name="connsiteX23" fmla="*/ 7079 w 10000"/>
                <a:gd name="connsiteY23" fmla="*/ 2241 h 10000"/>
                <a:gd name="connsiteX24" fmla="*/ 6875 w 10000"/>
                <a:gd name="connsiteY24" fmla="*/ 2241 h 10000"/>
                <a:gd name="connsiteX25" fmla="*/ 6875 w 10000"/>
                <a:gd name="connsiteY25" fmla="*/ 1643 h 10000"/>
                <a:gd name="connsiteX26" fmla="*/ 6977 w 10000"/>
                <a:gd name="connsiteY26" fmla="*/ 1345 h 10000"/>
                <a:gd name="connsiteX27" fmla="*/ 7188 w 10000"/>
                <a:gd name="connsiteY27" fmla="*/ 1485 h 10000"/>
                <a:gd name="connsiteX28" fmla="*/ 7494 w 10000"/>
                <a:gd name="connsiteY28" fmla="*/ 1345 h 10000"/>
                <a:gd name="connsiteX29" fmla="*/ 7602 w 10000"/>
                <a:gd name="connsiteY29" fmla="*/ 747 h 10000"/>
                <a:gd name="connsiteX30" fmla="*/ 7704 w 10000"/>
                <a:gd name="connsiteY30" fmla="*/ 588 h 10000"/>
                <a:gd name="connsiteX31" fmla="*/ 7704 w 10000"/>
                <a:gd name="connsiteY31" fmla="*/ 448 h 10000"/>
                <a:gd name="connsiteX32" fmla="*/ 7602 w 10000"/>
                <a:gd name="connsiteY32" fmla="*/ 448 h 10000"/>
                <a:gd name="connsiteX33" fmla="*/ 7704 w 10000"/>
                <a:gd name="connsiteY33" fmla="*/ 140 h 10000"/>
                <a:gd name="connsiteX34" fmla="*/ 8119 w 10000"/>
                <a:gd name="connsiteY34" fmla="*/ 0 h 10000"/>
                <a:gd name="connsiteX35" fmla="*/ 8431 w 10000"/>
                <a:gd name="connsiteY35" fmla="*/ 140 h 10000"/>
                <a:gd name="connsiteX36" fmla="*/ 8642 w 10000"/>
                <a:gd name="connsiteY36" fmla="*/ 448 h 10000"/>
                <a:gd name="connsiteX37" fmla="*/ 8846 w 10000"/>
                <a:gd name="connsiteY37" fmla="*/ 1485 h 10000"/>
                <a:gd name="connsiteX38" fmla="*/ 9056 w 10000"/>
                <a:gd name="connsiteY38" fmla="*/ 1485 h 10000"/>
                <a:gd name="connsiteX39" fmla="*/ 9363 w 10000"/>
                <a:gd name="connsiteY39" fmla="*/ 1793 h 10000"/>
                <a:gd name="connsiteX40" fmla="*/ 9363 w 10000"/>
                <a:gd name="connsiteY40" fmla="*/ 2092 h 10000"/>
                <a:gd name="connsiteX41" fmla="*/ 9585 w 10000"/>
                <a:gd name="connsiteY41" fmla="*/ 2092 h 10000"/>
                <a:gd name="connsiteX42" fmla="*/ 10000 w 10000"/>
                <a:gd name="connsiteY42" fmla="*/ 1933 h 10000"/>
                <a:gd name="connsiteX43" fmla="*/ 10000 w 10000"/>
                <a:gd name="connsiteY43" fmla="*/ 2241 h 10000"/>
                <a:gd name="connsiteX44" fmla="*/ 9688 w 10000"/>
                <a:gd name="connsiteY44" fmla="*/ 3137 h 10000"/>
                <a:gd name="connsiteX45" fmla="*/ 9585 w 10000"/>
                <a:gd name="connsiteY45" fmla="*/ 2988 h 10000"/>
                <a:gd name="connsiteX46" fmla="*/ 9363 w 10000"/>
                <a:gd name="connsiteY46" fmla="*/ 3137 h 10000"/>
                <a:gd name="connsiteX47" fmla="*/ 9483 w 10000"/>
                <a:gd name="connsiteY47" fmla="*/ 3585 h 10000"/>
                <a:gd name="connsiteX48" fmla="*/ 9363 w 10000"/>
                <a:gd name="connsiteY48" fmla="*/ 3884 h 10000"/>
                <a:gd name="connsiteX49" fmla="*/ 9261 w 10000"/>
                <a:gd name="connsiteY49" fmla="*/ 3884 h 10000"/>
                <a:gd name="connsiteX50" fmla="*/ 9056 w 10000"/>
                <a:gd name="connsiteY50" fmla="*/ 4034 h 10000"/>
                <a:gd name="connsiteX51" fmla="*/ 8948 w 10000"/>
                <a:gd name="connsiteY51" fmla="*/ 4034 h 10000"/>
                <a:gd name="connsiteX52" fmla="*/ 8846 w 10000"/>
                <a:gd name="connsiteY52" fmla="*/ 4174 h 10000"/>
                <a:gd name="connsiteX53" fmla="*/ 8744 w 10000"/>
                <a:gd name="connsiteY53" fmla="*/ 4174 h 10000"/>
                <a:gd name="connsiteX54" fmla="*/ 8329 w 10000"/>
                <a:gd name="connsiteY54" fmla="*/ 4622 h 10000"/>
                <a:gd name="connsiteX55" fmla="*/ 8329 w 10000"/>
                <a:gd name="connsiteY55" fmla="*/ 4781 h 10000"/>
                <a:gd name="connsiteX56" fmla="*/ 8119 w 10000"/>
                <a:gd name="connsiteY56" fmla="*/ 4781 h 10000"/>
                <a:gd name="connsiteX57" fmla="*/ 7806 w 10000"/>
                <a:gd name="connsiteY57" fmla="*/ 5070 h 10000"/>
                <a:gd name="connsiteX58" fmla="*/ 7806 w 10000"/>
                <a:gd name="connsiteY58" fmla="*/ 4930 h 10000"/>
                <a:gd name="connsiteX59" fmla="*/ 7806 w 10000"/>
                <a:gd name="connsiteY59" fmla="*/ 4781 h 10000"/>
                <a:gd name="connsiteX60" fmla="*/ 7915 w 10000"/>
                <a:gd name="connsiteY60" fmla="*/ 4482 h 10000"/>
                <a:gd name="connsiteX61" fmla="*/ 7806 w 10000"/>
                <a:gd name="connsiteY61" fmla="*/ 4332 h 10000"/>
                <a:gd name="connsiteX62" fmla="*/ 7494 w 10000"/>
                <a:gd name="connsiteY62" fmla="*/ 4781 h 10000"/>
                <a:gd name="connsiteX63" fmla="*/ 7392 w 10000"/>
                <a:gd name="connsiteY63" fmla="*/ 4930 h 10000"/>
                <a:gd name="connsiteX64" fmla="*/ 7290 w 10000"/>
                <a:gd name="connsiteY64" fmla="*/ 4930 h 10000"/>
                <a:gd name="connsiteX65" fmla="*/ 7188 w 10000"/>
                <a:gd name="connsiteY65" fmla="*/ 5070 h 10000"/>
                <a:gd name="connsiteX66" fmla="*/ 7494 w 10000"/>
                <a:gd name="connsiteY66" fmla="*/ 5518 h 10000"/>
                <a:gd name="connsiteX67" fmla="*/ 7704 w 10000"/>
                <a:gd name="connsiteY67" fmla="*/ 5369 h 10000"/>
                <a:gd name="connsiteX68" fmla="*/ 8017 w 10000"/>
                <a:gd name="connsiteY68" fmla="*/ 5518 h 10000"/>
                <a:gd name="connsiteX69" fmla="*/ 8017 w 10000"/>
                <a:gd name="connsiteY69" fmla="*/ 5677 h 10000"/>
                <a:gd name="connsiteX70" fmla="*/ 7915 w 10000"/>
                <a:gd name="connsiteY70" fmla="*/ 5518 h 10000"/>
                <a:gd name="connsiteX71" fmla="*/ 7704 w 10000"/>
                <a:gd name="connsiteY71" fmla="*/ 5677 h 10000"/>
                <a:gd name="connsiteX72" fmla="*/ 7494 w 10000"/>
                <a:gd name="connsiteY72" fmla="*/ 6125 h 10000"/>
                <a:gd name="connsiteX73" fmla="*/ 7602 w 10000"/>
                <a:gd name="connsiteY73" fmla="*/ 6265 h 10000"/>
                <a:gd name="connsiteX74" fmla="*/ 7704 w 10000"/>
                <a:gd name="connsiteY74" fmla="*/ 6863 h 10000"/>
                <a:gd name="connsiteX75" fmla="*/ 7915 w 10000"/>
                <a:gd name="connsiteY75" fmla="*/ 7021 h 10000"/>
                <a:gd name="connsiteX76" fmla="*/ 7806 w 10000"/>
                <a:gd name="connsiteY76" fmla="*/ 7021 h 10000"/>
                <a:gd name="connsiteX77" fmla="*/ 7915 w 10000"/>
                <a:gd name="connsiteY77" fmla="*/ 7311 h 10000"/>
                <a:gd name="connsiteX78" fmla="*/ 7602 w 10000"/>
                <a:gd name="connsiteY78" fmla="*/ 7470 h 10000"/>
                <a:gd name="connsiteX79" fmla="*/ 7915 w 10000"/>
                <a:gd name="connsiteY79" fmla="*/ 7470 h 10000"/>
                <a:gd name="connsiteX80" fmla="*/ 7806 w 10000"/>
                <a:gd name="connsiteY80" fmla="*/ 8058 h 10000"/>
                <a:gd name="connsiteX81" fmla="*/ 7602 w 10000"/>
                <a:gd name="connsiteY81" fmla="*/ 8366 h 10000"/>
                <a:gd name="connsiteX82" fmla="*/ 7494 w 10000"/>
                <a:gd name="connsiteY82" fmla="*/ 8366 h 10000"/>
                <a:gd name="connsiteX83" fmla="*/ 7494 w 10000"/>
                <a:gd name="connsiteY83" fmla="*/ 8655 h 10000"/>
                <a:gd name="connsiteX84" fmla="*/ 7392 w 10000"/>
                <a:gd name="connsiteY84" fmla="*/ 8954 h 10000"/>
                <a:gd name="connsiteX85" fmla="*/ 7290 w 10000"/>
                <a:gd name="connsiteY85" fmla="*/ 8954 h 10000"/>
                <a:gd name="connsiteX86" fmla="*/ 7290 w 10000"/>
                <a:gd name="connsiteY86" fmla="*/ 9104 h 10000"/>
                <a:gd name="connsiteX87" fmla="*/ 6977 w 10000"/>
                <a:gd name="connsiteY87" fmla="*/ 9402 h 10000"/>
                <a:gd name="connsiteX88" fmla="*/ 6665 w 10000"/>
                <a:gd name="connsiteY88" fmla="*/ 9402 h 10000"/>
                <a:gd name="connsiteX89" fmla="*/ 6665 w 10000"/>
                <a:gd name="connsiteY89" fmla="*/ 9552 h 10000"/>
                <a:gd name="connsiteX90" fmla="*/ 6563 w 10000"/>
                <a:gd name="connsiteY90" fmla="*/ 9402 h 10000"/>
                <a:gd name="connsiteX91" fmla="*/ 6563 w 10000"/>
                <a:gd name="connsiteY91" fmla="*/ 9552 h 10000"/>
                <a:gd name="connsiteX92" fmla="*/ 6460 w 10000"/>
                <a:gd name="connsiteY92" fmla="*/ 9552 h 10000"/>
                <a:gd name="connsiteX93" fmla="*/ 6046 w 10000"/>
                <a:gd name="connsiteY93" fmla="*/ 9851 h 10000"/>
                <a:gd name="connsiteX94" fmla="*/ 5938 w 10000"/>
                <a:gd name="connsiteY94" fmla="*/ 10000 h 10000"/>
                <a:gd name="connsiteX95" fmla="*/ 5938 w 10000"/>
                <a:gd name="connsiteY95" fmla="*/ 9711 h 10000"/>
                <a:gd name="connsiteX96" fmla="*/ 5733 w 10000"/>
                <a:gd name="connsiteY96" fmla="*/ 9711 h 10000"/>
                <a:gd name="connsiteX97" fmla="*/ 5625 w 10000"/>
                <a:gd name="connsiteY97" fmla="*/ 9711 h 10000"/>
                <a:gd name="connsiteX98" fmla="*/ 5409 w 10000"/>
                <a:gd name="connsiteY98" fmla="*/ 9711 h 10000"/>
                <a:gd name="connsiteX99" fmla="*/ 5409 w 10000"/>
                <a:gd name="connsiteY99" fmla="*/ 9402 h 10000"/>
                <a:gd name="connsiteX100" fmla="*/ 5198 w 10000"/>
                <a:gd name="connsiteY100" fmla="*/ 9402 h 10000"/>
                <a:gd name="connsiteX101" fmla="*/ 4784 w 10000"/>
                <a:gd name="connsiteY101" fmla="*/ 9552 h 10000"/>
                <a:gd name="connsiteX102" fmla="*/ 4681 w 10000"/>
                <a:gd name="connsiteY102" fmla="*/ 9402 h 10000"/>
                <a:gd name="connsiteX103" fmla="*/ 4681 w 10000"/>
                <a:gd name="connsiteY103" fmla="*/ 9552 h 10000"/>
                <a:gd name="connsiteX104" fmla="*/ 4579 w 10000"/>
                <a:gd name="connsiteY104" fmla="*/ 9552 h 10000"/>
                <a:gd name="connsiteX105" fmla="*/ 4579 w 10000"/>
                <a:gd name="connsiteY105" fmla="*/ 9851 h 10000"/>
                <a:gd name="connsiteX106" fmla="*/ 4477 w 10000"/>
                <a:gd name="connsiteY106" fmla="*/ 9851 h 10000"/>
                <a:gd name="connsiteX107" fmla="*/ 4477 w 10000"/>
                <a:gd name="connsiteY107" fmla="*/ 9711 h 10000"/>
                <a:gd name="connsiteX108" fmla="*/ 4369 w 10000"/>
                <a:gd name="connsiteY108" fmla="*/ 9711 h 10000"/>
                <a:gd name="connsiteX109" fmla="*/ 4165 w 10000"/>
                <a:gd name="connsiteY109" fmla="*/ 9552 h 10000"/>
                <a:gd name="connsiteX110" fmla="*/ 4165 w 10000"/>
                <a:gd name="connsiteY110" fmla="*/ 9402 h 10000"/>
                <a:gd name="connsiteX111" fmla="*/ 4165 w 10000"/>
                <a:gd name="connsiteY111" fmla="*/ 9262 h 10000"/>
                <a:gd name="connsiteX112" fmla="*/ 4056 w 10000"/>
                <a:gd name="connsiteY112" fmla="*/ 9104 h 10000"/>
                <a:gd name="connsiteX113" fmla="*/ 3954 w 10000"/>
                <a:gd name="connsiteY113" fmla="*/ 9104 h 10000"/>
                <a:gd name="connsiteX114" fmla="*/ 4056 w 10000"/>
                <a:gd name="connsiteY114" fmla="*/ 8366 h 10000"/>
                <a:gd name="connsiteX115" fmla="*/ 3954 w 10000"/>
                <a:gd name="connsiteY115" fmla="*/ 8058 h 10000"/>
                <a:gd name="connsiteX116" fmla="*/ 3852 w 10000"/>
                <a:gd name="connsiteY116" fmla="*/ 8058 h 10000"/>
                <a:gd name="connsiteX117" fmla="*/ 3642 w 10000"/>
                <a:gd name="connsiteY117" fmla="*/ 7759 h 10000"/>
                <a:gd name="connsiteX118" fmla="*/ 3438 w 10000"/>
                <a:gd name="connsiteY118" fmla="*/ 7759 h 10000"/>
                <a:gd name="connsiteX119" fmla="*/ 2915 w 10000"/>
                <a:gd name="connsiteY119" fmla="*/ 8058 h 10000"/>
                <a:gd name="connsiteX120" fmla="*/ 2608 w 10000"/>
                <a:gd name="connsiteY120" fmla="*/ 8058 h 10000"/>
                <a:gd name="connsiteX121" fmla="*/ 2500 w 10000"/>
                <a:gd name="connsiteY121" fmla="*/ 8207 h 10000"/>
                <a:gd name="connsiteX122" fmla="*/ 2398 w 10000"/>
                <a:gd name="connsiteY122" fmla="*/ 8058 h 10000"/>
                <a:gd name="connsiteX123" fmla="*/ 2296 w 10000"/>
                <a:gd name="connsiteY123" fmla="*/ 8058 h 10000"/>
                <a:gd name="connsiteX124" fmla="*/ 1983 w 10000"/>
                <a:gd name="connsiteY124" fmla="*/ 8058 h 10000"/>
                <a:gd name="connsiteX125" fmla="*/ 1773 w 10000"/>
                <a:gd name="connsiteY125" fmla="*/ 7918 h 10000"/>
                <a:gd name="connsiteX126" fmla="*/ 1671 w 10000"/>
                <a:gd name="connsiteY126" fmla="*/ 7759 h 10000"/>
                <a:gd name="connsiteX127" fmla="*/ 1556 w 10000"/>
                <a:gd name="connsiteY127" fmla="*/ 7759 h 10000"/>
                <a:gd name="connsiteX128" fmla="*/ 1346 w 10000"/>
                <a:gd name="connsiteY128" fmla="*/ 7470 h 10000"/>
                <a:gd name="connsiteX129" fmla="*/ 1142 w 10000"/>
                <a:gd name="connsiteY129" fmla="*/ 7470 h 10000"/>
                <a:gd name="connsiteX130" fmla="*/ 829 w 10000"/>
                <a:gd name="connsiteY130" fmla="*/ 7311 h 10000"/>
                <a:gd name="connsiteX131" fmla="*/ 727 w 10000"/>
                <a:gd name="connsiteY131" fmla="*/ 6863 h 10000"/>
                <a:gd name="connsiteX132" fmla="*/ 931 w 10000"/>
                <a:gd name="connsiteY132" fmla="*/ 6863 h 10000"/>
                <a:gd name="connsiteX133" fmla="*/ 829 w 10000"/>
                <a:gd name="connsiteY133" fmla="*/ 6573 h 10000"/>
                <a:gd name="connsiteX134" fmla="*/ 1034 w 10000"/>
                <a:gd name="connsiteY134" fmla="*/ 6265 h 10000"/>
                <a:gd name="connsiteX135" fmla="*/ 1034 w 10000"/>
                <a:gd name="connsiteY135" fmla="*/ 5966 h 10000"/>
                <a:gd name="connsiteX136" fmla="*/ 931 w 10000"/>
                <a:gd name="connsiteY136" fmla="*/ 5817 h 10000"/>
                <a:gd name="connsiteX137" fmla="*/ 619 w 10000"/>
                <a:gd name="connsiteY137" fmla="*/ 5966 h 10000"/>
                <a:gd name="connsiteX138" fmla="*/ 936 w 10000"/>
                <a:gd name="connsiteY138" fmla="*/ 5821 h 10000"/>
                <a:gd name="connsiteX139" fmla="*/ 444 w 10000"/>
                <a:gd name="connsiteY139" fmla="*/ 5373 h 10000"/>
                <a:gd name="connsiteX140" fmla="*/ 102 w 10000"/>
                <a:gd name="connsiteY140" fmla="*/ 5518 h 10000"/>
                <a:gd name="connsiteX141" fmla="*/ 216 w 10000"/>
                <a:gd name="connsiteY141" fmla="*/ 5243 h 10000"/>
                <a:gd name="connsiteX142" fmla="*/ 204 w 10000"/>
                <a:gd name="connsiteY142" fmla="*/ 5070 h 10000"/>
                <a:gd name="connsiteX143" fmla="*/ 0 w 10000"/>
                <a:gd name="connsiteY143" fmla="*/ 5070 h 10000"/>
                <a:gd name="connsiteX144" fmla="*/ 0 w 10000"/>
                <a:gd name="connsiteY144" fmla="*/ 4622 h 10000"/>
                <a:gd name="connsiteX145" fmla="*/ 204 w 10000"/>
                <a:gd name="connsiteY145" fmla="*/ 4482 h 10000"/>
                <a:gd name="connsiteX146" fmla="*/ 415 w 10000"/>
                <a:gd name="connsiteY146" fmla="*/ 4482 h 10000"/>
                <a:gd name="connsiteX147" fmla="*/ 517 w 10000"/>
                <a:gd name="connsiteY147" fmla="*/ 4332 h 10000"/>
                <a:gd name="connsiteX148" fmla="*/ 727 w 10000"/>
                <a:gd name="connsiteY148" fmla="*/ 4332 h 10000"/>
                <a:gd name="connsiteX149" fmla="*/ 1034 w 10000"/>
                <a:gd name="connsiteY149" fmla="*/ 4034 h 10000"/>
                <a:gd name="connsiteX150" fmla="*/ 1142 w 10000"/>
                <a:gd name="connsiteY150" fmla="*/ 3725 h 10000"/>
                <a:gd name="connsiteX151" fmla="*/ 1034 w 10000"/>
                <a:gd name="connsiteY151" fmla="*/ 3137 h 10000"/>
                <a:gd name="connsiteX152" fmla="*/ 1034 w 10000"/>
                <a:gd name="connsiteY152" fmla="*/ 2988 h 10000"/>
                <a:gd name="connsiteX153" fmla="*/ 1346 w 10000"/>
                <a:gd name="connsiteY153" fmla="*/ 2988 h 10000"/>
                <a:gd name="connsiteX154" fmla="*/ 1454 w 10000"/>
                <a:gd name="connsiteY154" fmla="*/ 2381 h 10000"/>
                <a:gd name="connsiteX155" fmla="*/ 1773 w 10000"/>
                <a:gd name="connsiteY155" fmla="*/ 2381 h 10000"/>
                <a:gd name="connsiteX156" fmla="*/ 1881 w 10000"/>
                <a:gd name="connsiteY156" fmla="*/ 2381 h 10000"/>
                <a:gd name="connsiteX157" fmla="*/ 1983 w 10000"/>
                <a:gd name="connsiteY157" fmla="*/ 1933 h 10000"/>
                <a:gd name="connsiteX158" fmla="*/ 2085 w 10000"/>
                <a:gd name="connsiteY158" fmla="*/ 1793 h 10000"/>
                <a:gd name="connsiteX0" fmla="*/ 2085 w 10000"/>
                <a:gd name="connsiteY0" fmla="*/ 1793 h 10000"/>
                <a:gd name="connsiteX1" fmla="*/ 2085 w 10000"/>
                <a:gd name="connsiteY1" fmla="*/ 1793 h 10000"/>
                <a:gd name="connsiteX2" fmla="*/ 2296 w 10000"/>
                <a:gd name="connsiteY2" fmla="*/ 1643 h 10000"/>
                <a:gd name="connsiteX3" fmla="*/ 2500 w 10000"/>
                <a:gd name="connsiteY3" fmla="*/ 2092 h 10000"/>
                <a:gd name="connsiteX4" fmla="*/ 2710 w 10000"/>
                <a:gd name="connsiteY4" fmla="*/ 2092 h 10000"/>
                <a:gd name="connsiteX5" fmla="*/ 2813 w 10000"/>
                <a:gd name="connsiteY5" fmla="*/ 2381 h 10000"/>
                <a:gd name="connsiteX6" fmla="*/ 2813 w 10000"/>
                <a:gd name="connsiteY6" fmla="*/ 2988 h 10000"/>
                <a:gd name="connsiteX7" fmla="*/ 3438 w 10000"/>
                <a:gd name="connsiteY7" fmla="*/ 3277 h 10000"/>
                <a:gd name="connsiteX8" fmla="*/ 3750 w 10000"/>
                <a:gd name="connsiteY8" fmla="*/ 3725 h 10000"/>
                <a:gd name="connsiteX9" fmla="*/ 4369 w 10000"/>
                <a:gd name="connsiteY9" fmla="*/ 3725 h 10000"/>
                <a:gd name="connsiteX10" fmla="*/ 4681 w 10000"/>
                <a:gd name="connsiteY10" fmla="*/ 4034 h 10000"/>
                <a:gd name="connsiteX11" fmla="*/ 5096 w 10000"/>
                <a:gd name="connsiteY11" fmla="*/ 4174 h 10000"/>
                <a:gd name="connsiteX12" fmla="*/ 5523 w 10000"/>
                <a:gd name="connsiteY12" fmla="*/ 3884 h 10000"/>
                <a:gd name="connsiteX13" fmla="*/ 5938 w 10000"/>
                <a:gd name="connsiteY13" fmla="*/ 3884 h 10000"/>
                <a:gd name="connsiteX14" fmla="*/ 6250 w 10000"/>
                <a:gd name="connsiteY14" fmla="*/ 3436 h 10000"/>
                <a:gd name="connsiteX15" fmla="*/ 6148 w 10000"/>
                <a:gd name="connsiteY15" fmla="*/ 3277 h 10000"/>
                <a:gd name="connsiteX16" fmla="*/ 6352 w 10000"/>
                <a:gd name="connsiteY16" fmla="*/ 2988 h 10000"/>
                <a:gd name="connsiteX17" fmla="*/ 6563 w 10000"/>
                <a:gd name="connsiteY17" fmla="*/ 3137 h 10000"/>
                <a:gd name="connsiteX18" fmla="*/ 6875 w 10000"/>
                <a:gd name="connsiteY18" fmla="*/ 2829 h 10000"/>
                <a:gd name="connsiteX19" fmla="*/ 7079 w 10000"/>
                <a:gd name="connsiteY19" fmla="*/ 2540 h 10000"/>
                <a:gd name="connsiteX20" fmla="*/ 7494 w 10000"/>
                <a:gd name="connsiteY20" fmla="*/ 2540 h 10000"/>
                <a:gd name="connsiteX21" fmla="*/ 7392 w 10000"/>
                <a:gd name="connsiteY21" fmla="*/ 2241 h 10000"/>
                <a:gd name="connsiteX22" fmla="*/ 7290 w 10000"/>
                <a:gd name="connsiteY22" fmla="*/ 2092 h 10000"/>
                <a:gd name="connsiteX23" fmla="*/ 7079 w 10000"/>
                <a:gd name="connsiteY23" fmla="*/ 2241 h 10000"/>
                <a:gd name="connsiteX24" fmla="*/ 6875 w 10000"/>
                <a:gd name="connsiteY24" fmla="*/ 2241 h 10000"/>
                <a:gd name="connsiteX25" fmla="*/ 6875 w 10000"/>
                <a:gd name="connsiteY25" fmla="*/ 1643 h 10000"/>
                <a:gd name="connsiteX26" fmla="*/ 6977 w 10000"/>
                <a:gd name="connsiteY26" fmla="*/ 1345 h 10000"/>
                <a:gd name="connsiteX27" fmla="*/ 7188 w 10000"/>
                <a:gd name="connsiteY27" fmla="*/ 1485 h 10000"/>
                <a:gd name="connsiteX28" fmla="*/ 7494 w 10000"/>
                <a:gd name="connsiteY28" fmla="*/ 1345 h 10000"/>
                <a:gd name="connsiteX29" fmla="*/ 7602 w 10000"/>
                <a:gd name="connsiteY29" fmla="*/ 747 h 10000"/>
                <a:gd name="connsiteX30" fmla="*/ 7704 w 10000"/>
                <a:gd name="connsiteY30" fmla="*/ 588 h 10000"/>
                <a:gd name="connsiteX31" fmla="*/ 7704 w 10000"/>
                <a:gd name="connsiteY31" fmla="*/ 448 h 10000"/>
                <a:gd name="connsiteX32" fmla="*/ 7602 w 10000"/>
                <a:gd name="connsiteY32" fmla="*/ 448 h 10000"/>
                <a:gd name="connsiteX33" fmla="*/ 7704 w 10000"/>
                <a:gd name="connsiteY33" fmla="*/ 140 h 10000"/>
                <a:gd name="connsiteX34" fmla="*/ 8119 w 10000"/>
                <a:gd name="connsiteY34" fmla="*/ 0 h 10000"/>
                <a:gd name="connsiteX35" fmla="*/ 8431 w 10000"/>
                <a:gd name="connsiteY35" fmla="*/ 140 h 10000"/>
                <a:gd name="connsiteX36" fmla="*/ 8642 w 10000"/>
                <a:gd name="connsiteY36" fmla="*/ 448 h 10000"/>
                <a:gd name="connsiteX37" fmla="*/ 8846 w 10000"/>
                <a:gd name="connsiteY37" fmla="*/ 1485 h 10000"/>
                <a:gd name="connsiteX38" fmla="*/ 9056 w 10000"/>
                <a:gd name="connsiteY38" fmla="*/ 1485 h 10000"/>
                <a:gd name="connsiteX39" fmla="*/ 9363 w 10000"/>
                <a:gd name="connsiteY39" fmla="*/ 1793 h 10000"/>
                <a:gd name="connsiteX40" fmla="*/ 9363 w 10000"/>
                <a:gd name="connsiteY40" fmla="*/ 2092 h 10000"/>
                <a:gd name="connsiteX41" fmla="*/ 9585 w 10000"/>
                <a:gd name="connsiteY41" fmla="*/ 2092 h 10000"/>
                <a:gd name="connsiteX42" fmla="*/ 10000 w 10000"/>
                <a:gd name="connsiteY42" fmla="*/ 1933 h 10000"/>
                <a:gd name="connsiteX43" fmla="*/ 10000 w 10000"/>
                <a:gd name="connsiteY43" fmla="*/ 2241 h 10000"/>
                <a:gd name="connsiteX44" fmla="*/ 9688 w 10000"/>
                <a:gd name="connsiteY44" fmla="*/ 3137 h 10000"/>
                <a:gd name="connsiteX45" fmla="*/ 9585 w 10000"/>
                <a:gd name="connsiteY45" fmla="*/ 2988 h 10000"/>
                <a:gd name="connsiteX46" fmla="*/ 9363 w 10000"/>
                <a:gd name="connsiteY46" fmla="*/ 3137 h 10000"/>
                <a:gd name="connsiteX47" fmla="*/ 9483 w 10000"/>
                <a:gd name="connsiteY47" fmla="*/ 3585 h 10000"/>
                <a:gd name="connsiteX48" fmla="*/ 9363 w 10000"/>
                <a:gd name="connsiteY48" fmla="*/ 3884 h 10000"/>
                <a:gd name="connsiteX49" fmla="*/ 9261 w 10000"/>
                <a:gd name="connsiteY49" fmla="*/ 3884 h 10000"/>
                <a:gd name="connsiteX50" fmla="*/ 9056 w 10000"/>
                <a:gd name="connsiteY50" fmla="*/ 4034 h 10000"/>
                <a:gd name="connsiteX51" fmla="*/ 8948 w 10000"/>
                <a:gd name="connsiteY51" fmla="*/ 4034 h 10000"/>
                <a:gd name="connsiteX52" fmla="*/ 8846 w 10000"/>
                <a:gd name="connsiteY52" fmla="*/ 4174 h 10000"/>
                <a:gd name="connsiteX53" fmla="*/ 8744 w 10000"/>
                <a:gd name="connsiteY53" fmla="*/ 4174 h 10000"/>
                <a:gd name="connsiteX54" fmla="*/ 8329 w 10000"/>
                <a:gd name="connsiteY54" fmla="*/ 4622 h 10000"/>
                <a:gd name="connsiteX55" fmla="*/ 8329 w 10000"/>
                <a:gd name="connsiteY55" fmla="*/ 4781 h 10000"/>
                <a:gd name="connsiteX56" fmla="*/ 8119 w 10000"/>
                <a:gd name="connsiteY56" fmla="*/ 4781 h 10000"/>
                <a:gd name="connsiteX57" fmla="*/ 7806 w 10000"/>
                <a:gd name="connsiteY57" fmla="*/ 5070 h 10000"/>
                <a:gd name="connsiteX58" fmla="*/ 7806 w 10000"/>
                <a:gd name="connsiteY58" fmla="*/ 4930 h 10000"/>
                <a:gd name="connsiteX59" fmla="*/ 7806 w 10000"/>
                <a:gd name="connsiteY59" fmla="*/ 4781 h 10000"/>
                <a:gd name="connsiteX60" fmla="*/ 7915 w 10000"/>
                <a:gd name="connsiteY60" fmla="*/ 4482 h 10000"/>
                <a:gd name="connsiteX61" fmla="*/ 7806 w 10000"/>
                <a:gd name="connsiteY61" fmla="*/ 4332 h 10000"/>
                <a:gd name="connsiteX62" fmla="*/ 7494 w 10000"/>
                <a:gd name="connsiteY62" fmla="*/ 4781 h 10000"/>
                <a:gd name="connsiteX63" fmla="*/ 7392 w 10000"/>
                <a:gd name="connsiteY63" fmla="*/ 4930 h 10000"/>
                <a:gd name="connsiteX64" fmla="*/ 7290 w 10000"/>
                <a:gd name="connsiteY64" fmla="*/ 4930 h 10000"/>
                <a:gd name="connsiteX65" fmla="*/ 7188 w 10000"/>
                <a:gd name="connsiteY65" fmla="*/ 5070 h 10000"/>
                <a:gd name="connsiteX66" fmla="*/ 7494 w 10000"/>
                <a:gd name="connsiteY66" fmla="*/ 5518 h 10000"/>
                <a:gd name="connsiteX67" fmla="*/ 7704 w 10000"/>
                <a:gd name="connsiteY67" fmla="*/ 5369 h 10000"/>
                <a:gd name="connsiteX68" fmla="*/ 8017 w 10000"/>
                <a:gd name="connsiteY68" fmla="*/ 5518 h 10000"/>
                <a:gd name="connsiteX69" fmla="*/ 8017 w 10000"/>
                <a:gd name="connsiteY69" fmla="*/ 5677 h 10000"/>
                <a:gd name="connsiteX70" fmla="*/ 7915 w 10000"/>
                <a:gd name="connsiteY70" fmla="*/ 5518 h 10000"/>
                <a:gd name="connsiteX71" fmla="*/ 7704 w 10000"/>
                <a:gd name="connsiteY71" fmla="*/ 5677 h 10000"/>
                <a:gd name="connsiteX72" fmla="*/ 7494 w 10000"/>
                <a:gd name="connsiteY72" fmla="*/ 6125 h 10000"/>
                <a:gd name="connsiteX73" fmla="*/ 7602 w 10000"/>
                <a:gd name="connsiteY73" fmla="*/ 6265 h 10000"/>
                <a:gd name="connsiteX74" fmla="*/ 7704 w 10000"/>
                <a:gd name="connsiteY74" fmla="*/ 6863 h 10000"/>
                <a:gd name="connsiteX75" fmla="*/ 7915 w 10000"/>
                <a:gd name="connsiteY75" fmla="*/ 7021 h 10000"/>
                <a:gd name="connsiteX76" fmla="*/ 7806 w 10000"/>
                <a:gd name="connsiteY76" fmla="*/ 7021 h 10000"/>
                <a:gd name="connsiteX77" fmla="*/ 7915 w 10000"/>
                <a:gd name="connsiteY77" fmla="*/ 7311 h 10000"/>
                <a:gd name="connsiteX78" fmla="*/ 7602 w 10000"/>
                <a:gd name="connsiteY78" fmla="*/ 7470 h 10000"/>
                <a:gd name="connsiteX79" fmla="*/ 7915 w 10000"/>
                <a:gd name="connsiteY79" fmla="*/ 7470 h 10000"/>
                <a:gd name="connsiteX80" fmla="*/ 7806 w 10000"/>
                <a:gd name="connsiteY80" fmla="*/ 8058 h 10000"/>
                <a:gd name="connsiteX81" fmla="*/ 7602 w 10000"/>
                <a:gd name="connsiteY81" fmla="*/ 8366 h 10000"/>
                <a:gd name="connsiteX82" fmla="*/ 7494 w 10000"/>
                <a:gd name="connsiteY82" fmla="*/ 8366 h 10000"/>
                <a:gd name="connsiteX83" fmla="*/ 7494 w 10000"/>
                <a:gd name="connsiteY83" fmla="*/ 8655 h 10000"/>
                <a:gd name="connsiteX84" fmla="*/ 7392 w 10000"/>
                <a:gd name="connsiteY84" fmla="*/ 8954 h 10000"/>
                <a:gd name="connsiteX85" fmla="*/ 7290 w 10000"/>
                <a:gd name="connsiteY85" fmla="*/ 8954 h 10000"/>
                <a:gd name="connsiteX86" fmla="*/ 7290 w 10000"/>
                <a:gd name="connsiteY86" fmla="*/ 9104 h 10000"/>
                <a:gd name="connsiteX87" fmla="*/ 6977 w 10000"/>
                <a:gd name="connsiteY87" fmla="*/ 9402 h 10000"/>
                <a:gd name="connsiteX88" fmla="*/ 6665 w 10000"/>
                <a:gd name="connsiteY88" fmla="*/ 9402 h 10000"/>
                <a:gd name="connsiteX89" fmla="*/ 6665 w 10000"/>
                <a:gd name="connsiteY89" fmla="*/ 9552 h 10000"/>
                <a:gd name="connsiteX90" fmla="*/ 6563 w 10000"/>
                <a:gd name="connsiteY90" fmla="*/ 9402 h 10000"/>
                <a:gd name="connsiteX91" fmla="*/ 6563 w 10000"/>
                <a:gd name="connsiteY91" fmla="*/ 9552 h 10000"/>
                <a:gd name="connsiteX92" fmla="*/ 6460 w 10000"/>
                <a:gd name="connsiteY92" fmla="*/ 9552 h 10000"/>
                <a:gd name="connsiteX93" fmla="*/ 6046 w 10000"/>
                <a:gd name="connsiteY93" fmla="*/ 9851 h 10000"/>
                <a:gd name="connsiteX94" fmla="*/ 5938 w 10000"/>
                <a:gd name="connsiteY94" fmla="*/ 10000 h 10000"/>
                <a:gd name="connsiteX95" fmla="*/ 5938 w 10000"/>
                <a:gd name="connsiteY95" fmla="*/ 9711 h 10000"/>
                <a:gd name="connsiteX96" fmla="*/ 5733 w 10000"/>
                <a:gd name="connsiteY96" fmla="*/ 9711 h 10000"/>
                <a:gd name="connsiteX97" fmla="*/ 5625 w 10000"/>
                <a:gd name="connsiteY97" fmla="*/ 9711 h 10000"/>
                <a:gd name="connsiteX98" fmla="*/ 5409 w 10000"/>
                <a:gd name="connsiteY98" fmla="*/ 9711 h 10000"/>
                <a:gd name="connsiteX99" fmla="*/ 5409 w 10000"/>
                <a:gd name="connsiteY99" fmla="*/ 9402 h 10000"/>
                <a:gd name="connsiteX100" fmla="*/ 5198 w 10000"/>
                <a:gd name="connsiteY100" fmla="*/ 9402 h 10000"/>
                <a:gd name="connsiteX101" fmla="*/ 4784 w 10000"/>
                <a:gd name="connsiteY101" fmla="*/ 9552 h 10000"/>
                <a:gd name="connsiteX102" fmla="*/ 4681 w 10000"/>
                <a:gd name="connsiteY102" fmla="*/ 9402 h 10000"/>
                <a:gd name="connsiteX103" fmla="*/ 4681 w 10000"/>
                <a:gd name="connsiteY103" fmla="*/ 9552 h 10000"/>
                <a:gd name="connsiteX104" fmla="*/ 4579 w 10000"/>
                <a:gd name="connsiteY104" fmla="*/ 9552 h 10000"/>
                <a:gd name="connsiteX105" fmla="*/ 4579 w 10000"/>
                <a:gd name="connsiteY105" fmla="*/ 9851 h 10000"/>
                <a:gd name="connsiteX106" fmla="*/ 4477 w 10000"/>
                <a:gd name="connsiteY106" fmla="*/ 9851 h 10000"/>
                <a:gd name="connsiteX107" fmla="*/ 4477 w 10000"/>
                <a:gd name="connsiteY107" fmla="*/ 9711 h 10000"/>
                <a:gd name="connsiteX108" fmla="*/ 4369 w 10000"/>
                <a:gd name="connsiteY108" fmla="*/ 9711 h 10000"/>
                <a:gd name="connsiteX109" fmla="*/ 4165 w 10000"/>
                <a:gd name="connsiteY109" fmla="*/ 9552 h 10000"/>
                <a:gd name="connsiteX110" fmla="*/ 4165 w 10000"/>
                <a:gd name="connsiteY110" fmla="*/ 9402 h 10000"/>
                <a:gd name="connsiteX111" fmla="*/ 4165 w 10000"/>
                <a:gd name="connsiteY111" fmla="*/ 9262 h 10000"/>
                <a:gd name="connsiteX112" fmla="*/ 4056 w 10000"/>
                <a:gd name="connsiteY112" fmla="*/ 9104 h 10000"/>
                <a:gd name="connsiteX113" fmla="*/ 3954 w 10000"/>
                <a:gd name="connsiteY113" fmla="*/ 9104 h 10000"/>
                <a:gd name="connsiteX114" fmla="*/ 4056 w 10000"/>
                <a:gd name="connsiteY114" fmla="*/ 8366 h 10000"/>
                <a:gd name="connsiteX115" fmla="*/ 3954 w 10000"/>
                <a:gd name="connsiteY115" fmla="*/ 8058 h 10000"/>
                <a:gd name="connsiteX116" fmla="*/ 3852 w 10000"/>
                <a:gd name="connsiteY116" fmla="*/ 8058 h 10000"/>
                <a:gd name="connsiteX117" fmla="*/ 3642 w 10000"/>
                <a:gd name="connsiteY117" fmla="*/ 7759 h 10000"/>
                <a:gd name="connsiteX118" fmla="*/ 3438 w 10000"/>
                <a:gd name="connsiteY118" fmla="*/ 7759 h 10000"/>
                <a:gd name="connsiteX119" fmla="*/ 2915 w 10000"/>
                <a:gd name="connsiteY119" fmla="*/ 8058 h 10000"/>
                <a:gd name="connsiteX120" fmla="*/ 2608 w 10000"/>
                <a:gd name="connsiteY120" fmla="*/ 8058 h 10000"/>
                <a:gd name="connsiteX121" fmla="*/ 2500 w 10000"/>
                <a:gd name="connsiteY121" fmla="*/ 8207 h 10000"/>
                <a:gd name="connsiteX122" fmla="*/ 2398 w 10000"/>
                <a:gd name="connsiteY122" fmla="*/ 8058 h 10000"/>
                <a:gd name="connsiteX123" fmla="*/ 2296 w 10000"/>
                <a:gd name="connsiteY123" fmla="*/ 8058 h 10000"/>
                <a:gd name="connsiteX124" fmla="*/ 1983 w 10000"/>
                <a:gd name="connsiteY124" fmla="*/ 8058 h 10000"/>
                <a:gd name="connsiteX125" fmla="*/ 1773 w 10000"/>
                <a:gd name="connsiteY125" fmla="*/ 7918 h 10000"/>
                <a:gd name="connsiteX126" fmla="*/ 1671 w 10000"/>
                <a:gd name="connsiteY126" fmla="*/ 7759 h 10000"/>
                <a:gd name="connsiteX127" fmla="*/ 1556 w 10000"/>
                <a:gd name="connsiteY127" fmla="*/ 7759 h 10000"/>
                <a:gd name="connsiteX128" fmla="*/ 1346 w 10000"/>
                <a:gd name="connsiteY128" fmla="*/ 7470 h 10000"/>
                <a:gd name="connsiteX129" fmla="*/ 1142 w 10000"/>
                <a:gd name="connsiteY129" fmla="*/ 7470 h 10000"/>
                <a:gd name="connsiteX130" fmla="*/ 829 w 10000"/>
                <a:gd name="connsiteY130" fmla="*/ 7311 h 10000"/>
                <a:gd name="connsiteX131" fmla="*/ 727 w 10000"/>
                <a:gd name="connsiteY131" fmla="*/ 6863 h 10000"/>
                <a:gd name="connsiteX132" fmla="*/ 931 w 10000"/>
                <a:gd name="connsiteY132" fmla="*/ 6863 h 10000"/>
                <a:gd name="connsiteX133" fmla="*/ 829 w 10000"/>
                <a:gd name="connsiteY133" fmla="*/ 6573 h 10000"/>
                <a:gd name="connsiteX134" fmla="*/ 1034 w 10000"/>
                <a:gd name="connsiteY134" fmla="*/ 6265 h 10000"/>
                <a:gd name="connsiteX135" fmla="*/ 1034 w 10000"/>
                <a:gd name="connsiteY135" fmla="*/ 5966 h 10000"/>
                <a:gd name="connsiteX136" fmla="*/ 931 w 10000"/>
                <a:gd name="connsiteY136" fmla="*/ 5817 h 10000"/>
                <a:gd name="connsiteX137" fmla="*/ 619 w 10000"/>
                <a:gd name="connsiteY137" fmla="*/ 5966 h 10000"/>
                <a:gd name="connsiteX138" fmla="*/ 444 w 10000"/>
                <a:gd name="connsiteY138" fmla="*/ 5373 h 10000"/>
                <a:gd name="connsiteX139" fmla="*/ 102 w 10000"/>
                <a:gd name="connsiteY139" fmla="*/ 5518 h 10000"/>
                <a:gd name="connsiteX140" fmla="*/ 216 w 10000"/>
                <a:gd name="connsiteY140" fmla="*/ 5243 h 10000"/>
                <a:gd name="connsiteX141" fmla="*/ 204 w 10000"/>
                <a:gd name="connsiteY141" fmla="*/ 5070 h 10000"/>
                <a:gd name="connsiteX142" fmla="*/ 0 w 10000"/>
                <a:gd name="connsiteY142" fmla="*/ 5070 h 10000"/>
                <a:gd name="connsiteX143" fmla="*/ 0 w 10000"/>
                <a:gd name="connsiteY143" fmla="*/ 4622 h 10000"/>
                <a:gd name="connsiteX144" fmla="*/ 204 w 10000"/>
                <a:gd name="connsiteY144" fmla="*/ 4482 h 10000"/>
                <a:gd name="connsiteX145" fmla="*/ 415 w 10000"/>
                <a:gd name="connsiteY145" fmla="*/ 4482 h 10000"/>
                <a:gd name="connsiteX146" fmla="*/ 517 w 10000"/>
                <a:gd name="connsiteY146" fmla="*/ 4332 h 10000"/>
                <a:gd name="connsiteX147" fmla="*/ 727 w 10000"/>
                <a:gd name="connsiteY147" fmla="*/ 4332 h 10000"/>
                <a:gd name="connsiteX148" fmla="*/ 1034 w 10000"/>
                <a:gd name="connsiteY148" fmla="*/ 4034 h 10000"/>
                <a:gd name="connsiteX149" fmla="*/ 1142 w 10000"/>
                <a:gd name="connsiteY149" fmla="*/ 3725 h 10000"/>
                <a:gd name="connsiteX150" fmla="*/ 1034 w 10000"/>
                <a:gd name="connsiteY150" fmla="*/ 3137 h 10000"/>
                <a:gd name="connsiteX151" fmla="*/ 1034 w 10000"/>
                <a:gd name="connsiteY151" fmla="*/ 2988 h 10000"/>
                <a:gd name="connsiteX152" fmla="*/ 1346 w 10000"/>
                <a:gd name="connsiteY152" fmla="*/ 2988 h 10000"/>
                <a:gd name="connsiteX153" fmla="*/ 1454 w 10000"/>
                <a:gd name="connsiteY153" fmla="*/ 2381 h 10000"/>
                <a:gd name="connsiteX154" fmla="*/ 1773 w 10000"/>
                <a:gd name="connsiteY154" fmla="*/ 2381 h 10000"/>
                <a:gd name="connsiteX155" fmla="*/ 1881 w 10000"/>
                <a:gd name="connsiteY155" fmla="*/ 2381 h 10000"/>
                <a:gd name="connsiteX156" fmla="*/ 1983 w 10000"/>
                <a:gd name="connsiteY156" fmla="*/ 1933 h 10000"/>
                <a:gd name="connsiteX157" fmla="*/ 2085 w 10000"/>
                <a:gd name="connsiteY157" fmla="*/ 1793 h 10000"/>
                <a:gd name="connsiteX0" fmla="*/ 2085 w 10000"/>
                <a:gd name="connsiteY0" fmla="*/ 1793 h 10000"/>
                <a:gd name="connsiteX1" fmla="*/ 2085 w 10000"/>
                <a:gd name="connsiteY1" fmla="*/ 1793 h 10000"/>
                <a:gd name="connsiteX2" fmla="*/ 2296 w 10000"/>
                <a:gd name="connsiteY2" fmla="*/ 1643 h 10000"/>
                <a:gd name="connsiteX3" fmla="*/ 2500 w 10000"/>
                <a:gd name="connsiteY3" fmla="*/ 2092 h 10000"/>
                <a:gd name="connsiteX4" fmla="*/ 2710 w 10000"/>
                <a:gd name="connsiteY4" fmla="*/ 2092 h 10000"/>
                <a:gd name="connsiteX5" fmla="*/ 2813 w 10000"/>
                <a:gd name="connsiteY5" fmla="*/ 2381 h 10000"/>
                <a:gd name="connsiteX6" fmla="*/ 2813 w 10000"/>
                <a:gd name="connsiteY6" fmla="*/ 2988 h 10000"/>
                <a:gd name="connsiteX7" fmla="*/ 3438 w 10000"/>
                <a:gd name="connsiteY7" fmla="*/ 3277 h 10000"/>
                <a:gd name="connsiteX8" fmla="*/ 3750 w 10000"/>
                <a:gd name="connsiteY8" fmla="*/ 3725 h 10000"/>
                <a:gd name="connsiteX9" fmla="*/ 4369 w 10000"/>
                <a:gd name="connsiteY9" fmla="*/ 3725 h 10000"/>
                <a:gd name="connsiteX10" fmla="*/ 4681 w 10000"/>
                <a:gd name="connsiteY10" fmla="*/ 4034 h 10000"/>
                <a:gd name="connsiteX11" fmla="*/ 5096 w 10000"/>
                <a:gd name="connsiteY11" fmla="*/ 4174 h 10000"/>
                <a:gd name="connsiteX12" fmla="*/ 5523 w 10000"/>
                <a:gd name="connsiteY12" fmla="*/ 3884 h 10000"/>
                <a:gd name="connsiteX13" fmla="*/ 5938 w 10000"/>
                <a:gd name="connsiteY13" fmla="*/ 3884 h 10000"/>
                <a:gd name="connsiteX14" fmla="*/ 6250 w 10000"/>
                <a:gd name="connsiteY14" fmla="*/ 3436 h 10000"/>
                <a:gd name="connsiteX15" fmla="*/ 6148 w 10000"/>
                <a:gd name="connsiteY15" fmla="*/ 3277 h 10000"/>
                <a:gd name="connsiteX16" fmla="*/ 6352 w 10000"/>
                <a:gd name="connsiteY16" fmla="*/ 2988 h 10000"/>
                <a:gd name="connsiteX17" fmla="*/ 6563 w 10000"/>
                <a:gd name="connsiteY17" fmla="*/ 3137 h 10000"/>
                <a:gd name="connsiteX18" fmla="*/ 6875 w 10000"/>
                <a:gd name="connsiteY18" fmla="*/ 2829 h 10000"/>
                <a:gd name="connsiteX19" fmla="*/ 7079 w 10000"/>
                <a:gd name="connsiteY19" fmla="*/ 2540 h 10000"/>
                <a:gd name="connsiteX20" fmla="*/ 7494 w 10000"/>
                <a:gd name="connsiteY20" fmla="*/ 2540 h 10000"/>
                <a:gd name="connsiteX21" fmla="*/ 7392 w 10000"/>
                <a:gd name="connsiteY21" fmla="*/ 2241 h 10000"/>
                <a:gd name="connsiteX22" fmla="*/ 7290 w 10000"/>
                <a:gd name="connsiteY22" fmla="*/ 2092 h 10000"/>
                <a:gd name="connsiteX23" fmla="*/ 7079 w 10000"/>
                <a:gd name="connsiteY23" fmla="*/ 2241 h 10000"/>
                <a:gd name="connsiteX24" fmla="*/ 6875 w 10000"/>
                <a:gd name="connsiteY24" fmla="*/ 2241 h 10000"/>
                <a:gd name="connsiteX25" fmla="*/ 6875 w 10000"/>
                <a:gd name="connsiteY25" fmla="*/ 1643 h 10000"/>
                <a:gd name="connsiteX26" fmla="*/ 6977 w 10000"/>
                <a:gd name="connsiteY26" fmla="*/ 1345 h 10000"/>
                <a:gd name="connsiteX27" fmla="*/ 7188 w 10000"/>
                <a:gd name="connsiteY27" fmla="*/ 1485 h 10000"/>
                <a:gd name="connsiteX28" fmla="*/ 7494 w 10000"/>
                <a:gd name="connsiteY28" fmla="*/ 1345 h 10000"/>
                <a:gd name="connsiteX29" fmla="*/ 7602 w 10000"/>
                <a:gd name="connsiteY29" fmla="*/ 747 h 10000"/>
                <a:gd name="connsiteX30" fmla="*/ 7704 w 10000"/>
                <a:gd name="connsiteY30" fmla="*/ 588 h 10000"/>
                <a:gd name="connsiteX31" fmla="*/ 7704 w 10000"/>
                <a:gd name="connsiteY31" fmla="*/ 448 h 10000"/>
                <a:gd name="connsiteX32" fmla="*/ 7602 w 10000"/>
                <a:gd name="connsiteY32" fmla="*/ 448 h 10000"/>
                <a:gd name="connsiteX33" fmla="*/ 7704 w 10000"/>
                <a:gd name="connsiteY33" fmla="*/ 140 h 10000"/>
                <a:gd name="connsiteX34" fmla="*/ 8119 w 10000"/>
                <a:gd name="connsiteY34" fmla="*/ 0 h 10000"/>
                <a:gd name="connsiteX35" fmla="*/ 8431 w 10000"/>
                <a:gd name="connsiteY35" fmla="*/ 140 h 10000"/>
                <a:gd name="connsiteX36" fmla="*/ 8642 w 10000"/>
                <a:gd name="connsiteY36" fmla="*/ 448 h 10000"/>
                <a:gd name="connsiteX37" fmla="*/ 8846 w 10000"/>
                <a:gd name="connsiteY37" fmla="*/ 1485 h 10000"/>
                <a:gd name="connsiteX38" fmla="*/ 9056 w 10000"/>
                <a:gd name="connsiteY38" fmla="*/ 1485 h 10000"/>
                <a:gd name="connsiteX39" fmla="*/ 9363 w 10000"/>
                <a:gd name="connsiteY39" fmla="*/ 1793 h 10000"/>
                <a:gd name="connsiteX40" fmla="*/ 9363 w 10000"/>
                <a:gd name="connsiteY40" fmla="*/ 2092 h 10000"/>
                <a:gd name="connsiteX41" fmla="*/ 9585 w 10000"/>
                <a:gd name="connsiteY41" fmla="*/ 2092 h 10000"/>
                <a:gd name="connsiteX42" fmla="*/ 10000 w 10000"/>
                <a:gd name="connsiteY42" fmla="*/ 1933 h 10000"/>
                <a:gd name="connsiteX43" fmla="*/ 10000 w 10000"/>
                <a:gd name="connsiteY43" fmla="*/ 2241 h 10000"/>
                <a:gd name="connsiteX44" fmla="*/ 9688 w 10000"/>
                <a:gd name="connsiteY44" fmla="*/ 3137 h 10000"/>
                <a:gd name="connsiteX45" fmla="*/ 9585 w 10000"/>
                <a:gd name="connsiteY45" fmla="*/ 2988 h 10000"/>
                <a:gd name="connsiteX46" fmla="*/ 9363 w 10000"/>
                <a:gd name="connsiteY46" fmla="*/ 3137 h 10000"/>
                <a:gd name="connsiteX47" fmla="*/ 9483 w 10000"/>
                <a:gd name="connsiteY47" fmla="*/ 3585 h 10000"/>
                <a:gd name="connsiteX48" fmla="*/ 9363 w 10000"/>
                <a:gd name="connsiteY48" fmla="*/ 3884 h 10000"/>
                <a:gd name="connsiteX49" fmla="*/ 9261 w 10000"/>
                <a:gd name="connsiteY49" fmla="*/ 3884 h 10000"/>
                <a:gd name="connsiteX50" fmla="*/ 9056 w 10000"/>
                <a:gd name="connsiteY50" fmla="*/ 4034 h 10000"/>
                <a:gd name="connsiteX51" fmla="*/ 8948 w 10000"/>
                <a:gd name="connsiteY51" fmla="*/ 4034 h 10000"/>
                <a:gd name="connsiteX52" fmla="*/ 8846 w 10000"/>
                <a:gd name="connsiteY52" fmla="*/ 4174 h 10000"/>
                <a:gd name="connsiteX53" fmla="*/ 8744 w 10000"/>
                <a:gd name="connsiteY53" fmla="*/ 4174 h 10000"/>
                <a:gd name="connsiteX54" fmla="*/ 8329 w 10000"/>
                <a:gd name="connsiteY54" fmla="*/ 4622 h 10000"/>
                <a:gd name="connsiteX55" fmla="*/ 8329 w 10000"/>
                <a:gd name="connsiteY55" fmla="*/ 4781 h 10000"/>
                <a:gd name="connsiteX56" fmla="*/ 8119 w 10000"/>
                <a:gd name="connsiteY56" fmla="*/ 4781 h 10000"/>
                <a:gd name="connsiteX57" fmla="*/ 7806 w 10000"/>
                <a:gd name="connsiteY57" fmla="*/ 5070 h 10000"/>
                <a:gd name="connsiteX58" fmla="*/ 7806 w 10000"/>
                <a:gd name="connsiteY58" fmla="*/ 4930 h 10000"/>
                <a:gd name="connsiteX59" fmla="*/ 7806 w 10000"/>
                <a:gd name="connsiteY59" fmla="*/ 4781 h 10000"/>
                <a:gd name="connsiteX60" fmla="*/ 7915 w 10000"/>
                <a:gd name="connsiteY60" fmla="*/ 4482 h 10000"/>
                <a:gd name="connsiteX61" fmla="*/ 7806 w 10000"/>
                <a:gd name="connsiteY61" fmla="*/ 4332 h 10000"/>
                <a:gd name="connsiteX62" fmla="*/ 7494 w 10000"/>
                <a:gd name="connsiteY62" fmla="*/ 4781 h 10000"/>
                <a:gd name="connsiteX63" fmla="*/ 7392 w 10000"/>
                <a:gd name="connsiteY63" fmla="*/ 4930 h 10000"/>
                <a:gd name="connsiteX64" fmla="*/ 7290 w 10000"/>
                <a:gd name="connsiteY64" fmla="*/ 4930 h 10000"/>
                <a:gd name="connsiteX65" fmla="*/ 7188 w 10000"/>
                <a:gd name="connsiteY65" fmla="*/ 5070 h 10000"/>
                <a:gd name="connsiteX66" fmla="*/ 7494 w 10000"/>
                <a:gd name="connsiteY66" fmla="*/ 5518 h 10000"/>
                <a:gd name="connsiteX67" fmla="*/ 7704 w 10000"/>
                <a:gd name="connsiteY67" fmla="*/ 5369 h 10000"/>
                <a:gd name="connsiteX68" fmla="*/ 8017 w 10000"/>
                <a:gd name="connsiteY68" fmla="*/ 5518 h 10000"/>
                <a:gd name="connsiteX69" fmla="*/ 8017 w 10000"/>
                <a:gd name="connsiteY69" fmla="*/ 5677 h 10000"/>
                <a:gd name="connsiteX70" fmla="*/ 7915 w 10000"/>
                <a:gd name="connsiteY70" fmla="*/ 5518 h 10000"/>
                <a:gd name="connsiteX71" fmla="*/ 7704 w 10000"/>
                <a:gd name="connsiteY71" fmla="*/ 5677 h 10000"/>
                <a:gd name="connsiteX72" fmla="*/ 7494 w 10000"/>
                <a:gd name="connsiteY72" fmla="*/ 6125 h 10000"/>
                <a:gd name="connsiteX73" fmla="*/ 7602 w 10000"/>
                <a:gd name="connsiteY73" fmla="*/ 6265 h 10000"/>
                <a:gd name="connsiteX74" fmla="*/ 7704 w 10000"/>
                <a:gd name="connsiteY74" fmla="*/ 6863 h 10000"/>
                <a:gd name="connsiteX75" fmla="*/ 7915 w 10000"/>
                <a:gd name="connsiteY75" fmla="*/ 7021 h 10000"/>
                <a:gd name="connsiteX76" fmla="*/ 7806 w 10000"/>
                <a:gd name="connsiteY76" fmla="*/ 7021 h 10000"/>
                <a:gd name="connsiteX77" fmla="*/ 7915 w 10000"/>
                <a:gd name="connsiteY77" fmla="*/ 7311 h 10000"/>
                <a:gd name="connsiteX78" fmla="*/ 7602 w 10000"/>
                <a:gd name="connsiteY78" fmla="*/ 7470 h 10000"/>
                <a:gd name="connsiteX79" fmla="*/ 7915 w 10000"/>
                <a:gd name="connsiteY79" fmla="*/ 7470 h 10000"/>
                <a:gd name="connsiteX80" fmla="*/ 7806 w 10000"/>
                <a:gd name="connsiteY80" fmla="*/ 8058 h 10000"/>
                <a:gd name="connsiteX81" fmla="*/ 7602 w 10000"/>
                <a:gd name="connsiteY81" fmla="*/ 8366 h 10000"/>
                <a:gd name="connsiteX82" fmla="*/ 7494 w 10000"/>
                <a:gd name="connsiteY82" fmla="*/ 8366 h 10000"/>
                <a:gd name="connsiteX83" fmla="*/ 7494 w 10000"/>
                <a:gd name="connsiteY83" fmla="*/ 8655 h 10000"/>
                <a:gd name="connsiteX84" fmla="*/ 7392 w 10000"/>
                <a:gd name="connsiteY84" fmla="*/ 8954 h 10000"/>
                <a:gd name="connsiteX85" fmla="*/ 7290 w 10000"/>
                <a:gd name="connsiteY85" fmla="*/ 8954 h 10000"/>
                <a:gd name="connsiteX86" fmla="*/ 7290 w 10000"/>
                <a:gd name="connsiteY86" fmla="*/ 9104 h 10000"/>
                <a:gd name="connsiteX87" fmla="*/ 6977 w 10000"/>
                <a:gd name="connsiteY87" fmla="*/ 9402 h 10000"/>
                <a:gd name="connsiteX88" fmla="*/ 6665 w 10000"/>
                <a:gd name="connsiteY88" fmla="*/ 9402 h 10000"/>
                <a:gd name="connsiteX89" fmla="*/ 6665 w 10000"/>
                <a:gd name="connsiteY89" fmla="*/ 9552 h 10000"/>
                <a:gd name="connsiteX90" fmla="*/ 6563 w 10000"/>
                <a:gd name="connsiteY90" fmla="*/ 9402 h 10000"/>
                <a:gd name="connsiteX91" fmla="*/ 6563 w 10000"/>
                <a:gd name="connsiteY91" fmla="*/ 9552 h 10000"/>
                <a:gd name="connsiteX92" fmla="*/ 6460 w 10000"/>
                <a:gd name="connsiteY92" fmla="*/ 9552 h 10000"/>
                <a:gd name="connsiteX93" fmla="*/ 6046 w 10000"/>
                <a:gd name="connsiteY93" fmla="*/ 9851 h 10000"/>
                <a:gd name="connsiteX94" fmla="*/ 5938 w 10000"/>
                <a:gd name="connsiteY94" fmla="*/ 10000 h 10000"/>
                <a:gd name="connsiteX95" fmla="*/ 5938 w 10000"/>
                <a:gd name="connsiteY95" fmla="*/ 9711 h 10000"/>
                <a:gd name="connsiteX96" fmla="*/ 5733 w 10000"/>
                <a:gd name="connsiteY96" fmla="*/ 9711 h 10000"/>
                <a:gd name="connsiteX97" fmla="*/ 5625 w 10000"/>
                <a:gd name="connsiteY97" fmla="*/ 9711 h 10000"/>
                <a:gd name="connsiteX98" fmla="*/ 5409 w 10000"/>
                <a:gd name="connsiteY98" fmla="*/ 9711 h 10000"/>
                <a:gd name="connsiteX99" fmla="*/ 5409 w 10000"/>
                <a:gd name="connsiteY99" fmla="*/ 9402 h 10000"/>
                <a:gd name="connsiteX100" fmla="*/ 5198 w 10000"/>
                <a:gd name="connsiteY100" fmla="*/ 9402 h 10000"/>
                <a:gd name="connsiteX101" fmla="*/ 4784 w 10000"/>
                <a:gd name="connsiteY101" fmla="*/ 9552 h 10000"/>
                <a:gd name="connsiteX102" fmla="*/ 4681 w 10000"/>
                <a:gd name="connsiteY102" fmla="*/ 9402 h 10000"/>
                <a:gd name="connsiteX103" fmla="*/ 4681 w 10000"/>
                <a:gd name="connsiteY103" fmla="*/ 9552 h 10000"/>
                <a:gd name="connsiteX104" fmla="*/ 4579 w 10000"/>
                <a:gd name="connsiteY104" fmla="*/ 9552 h 10000"/>
                <a:gd name="connsiteX105" fmla="*/ 4579 w 10000"/>
                <a:gd name="connsiteY105" fmla="*/ 9851 h 10000"/>
                <a:gd name="connsiteX106" fmla="*/ 4477 w 10000"/>
                <a:gd name="connsiteY106" fmla="*/ 9851 h 10000"/>
                <a:gd name="connsiteX107" fmla="*/ 4477 w 10000"/>
                <a:gd name="connsiteY107" fmla="*/ 9711 h 10000"/>
                <a:gd name="connsiteX108" fmla="*/ 4369 w 10000"/>
                <a:gd name="connsiteY108" fmla="*/ 9711 h 10000"/>
                <a:gd name="connsiteX109" fmla="*/ 4165 w 10000"/>
                <a:gd name="connsiteY109" fmla="*/ 9552 h 10000"/>
                <a:gd name="connsiteX110" fmla="*/ 4165 w 10000"/>
                <a:gd name="connsiteY110" fmla="*/ 9402 h 10000"/>
                <a:gd name="connsiteX111" fmla="*/ 4165 w 10000"/>
                <a:gd name="connsiteY111" fmla="*/ 9262 h 10000"/>
                <a:gd name="connsiteX112" fmla="*/ 4056 w 10000"/>
                <a:gd name="connsiteY112" fmla="*/ 9104 h 10000"/>
                <a:gd name="connsiteX113" fmla="*/ 3954 w 10000"/>
                <a:gd name="connsiteY113" fmla="*/ 9104 h 10000"/>
                <a:gd name="connsiteX114" fmla="*/ 4056 w 10000"/>
                <a:gd name="connsiteY114" fmla="*/ 8366 h 10000"/>
                <a:gd name="connsiteX115" fmla="*/ 3954 w 10000"/>
                <a:gd name="connsiteY115" fmla="*/ 8058 h 10000"/>
                <a:gd name="connsiteX116" fmla="*/ 3852 w 10000"/>
                <a:gd name="connsiteY116" fmla="*/ 8058 h 10000"/>
                <a:gd name="connsiteX117" fmla="*/ 3642 w 10000"/>
                <a:gd name="connsiteY117" fmla="*/ 7759 h 10000"/>
                <a:gd name="connsiteX118" fmla="*/ 3438 w 10000"/>
                <a:gd name="connsiteY118" fmla="*/ 7759 h 10000"/>
                <a:gd name="connsiteX119" fmla="*/ 2915 w 10000"/>
                <a:gd name="connsiteY119" fmla="*/ 8058 h 10000"/>
                <a:gd name="connsiteX120" fmla="*/ 2608 w 10000"/>
                <a:gd name="connsiteY120" fmla="*/ 8058 h 10000"/>
                <a:gd name="connsiteX121" fmla="*/ 2500 w 10000"/>
                <a:gd name="connsiteY121" fmla="*/ 8207 h 10000"/>
                <a:gd name="connsiteX122" fmla="*/ 2398 w 10000"/>
                <a:gd name="connsiteY122" fmla="*/ 8058 h 10000"/>
                <a:gd name="connsiteX123" fmla="*/ 2296 w 10000"/>
                <a:gd name="connsiteY123" fmla="*/ 8058 h 10000"/>
                <a:gd name="connsiteX124" fmla="*/ 1983 w 10000"/>
                <a:gd name="connsiteY124" fmla="*/ 8058 h 10000"/>
                <a:gd name="connsiteX125" fmla="*/ 1773 w 10000"/>
                <a:gd name="connsiteY125" fmla="*/ 7918 h 10000"/>
                <a:gd name="connsiteX126" fmla="*/ 1671 w 10000"/>
                <a:gd name="connsiteY126" fmla="*/ 7759 h 10000"/>
                <a:gd name="connsiteX127" fmla="*/ 1556 w 10000"/>
                <a:gd name="connsiteY127" fmla="*/ 7759 h 10000"/>
                <a:gd name="connsiteX128" fmla="*/ 1346 w 10000"/>
                <a:gd name="connsiteY128" fmla="*/ 7470 h 10000"/>
                <a:gd name="connsiteX129" fmla="*/ 1142 w 10000"/>
                <a:gd name="connsiteY129" fmla="*/ 7470 h 10000"/>
                <a:gd name="connsiteX130" fmla="*/ 829 w 10000"/>
                <a:gd name="connsiteY130" fmla="*/ 7311 h 10000"/>
                <a:gd name="connsiteX131" fmla="*/ 727 w 10000"/>
                <a:gd name="connsiteY131" fmla="*/ 6863 h 10000"/>
                <a:gd name="connsiteX132" fmla="*/ 931 w 10000"/>
                <a:gd name="connsiteY132" fmla="*/ 6863 h 10000"/>
                <a:gd name="connsiteX133" fmla="*/ 829 w 10000"/>
                <a:gd name="connsiteY133" fmla="*/ 6573 h 10000"/>
                <a:gd name="connsiteX134" fmla="*/ 1034 w 10000"/>
                <a:gd name="connsiteY134" fmla="*/ 6265 h 10000"/>
                <a:gd name="connsiteX135" fmla="*/ 1034 w 10000"/>
                <a:gd name="connsiteY135" fmla="*/ 5966 h 10000"/>
                <a:gd name="connsiteX136" fmla="*/ 931 w 10000"/>
                <a:gd name="connsiteY136" fmla="*/ 5817 h 10000"/>
                <a:gd name="connsiteX137" fmla="*/ 673 w 10000"/>
                <a:gd name="connsiteY137" fmla="*/ 5821 h 10000"/>
                <a:gd name="connsiteX138" fmla="*/ 444 w 10000"/>
                <a:gd name="connsiteY138" fmla="*/ 5373 h 10000"/>
                <a:gd name="connsiteX139" fmla="*/ 102 w 10000"/>
                <a:gd name="connsiteY139" fmla="*/ 5518 h 10000"/>
                <a:gd name="connsiteX140" fmla="*/ 216 w 10000"/>
                <a:gd name="connsiteY140" fmla="*/ 5243 h 10000"/>
                <a:gd name="connsiteX141" fmla="*/ 204 w 10000"/>
                <a:gd name="connsiteY141" fmla="*/ 5070 h 10000"/>
                <a:gd name="connsiteX142" fmla="*/ 0 w 10000"/>
                <a:gd name="connsiteY142" fmla="*/ 5070 h 10000"/>
                <a:gd name="connsiteX143" fmla="*/ 0 w 10000"/>
                <a:gd name="connsiteY143" fmla="*/ 4622 h 10000"/>
                <a:gd name="connsiteX144" fmla="*/ 204 w 10000"/>
                <a:gd name="connsiteY144" fmla="*/ 4482 h 10000"/>
                <a:gd name="connsiteX145" fmla="*/ 415 w 10000"/>
                <a:gd name="connsiteY145" fmla="*/ 4482 h 10000"/>
                <a:gd name="connsiteX146" fmla="*/ 517 w 10000"/>
                <a:gd name="connsiteY146" fmla="*/ 4332 h 10000"/>
                <a:gd name="connsiteX147" fmla="*/ 727 w 10000"/>
                <a:gd name="connsiteY147" fmla="*/ 4332 h 10000"/>
                <a:gd name="connsiteX148" fmla="*/ 1034 w 10000"/>
                <a:gd name="connsiteY148" fmla="*/ 4034 h 10000"/>
                <a:gd name="connsiteX149" fmla="*/ 1142 w 10000"/>
                <a:gd name="connsiteY149" fmla="*/ 3725 h 10000"/>
                <a:gd name="connsiteX150" fmla="*/ 1034 w 10000"/>
                <a:gd name="connsiteY150" fmla="*/ 3137 h 10000"/>
                <a:gd name="connsiteX151" fmla="*/ 1034 w 10000"/>
                <a:gd name="connsiteY151" fmla="*/ 2988 h 10000"/>
                <a:gd name="connsiteX152" fmla="*/ 1346 w 10000"/>
                <a:gd name="connsiteY152" fmla="*/ 2988 h 10000"/>
                <a:gd name="connsiteX153" fmla="*/ 1454 w 10000"/>
                <a:gd name="connsiteY153" fmla="*/ 2381 h 10000"/>
                <a:gd name="connsiteX154" fmla="*/ 1773 w 10000"/>
                <a:gd name="connsiteY154" fmla="*/ 2381 h 10000"/>
                <a:gd name="connsiteX155" fmla="*/ 1881 w 10000"/>
                <a:gd name="connsiteY155" fmla="*/ 2381 h 10000"/>
                <a:gd name="connsiteX156" fmla="*/ 1983 w 10000"/>
                <a:gd name="connsiteY156" fmla="*/ 1933 h 10000"/>
                <a:gd name="connsiteX157" fmla="*/ 2085 w 10000"/>
                <a:gd name="connsiteY157" fmla="*/ 1793 h 10000"/>
                <a:gd name="connsiteX0" fmla="*/ 2085 w 10000"/>
                <a:gd name="connsiteY0" fmla="*/ 1793 h 10000"/>
                <a:gd name="connsiteX1" fmla="*/ 2085 w 10000"/>
                <a:gd name="connsiteY1" fmla="*/ 1793 h 10000"/>
                <a:gd name="connsiteX2" fmla="*/ 2296 w 10000"/>
                <a:gd name="connsiteY2" fmla="*/ 1643 h 10000"/>
                <a:gd name="connsiteX3" fmla="*/ 2500 w 10000"/>
                <a:gd name="connsiteY3" fmla="*/ 2092 h 10000"/>
                <a:gd name="connsiteX4" fmla="*/ 2710 w 10000"/>
                <a:gd name="connsiteY4" fmla="*/ 2092 h 10000"/>
                <a:gd name="connsiteX5" fmla="*/ 2813 w 10000"/>
                <a:gd name="connsiteY5" fmla="*/ 2381 h 10000"/>
                <a:gd name="connsiteX6" fmla="*/ 2813 w 10000"/>
                <a:gd name="connsiteY6" fmla="*/ 2988 h 10000"/>
                <a:gd name="connsiteX7" fmla="*/ 3438 w 10000"/>
                <a:gd name="connsiteY7" fmla="*/ 3277 h 10000"/>
                <a:gd name="connsiteX8" fmla="*/ 3750 w 10000"/>
                <a:gd name="connsiteY8" fmla="*/ 3725 h 10000"/>
                <a:gd name="connsiteX9" fmla="*/ 4369 w 10000"/>
                <a:gd name="connsiteY9" fmla="*/ 3725 h 10000"/>
                <a:gd name="connsiteX10" fmla="*/ 4681 w 10000"/>
                <a:gd name="connsiteY10" fmla="*/ 4034 h 10000"/>
                <a:gd name="connsiteX11" fmla="*/ 5096 w 10000"/>
                <a:gd name="connsiteY11" fmla="*/ 4174 h 10000"/>
                <a:gd name="connsiteX12" fmla="*/ 5523 w 10000"/>
                <a:gd name="connsiteY12" fmla="*/ 3884 h 10000"/>
                <a:gd name="connsiteX13" fmla="*/ 5938 w 10000"/>
                <a:gd name="connsiteY13" fmla="*/ 3884 h 10000"/>
                <a:gd name="connsiteX14" fmla="*/ 6250 w 10000"/>
                <a:gd name="connsiteY14" fmla="*/ 3436 h 10000"/>
                <a:gd name="connsiteX15" fmla="*/ 6148 w 10000"/>
                <a:gd name="connsiteY15" fmla="*/ 3277 h 10000"/>
                <a:gd name="connsiteX16" fmla="*/ 6352 w 10000"/>
                <a:gd name="connsiteY16" fmla="*/ 2988 h 10000"/>
                <a:gd name="connsiteX17" fmla="*/ 6563 w 10000"/>
                <a:gd name="connsiteY17" fmla="*/ 3137 h 10000"/>
                <a:gd name="connsiteX18" fmla="*/ 6875 w 10000"/>
                <a:gd name="connsiteY18" fmla="*/ 2829 h 10000"/>
                <a:gd name="connsiteX19" fmla="*/ 7079 w 10000"/>
                <a:gd name="connsiteY19" fmla="*/ 2540 h 10000"/>
                <a:gd name="connsiteX20" fmla="*/ 7494 w 10000"/>
                <a:gd name="connsiteY20" fmla="*/ 2540 h 10000"/>
                <a:gd name="connsiteX21" fmla="*/ 7392 w 10000"/>
                <a:gd name="connsiteY21" fmla="*/ 2241 h 10000"/>
                <a:gd name="connsiteX22" fmla="*/ 7290 w 10000"/>
                <a:gd name="connsiteY22" fmla="*/ 2092 h 10000"/>
                <a:gd name="connsiteX23" fmla="*/ 7079 w 10000"/>
                <a:gd name="connsiteY23" fmla="*/ 2241 h 10000"/>
                <a:gd name="connsiteX24" fmla="*/ 6875 w 10000"/>
                <a:gd name="connsiteY24" fmla="*/ 2241 h 10000"/>
                <a:gd name="connsiteX25" fmla="*/ 6875 w 10000"/>
                <a:gd name="connsiteY25" fmla="*/ 1643 h 10000"/>
                <a:gd name="connsiteX26" fmla="*/ 6977 w 10000"/>
                <a:gd name="connsiteY26" fmla="*/ 1345 h 10000"/>
                <a:gd name="connsiteX27" fmla="*/ 7188 w 10000"/>
                <a:gd name="connsiteY27" fmla="*/ 1485 h 10000"/>
                <a:gd name="connsiteX28" fmla="*/ 7494 w 10000"/>
                <a:gd name="connsiteY28" fmla="*/ 1345 h 10000"/>
                <a:gd name="connsiteX29" fmla="*/ 7602 w 10000"/>
                <a:gd name="connsiteY29" fmla="*/ 747 h 10000"/>
                <a:gd name="connsiteX30" fmla="*/ 7704 w 10000"/>
                <a:gd name="connsiteY30" fmla="*/ 588 h 10000"/>
                <a:gd name="connsiteX31" fmla="*/ 7704 w 10000"/>
                <a:gd name="connsiteY31" fmla="*/ 448 h 10000"/>
                <a:gd name="connsiteX32" fmla="*/ 7602 w 10000"/>
                <a:gd name="connsiteY32" fmla="*/ 448 h 10000"/>
                <a:gd name="connsiteX33" fmla="*/ 7704 w 10000"/>
                <a:gd name="connsiteY33" fmla="*/ 140 h 10000"/>
                <a:gd name="connsiteX34" fmla="*/ 8119 w 10000"/>
                <a:gd name="connsiteY34" fmla="*/ 0 h 10000"/>
                <a:gd name="connsiteX35" fmla="*/ 8431 w 10000"/>
                <a:gd name="connsiteY35" fmla="*/ 140 h 10000"/>
                <a:gd name="connsiteX36" fmla="*/ 8642 w 10000"/>
                <a:gd name="connsiteY36" fmla="*/ 448 h 10000"/>
                <a:gd name="connsiteX37" fmla="*/ 8846 w 10000"/>
                <a:gd name="connsiteY37" fmla="*/ 1485 h 10000"/>
                <a:gd name="connsiteX38" fmla="*/ 9056 w 10000"/>
                <a:gd name="connsiteY38" fmla="*/ 1485 h 10000"/>
                <a:gd name="connsiteX39" fmla="*/ 9363 w 10000"/>
                <a:gd name="connsiteY39" fmla="*/ 1793 h 10000"/>
                <a:gd name="connsiteX40" fmla="*/ 9363 w 10000"/>
                <a:gd name="connsiteY40" fmla="*/ 2092 h 10000"/>
                <a:gd name="connsiteX41" fmla="*/ 9585 w 10000"/>
                <a:gd name="connsiteY41" fmla="*/ 2092 h 10000"/>
                <a:gd name="connsiteX42" fmla="*/ 10000 w 10000"/>
                <a:gd name="connsiteY42" fmla="*/ 1933 h 10000"/>
                <a:gd name="connsiteX43" fmla="*/ 10000 w 10000"/>
                <a:gd name="connsiteY43" fmla="*/ 2241 h 10000"/>
                <a:gd name="connsiteX44" fmla="*/ 9688 w 10000"/>
                <a:gd name="connsiteY44" fmla="*/ 3137 h 10000"/>
                <a:gd name="connsiteX45" fmla="*/ 9585 w 10000"/>
                <a:gd name="connsiteY45" fmla="*/ 2988 h 10000"/>
                <a:gd name="connsiteX46" fmla="*/ 9363 w 10000"/>
                <a:gd name="connsiteY46" fmla="*/ 3137 h 10000"/>
                <a:gd name="connsiteX47" fmla="*/ 9483 w 10000"/>
                <a:gd name="connsiteY47" fmla="*/ 3585 h 10000"/>
                <a:gd name="connsiteX48" fmla="*/ 9363 w 10000"/>
                <a:gd name="connsiteY48" fmla="*/ 3884 h 10000"/>
                <a:gd name="connsiteX49" fmla="*/ 9261 w 10000"/>
                <a:gd name="connsiteY49" fmla="*/ 3884 h 10000"/>
                <a:gd name="connsiteX50" fmla="*/ 9056 w 10000"/>
                <a:gd name="connsiteY50" fmla="*/ 4034 h 10000"/>
                <a:gd name="connsiteX51" fmla="*/ 8948 w 10000"/>
                <a:gd name="connsiteY51" fmla="*/ 4034 h 10000"/>
                <a:gd name="connsiteX52" fmla="*/ 8846 w 10000"/>
                <a:gd name="connsiteY52" fmla="*/ 4174 h 10000"/>
                <a:gd name="connsiteX53" fmla="*/ 8744 w 10000"/>
                <a:gd name="connsiteY53" fmla="*/ 4174 h 10000"/>
                <a:gd name="connsiteX54" fmla="*/ 8329 w 10000"/>
                <a:gd name="connsiteY54" fmla="*/ 4622 h 10000"/>
                <a:gd name="connsiteX55" fmla="*/ 8329 w 10000"/>
                <a:gd name="connsiteY55" fmla="*/ 4781 h 10000"/>
                <a:gd name="connsiteX56" fmla="*/ 8119 w 10000"/>
                <a:gd name="connsiteY56" fmla="*/ 4781 h 10000"/>
                <a:gd name="connsiteX57" fmla="*/ 7806 w 10000"/>
                <a:gd name="connsiteY57" fmla="*/ 5070 h 10000"/>
                <a:gd name="connsiteX58" fmla="*/ 7806 w 10000"/>
                <a:gd name="connsiteY58" fmla="*/ 4930 h 10000"/>
                <a:gd name="connsiteX59" fmla="*/ 7806 w 10000"/>
                <a:gd name="connsiteY59" fmla="*/ 4781 h 10000"/>
                <a:gd name="connsiteX60" fmla="*/ 7915 w 10000"/>
                <a:gd name="connsiteY60" fmla="*/ 4482 h 10000"/>
                <a:gd name="connsiteX61" fmla="*/ 7806 w 10000"/>
                <a:gd name="connsiteY61" fmla="*/ 4332 h 10000"/>
                <a:gd name="connsiteX62" fmla="*/ 7494 w 10000"/>
                <a:gd name="connsiteY62" fmla="*/ 4781 h 10000"/>
                <a:gd name="connsiteX63" fmla="*/ 7392 w 10000"/>
                <a:gd name="connsiteY63" fmla="*/ 4930 h 10000"/>
                <a:gd name="connsiteX64" fmla="*/ 7290 w 10000"/>
                <a:gd name="connsiteY64" fmla="*/ 4930 h 10000"/>
                <a:gd name="connsiteX65" fmla="*/ 7188 w 10000"/>
                <a:gd name="connsiteY65" fmla="*/ 5070 h 10000"/>
                <a:gd name="connsiteX66" fmla="*/ 7494 w 10000"/>
                <a:gd name="connsiteY66" fmla="*/ 5518 h 10000"/>
                <a:gd name="connsiteX67" fmla="*/ 7704 w 10000"/>
                <a:gd name="connsiteY67" fmla="*/ 5369 h 10000"/>
                <a:gd name="connsiteX68" fmla="*/ 8017 w 10000"/>
                <a:gd name="connsiteY68" fmla="*/ 5518 h 10000"/>
                <a:gd name="connsiteX69" fmla="*/ 8017 w 10000"/>
                <a:gd name="connsiteY69" fmla="*/ 5677 h 10000"/>
                <a:gd name="connsiteX70" fmla="*/ 7915 w 10000"/>
                <a:gd name="connsiteY70" fmla="*/ 5518 h 10000"/>
                <a:gd name="connsiteX71" fmla="*/ 7704 w 10000"/>
                <a:gd name="connsiteY71" fmla="*/ 5677 h 10000"/>
                <a:gd name="connsiteX72" fmla="*/ 7494 w 10000"/>
                <a:gd name="connsiteY72" fmla="*/ 6125 h 10000"/>
                <a:gd name="connsiteX73" fmla="*/ 7602 w 10000"/>
                <a:gd name="connsiteY73" fmla="*/ 6265 h 10000"/>
                <a:gd name="connsiteX74" fmla="*/ 7704 w 10000"/>
                <a:gd name="connsiteY74" fmla="*/ 6863 h 10000"/>
                <a:gd name="connsiteX75" fmla="*/ 7915 w 10000"/>
                <a:gd name="connsiteY75" fmla="*/ 7021 h 10000"/>
                <a:gd name="connsiteX76" fmla="*/ 7806 w 10000"/>
                <a:gd name="connsiteY76" fmla="*/ 7021 h 10000"/>
                <a:gd name="connsiteX77" fmla="*/ 7915 w 10000"/>
                <a:gd name="connsiteY77" fmla="*/ 7311 h 10000"/>
                <a:gd name="connsiteX78" fmla="*/ 7602 w 10000"/>
                <a:gd name="connsiteY78" fmla="*/ 7470 h 10000"/>
                <a:gd name="connsiteX79" fmla="*/ 7915 w 10000"/>
                <a:gd name="connsiteY79" fmla="*/ 7470 h 10000"/>
                <a:gd name="connsiteX80" fmla="*/ 7806 w 10000"/>
                <a:gd name="connsiteY80" fmla="*/ 8058 h 10000"/>
                <a:gd name="connsiteX81" fmla="*/ 7602 w 10000"/>
                <a:gd name="connsiteY81" fmla="*/ 8366 h 10000"/>
                <a:gd name="connsiteX82" fmla="*/ 7494 w 10000"/>
                <a:gd name="connsiteY82" fmla="*/ 8366 h 10000"/>
                <a:gd name="connsiteX83" fmla="*/ 7494 w 10000"/>
                <a:gd name="connsiteY83" fmla="*/ 8655 h 10000"/>
                <a:gd name="connsiteX84" fmla="*/ 7392 w 10000"/>
                <a:gd name="connsiteY84" fmla="*/ 8954 h 10000"/>
                <a:gd name="connsiteX85" fmla="*/ 7290 w 10000"/>
                <a:gd name="connsiteY85" fmla="*/ 8954 h 10000"/>
                <a:gd name="connsiteX86" fmla="*/ 7290 w 10000"/>
                <a:gd name="connsiteY86" fmla="*/ 9104 h 10000"/>
                <a:gd name="connsiteX87" fmla="*/ 6977 w 10000"/>
                <a:gd name="connsiteY87" fmla="*/ 9402 h 10000"/>
                <a:gd name="connsiteX88" fmla="*/ 6665 w 10000"/>
                <a:gd name="connsiteY88" fmla="*/ 9402 h 10000"/>
                <a:gd name="connsiteX89" fmla="*/ 6665 w 10000"/>
                <a:gd name="connsiteY89" fmla="*/ 9552 h 10000"/>
                <a:gd name="connsiteX90" fmla="*/ 6563 w 10000"/>
                <a:gd name="connsiteY90" fmla="*/ 9402 h 10000"/>
                <a:gd name="connsiteX91" fmla="*/ 6563 w 10000"/>
                <a:gd name="connsiteY91" fmla="*/ 9552 h 10000"/>
                <a:gd name="connsiteX92" fmla="*/ 6460 w 10000"/>
                <a:gd name="connsiteY92" fmla="*/ 9552 h 10000"/>
                <a:gd name="connsiteX93" fmla="*/ 6046 w 10000"/>
                <a:gd name="connsiteY93" fmla="*/ 9851 h 10000"/>
                <a:gd name="connsiteX94" fmla="*/ 5938 w 10000"/>
                <a:gd name="connsiteY94" fmla="*/ 10000 h 10000"/>
                <a:gd name="connsiteX95" fmla="*/ 5938 w 10000"/>
                <a:gd name="connsiteY95" fmla="*/ 9711 h 10000"/>
                <a:gd name="connsiteX96" fmla="*/ 5733 w 10000"/>
                <a:gd name="connsiteY96" fmla="*/ 9711 h 10000"/>
                <a:gd name="connsiteX97" fmla="*/ 5625 w 10000"/>
                <a:gd name="connsiteY97" fmla="*/ 9711 h 10000"/>
                <a:gd name="connsiteX98" fmla="*/ 5409 w 10000"/>
                <a:gd name="connsiteY98" fmla="*/ 9711 h 10000"/>
                <a:gd name="connsiteX99" fmla="*/ 5409 w 10000"/>
                <a:gd name="connsiteY99" fmla="*/ 9402 h 10000"/>
                <a:gd name="connsiteX100" fmla="*/ 5198 w 10000"/>
                <a:gd name="connsiteY100" fmla="*/ 9402 h 10000"/>
                <a:gd name="connsiteX101" fmla="*/ 4784 w 10000"/>
                <a:gd name="connsiteY101" fmla="*/ 9552 h 10000"/>
                <a:gd name="connsiteX102" fmla="*/ 4681 w 10000"/>
                <a:gd name="connsiteY102" fmla="*/ 9402 h 10000"/>
                <a:gd name="connsiteX103" fmla="*/ 4681 w 10000"/>
                <a:gd name="connsiteY103" fmla="*/ 9552 h 10000"/>
                <a:gd name="connsiteX104" fmla="*/ 4579 w 10000"/>
                <a:gd name="connsiteY104" fmla="*/ 9552 h 10000"/>
                <a:gd name="connsiteX105" fmla="*/ 4579 w 10000"/>
                <a:gd name="connsiteY105" fmla="*/ 9851 h 10000"/>
                <a:gd name="connsiteX106" fmla="*/ 4477 w 10000"/>
                <a:gd name="connsiteY106" fmla="*/ 9851 h 10000"/>
                <a:gd name="connsiteX107" fmla="*/ 4477 w 10000"/>
                <a:gd name="connsiteY107" fmla="*/ 9711 h 10000"/>
                <a:gd name="connsiteX108" fmla="*/ 4369 w 10000"/>
                <a:gd name="connsiteY108" fmla="*/ 9711 h 10000"/>
                <a:gd name="connsiteX109" fmla="*/ 4165 w 10000"/>
                <a:gd name="connsiteY109" fmla="*/ 9552 h 10000"/>
                <a:gd name="connsiteX110" fmla="*/ 4165 w 10000"/>
                <a:gd name="connsiteY110" fmla="*/ 9402 h 10000"/>
                <a:gd name="connsiteX111" fmla="*/ 4165 w 10000"/>
                <a:gd name="connsiteY111" fmla="*/ 9262 h 10000"/>
                <a:gd name="connsiteX112" fmla="*/ 4056 w 10000"/>
                <a:gd name="connsiteY112" fmla="*/ 9104 h 10000"/>
                <a:gd name="connsiteX113" fmla="*/ 3954 w 10000"/>
                <a:gd name="connsiteY113" fmla="*/ 9104 h 10000"/>
                <a:gd name="connsiteX114" fmla="*/ 4056 w 10000"/>
                <a:gd name="connsiteY114" fmla="*/ 8366 h 10000"/>
                <a:gd name="connsiteX115" fmla="*/ 3954 w 10000"/>
                <a:gd name="connsiteY115" fmla="*/ 8058 h 10000"/>
                <a:gd name="connsiteX116" fmla="*/ 3852 w 10000"/>
                <a:gd name="connsiteY116" fmla="*/ 8058 h 10000"/>
                <a:gd name="connsiteX117" fmla="*/ 3642 w 10000"/>
                <a:gd name="connsiteY117" fmla="*/ 7759 h 10000"/>
                <a:gd name="connsiteX118" fmla="*/ 3438 w 10000"/>
                <a:gd name="connsiteY118" fmla="*/ 7759 h 10000"/>
                <a:gd name="connsiteX119" fmla="*/ 2915 w 10000"/>
                <a:gd name="connsiteY119" fmla="*/ 8058 h 10000"/>
                <a:gd name="connsiteX120" fmla="*/ 2608 w 10000"/>
                <a:gd name="connsiteY120" fmla="*/ 8058 h 10000"/>
                <a:gd name="connsiteX121" fmla="*/ 2500 w 10000"/>
                <a:gd name="connsiteY121" fmla="*/ 8207 h 10000"/>
                <a:gd name="connsiteX122" fmla="*/ 2398 w 10000"/>
                <a:gd name="connsiteY122" fmla="*/ 8058 h 10000"/>
                <a:gd name="connsiteX123" fmla="*/ 2296 w 10000"/>
                <a:gd name="connsiteY123" fmla="*/ 8058 h 10000"/>
                <a:gd name="connsiteX124" fmla="*/ 1983 w 10000"/>
                <a:gd name="connsiteY124" fmla="*/ 8058 h 10000"/>
                <a:gd name="connsiteX125" fmla="*/ 1773 w 10000"/>
                <a:gd name="connsiteY125" fmla="*/ 7918 h 10000"/>
                <a:gd name="connsiteX126" fmla="*/ 1671 w 10000"/>
                <a:gd name="connsiteY126" fmla="*/ 7759 h 10000"/>
                <a:gd name="connsiteX127" fmla="*/ 1556 w 10000"/>
                <a:gd name="connsiteY127" fmla="*/ 7759 h 10000"/>
                <a:gd name="connsiteX128" fmla="*/ 1346 w 10000"/>
                <a:gd name="connsiteY128" fmla="*/ 7470 h 10000"/>
                <a:gd name="connsiteX129" fmla="*/ 1142 w 10000"/>
                <a:gd name="connsiteY129" fmla="*/ 7470 h 10000"/>
                <a:gd name="connsiteX130" fmla="*/ 829 w 10000"/>
                <a:gd name="connsiteY130" fmla="*/ 7311 h 10000"/>
                <a:gd name="connsiteX131" fmla="*/ 727 w 10000"/>
                <a:gd name="connsiteY131" fmla="*/ 6863 h 10000"/>
                <a:gd name="connsiteX132" fmla="*/ 931 w 10000"/>
                <a:gd name="connsiteY132" fmla="*/ 6863 h 10000"/>
                <a:gd name="connsiteX133" fmla="*/ 829 w 10000"/>
                <a:gd name="connsiteY133" fmla="*/ 6573 h 10000"/>
                <a:gd name="connsiteX134" fmla="*/ 1034 w 10000"/>
                <a:gd name="connsiteY134" fmla="*/ 6265 h 10000"/>
                <a:gd name="connsiteX135" fmla="*/ 1034 w 10000"/>
                <a:gd name="connsiteY135" fmla="*/ 5966 h 10000"/>
                <a:gd name="connsiteX136" fmla="*/ 931 w 10000"/>
                <a:gd name="connsiteY136" fmla="*/ 5817 h 10000"/>
                <a:gd name="connsiteX137" fmla="*/ 673 w 10000"/>
                <a:gd name="connsiteY137" fmla="*/ 5821 h 10000"/>
                <a:gd name="connsiteX138" fmla="*/ 302 w 10000"/>
                <a:gd name="connsiteY138" fmla="*/ 5541 h 10000"/>
                <a:gd name="connsiteX139" fmla="*/ 102 w 10000"/>
                <a:gd name="connsiteY139" fmla="*/ 5518 h 10000"/>
                <a:gd name="connsiteX140" fmla="*/ 216 w 10000"/>
                <a:gd name="connsiteY140" fmla="*/ 5243 h 10000"/>
                <a:gd name="connsiteX141" fmla="*/ 204 w 10000"/>
                <a:gd name="connsiteY141" fmla="*/ 5070 h 10000"/>
                <a:gd name="connsiteX142" fmla="*/ 0 w 10000"/>
                <a:gd name="connsiteY142" fmla="*/ 5070 h 10000"/>
                <a:gd name="connsiteX143" fmla="*/ 0 w 10000"/>
                <a:gd name="connsiteY143" fmla="*/ 4622 h 10000"/>
                <a:gd name="connsiteX144" fmla="*/ 204 w 10000"/>
                <a:gd name="connsiteY144" fmla="*/ 4482 h 10000"/>
                <a:gd name="connsiteX145" fmla="*/ 415 w 10000"/>
                <a:gd name="connsiteY145" fmla="*/ 4482 h 10000"/>
                <a:gd name="connsiteX146" fmla="*/ 517 w 10000"/>
                <a:gd name="connsiteY146" fmla="*/ 4332 h 10000"/>
                <a:gd name="connsiteX147" fmla="*/ 727 w 10000"/>
                <a:gd name="connsiteY147" fmla="*/ 4332 h 10000"/>
                <a:gd name="connsiteX148" fmla="*/ 1034 w 10000"/>
                <a:gd name="connsiteY148" fmla="*/ 4034 h 10000"/>
                <a:gd name="connsiteX149" fmla="*/ 1142 w 10000"/>
                <a:gd name="connsiteY149" fmla="*/ 3725 h 10000"/>
                <a:gd name="connsiteX150" fmla="*/ 1034 w 10000"/>
                <a:gd name="connsiteY150" fmla="*/ 3137 h 10000"/>
                <a:gd name="connsiteX151" fmla="*/ 1034 w 10000"/>
                <a:gd name="connsiteY151" fmla="*/ 2988 h 10000"/>
                <a:gd name="connsiteX152" fmla="*/ 1346 w 10000"/>
                <a:gd name="connsiteY152" fmla="*/ 2988 h 10000"/>
                <a:gd name="connsiteX153" fmla="*/ 1454 w 10000"/>
                <a:gd name="connsiteY153" fmla="*/ 2381 h 10000"/>
                <a:gd name="connsiteX154" fmla="*/ 1773 w 10000"/>
                <a:gd name="connsiteY154" fmla="*/ 2381 h 10000"/>
                <a:gd name="connsiteX155" fmla="*/ 1881 w 10000"/>
                <a:gd name="connsiteY155" fmla="*/ 2381 h 10000"/>
                <a:gd name="connsiteX156" fmla="*/ 1983 w 10000"/>
                <a:gd name="connsiteY156" fmla="*/ 1933 h 10000"/>
                <a:gd name="connsiteX157" fmla="*/ 2085 w 10000"/>
                <a:gd name="connsiteY157" fmla="*/ 1793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</a:cxnLst>
              <a:rect l="l" t="t" r="r" b="b"/>
              <a:pathLst>
                <a:path w="10000" h="10000">
                  <a:moveTo>
                    <a:pt x="2085" y="1793"/>
                  </a:moveTo>
                  <a:lnTo>
                    <a:pt x="2085" y="1793"/>
                  </a:lnTo>
                  <a:lnTo>
                    <a:pt x="2296" y="1643"/>
                  </a:lnTo>
                  <a:lnTo>
                    <a:pt x="2500" y="2092"/>
                  </a:lnTo>
                  <a:lnTo>
                    <a:pt x="2710" y="2092"/>
                  </a:lnTo>
                  <a:cubicBezTo>
                    <a:pt x="2744" y="2188"/>
                    <a:pt x="2779" y="2285"/>
                    <a:pt x="2813" y="2381"/>
                  </a:cubicBezTo>
                  <a:lnTo>
                    <a:pt x="2813" y="2988"/>
                  </a:lnTo>
                  <a:lnTo>
                    <a:pt x="3438" y="3277"/>
                  </a:lnTo>
                  <a:lnTo>
                    <a:pt x="3750" y="3725"/>
                  </a:lnTo>
                  <a:lnTo>
                    <a:pt x="4369" y="3725"/>
                  </a:lnTo>
                  <a:lnTo>
                    <a:pt x="4681" y="4034"/>
                  </a:lnTo>
                  <a:lnTo>
                    <a:pt x="5096" y="4174"/>
                  </a:lnTo>
                  <a:lnTo>
                    <a:pt x="5523" y="3884"/>
                  </a:lnTo>
                  <a:lnTo>
                    <a:pt x="5938" y="3884"/>
                  </a:lnTo>
                  <a:lnTo>
                    <a:pt x="6250" y="3436"/>
                  </a:lnTo>
                  <a:lnTo>
                    <a:pt x="6148" y="3277"/>
                  </a:lnTo>
                  <a:lnTo>
                    <a:pt x="6352" y="2988"/>
                  </a:lnTo>
                  <a:lnTo>
                    <a:pt x="6563" y="3137"/>
                  </a:lnTo>
                  <a:lnTo>
                    <a:pt x="6875" y="2829"/>
                  </a:lnTo>
                  <a:lnTo>
                    <a:pt x="7079" y="2540"/>
                  </a:lnTo>
                  <a:lnTo>
                    <a:pt x="7494" y="2540"/>
                  </a:lnTo>
                  <a:lnTo>
                    <a:pt x="7392" y="2241"/>
                  </a:lnTo>
                  <a:lnTo>
                    <a:pt x="7290" y="2092"/>
                  </a:lnTo>
                  <a:lnTo>
                    <a:pt x="7079" y="2241"/>
                  </a:lnTo>
                  <a:lnTo>
                    <a:pt x="6875" y="2241"/>
                  </a:lnTo>
                  <a:lnTo>
                    <a:pt x="6875" y="1643"/>
                  </a:lnTo>
                  <a:lnTo>
                    <a:pt x="6977" y="1345"/>
                  </a:lnTo>
                  <a:lnTo>
                    <a:pt x="7188" y="1485"/>
                  </a:lnTo>
                  <a:lnTo>
                    <a:pt x="7494" y="1345"/>
                  </a:lnTo>
                  <a:lnTo>
                    <a:pt x="7602" y="747"/>
                  </a:lnTo>
                  <a:lnTo>
                    <a:pt x="7704" y="588"/>
                  </a:lnTo>
                  <a:lnTo>
                    <a:pt x="7704" y="448"/>
                  </a:lnTo>
                  <a:lnTo>
                    <a:pt x="7602" y="448"/>
                  </a:lnTo>
                  <a:lnTo>
                    <a:pt x="7704" y="140"/>
                  </a:lnTo>
                  <a:lnTo>
                    <a:pt x="8119" y="0"/>
                  </a:lnTo>
                  <a:lnTo>
                    <a:pt x="8431" y="140"/>
                  </a:lnTo>
                  <a:cubicBezTo>
                    <a:pt x="8501" y="243"/>
                    <a:pt x="8572" y="345"/>
                    <a:pt x="8642" y="448"/>
                  </a:cubicBezTo>
                  <a:lnTo>
                    <a:pt x="8846" y="1485"/>
                  </a:lnTo>
                  <a:lnTo>
                    <a:pt x="9056" y="1485"/>
                  </a:lnTo>
                  <a:lnTo>
                    <a:pt x="9363" y="1793"/>
                  </a:lnTo>
                  <a:lnTo>
                    <a:pt x="9363" y="2092"/>
                  </a:lnTo>
                  <a:lnTo>
                    <a:pt x="9585" y="2092"/>
                  </a:lnTo>
                  <a:lnTo>
                    <a:pt x="10000" y="1933"/>
                  </a:lnTo>
                  <a:lnTo>
                    <a:pt x="10000" y="2241"/>
                  </a:lnTo>
                  <a:lnTo>
                    <a:pt x="9688" y="3137"/>
                  </a:lnTo>
                  <a:cubicBezTo>
                    <a:pt x="9654" y="3087"/>
                    <a:pt x="9619" y="3038"/>
                    <a:pt x="9585" y="2988"/>
                  </a:cubicBezTo>
                  <a:lnTo>
                    <a:pt x="9363" y="3137"/>
                  </a:lnTo>
                  <a:lnTo>
                    <a:pt x="9483" y="3585"/>
                  </a:lnTo>
                  <a:lnTo>
                    <a:pt x="9363" y="3884"/>
                  </a:lnTo>
                  <a:lnTo>
                    <a:pt x="9261" y="3884"/>
                  </a:lnTo>
                  <a:lnTo>
                    <a:pt x="9056" y="4034"/>
                  </a:lnTo>
                  <a:lnTo>
                    <a:pt x="8948" y="4034"/>
                  </a:lnTo>
                  <a:lnTo>
                    <a:pt x="8846" y="4174"/>
                  </a:lnTo>
                  <a:lnTo>
                    <a:pt x="8744" y="4174"/>
                  </a:lnTo>
                  <a:lnTo>
                    <a:pt x="8329" y="4622"/>
                  </a:lnTo>
                  <a:lnTo>
                    <a:pt x="8329" y="4781"/>
                  </a:lnTo>
                  <a:lnTo>
                    <a:pt x="8119" y="4781"/>
                  </a:lnTo>
                  <a:lnTo>
                    <a:pt x="7806" y="5070"/>
                  </a:lnTo>
                  <a:lnTo>
                    <a:pt x="7806" y="4930"/>
                  </a:lnTo>
                  <a:lnTo>
                    <a:pt x="7806" y="4781"/>
                  </a:lnTo>
                  <a:cubicBezTo>
                    <a:pt x="7842" y="4681"/>
                    <a:pt x="7879" y="4582"/>
                    <a:pt x="7915" y="4482"/>
                  </a:cubicBezTo>
                  <a:cubicBezTo>
                    <a:pt x="7879" y="4432"/>
                    <a:pt x="7842" y="4382"/>
                    <a:pt x="7806" y="4332"/>
                  </a:cubicBezTo>
                  <a:lnTo>
                    <a:pt x="7494" y="4781"/>
                  </a:lnTo>
                  <a:lnTo>
                    <a:pt x="7392" y="4930"/>
                  </a:lnTo>
                  <a:lnTo>
                    <a:pt x="7290" y="4930"/>
                  </a:lnTo>
                  <a:lnTo>
                    <a:pt x="7188" y="5070"/>
                  </a:lnTo>
                  <a:lnTo>
                    <a:pt x="7494" y="5518"/>
                  </a:lnTo>
                  <a:lnTo>
                    <a:pt x="7704" y="5369"/>
                  </a:lnTo>
                  <a:lnTo>
                    <a:pt x="8017" y="5518"/>
                  </a:lnTo>
                  <a:lnTo>
                    <a:pt x="8017" y="5677"/>
                  </a:lnTo>
                  <a:lnTo>
                    <a:pt x="7915" y="5518"/>
                  </a:lnTo>
                  <a:lnTo>
                    <a:pt x="7704" y="5677"/>
                  </a:lnTo>
                  <a:lnTo>
                    <a:pt x="7494" y="6125"/>
                  </a:lnTo>
                  <a:lnTo>
                    <a:pt x="7602" y="6265"/>
                  </a:lnTo>
                  <a:lnTo>
                    <a:pt x="7704" y="6863"/>
                  </a:lnTo>
                  <a:lnTo>
                    <a:pt x="7915" y="7021"/>
                  </a:lnTo>
                  <a:lnTo>
                    <a:pt x="7806" y="7021"/>
                  </a:lnTo>
                  <a:cubicBezTo>
                    <a:pt x="7842" y="7118"/>
                    <a:pt x="7879" y="7214"/>
                    <a:pt x="7915" y="7311"/>
                  </a:cubicBezTo>
                  <a:lnTo>
                    <a:pt x="7602" y="7470"/>
                  </a:lnTo>
                  <a:lnTo>
                    <a:pt x="7915" y="7470"/>
                  </a:lnTo>
                  <a:cubicBezTo>
                    <a:pt x="7879" y="7666"/>
                    <a:pt x="7842" y="7862"/>
                    <a:pt x="7806" y="8058"/>
                  </a:cubicBezTo>
                  <a:lnTo>
                    <a:pt x="7602" y="8366"/>
                  </a:lnTo>
                  <a:lnTo>
                    <a:pt x="7494" y="8366"/>
                  </a:lnTo>
                  <a:lnTo>
                    <a:pt x="7494" y="8655"/>
                  </a:lnTo>
                  <a:lnTo>
                    <a:pt x="7392" y="8954"/>
                  </a:lnTo>
                  <a:lnTo>
                    <a:pt x="7290" y="8954"/>
                  </a:lnTo>
                  <a:lnTo>
                    <a:pt x="7290" y="9104"/>
                  </a:lnTo>
                  <a:lnTo>
                    <a:pt x="6977" y="9402"/>
                  </a:lnTo>
                  <a:lnTo>
                    <a:pt x="6665" y="9402"/>
                  </a:lnTo>
                  <a:lnTo>
                    <a:pt x="6665" y="9552"/>
                  </a:lnTo>
                  <a:lnTo>
                    <a:pt x="6563" y="9402"/>
                  </a:lnTo>
                  <a:lnTo>
                    <a:pt x="6563" y="9552"/>
                  </a:lnTo>
                  <a:lnTo>
                    <a:pt x="6460" y="9552"/>
                  </a:lnTo>
                  <a:lnTo>
                    <a:pt x="6046" y="9851"/>
                  </a:lnTo>
                  <a:lnTo>
                    <a:pt x="5938" y="10000"/>
                  </a:lnTo>
                  <a:lnTo>
                    <a:pt x="5938" y="9711"/>
                  </a:lnTo>
                  <a:lnTo>
                    <a:pt x="5733" y="9711"/>
                  </a:lnTo>
                  <a:lnTo>
                    <a:pt x="5625" y="9711"/>
                  </a:lnTo>
                  <a:lnTo>
                    <a:pt x="5409" y="9711"/>
                  </a:lnTo>
                  <a:lnTo>
                    <a:pt x="5409" y="9402"/>
                  </a:lnTo>
                  <a:lnTo>
                    <a:pt x="5198" y="9402"/>
                  </a:lnTo>
                  <a:lnTo>
                    <a:pt x="4784" y="9552"/>
                  </a:lnTo>
                  <a:cubicBezTo>
                    <a:pt x="4750" y="9502"/>
                    <a:pt x="4715" y="9452"/>
                    <a:pt x="4681" y="9402"/>
                  </a:cubicBezTo>
                  <a:lnTo>
                    <a:pt x="4681" y="9552"/>
                  </a:lnTo>
                  <a:lnTo>
                    <a:pt x="4579" y="9552"/>
                  </a:lnTo>
                  <a:lnTo>
                    <a:pt x="4579" y="9851"/>
                  </a:lnTo>
                  <a:lnTo>
                    <a:pt x="4477" y="9851"/>
                  </a:lnTo>
                  <a:lnTo>
                    <a:pt x="4477" y="9711"/>
                  </a:lnTo>
                  <a:lnTo>
                    <a:pt x="4369" y="9711"/>
                  </a:lnTo>
                  <a:lnTo>
                    <a:pt x="4165" y="9552"/>
                  </a:lnTo>
                  <a:lnTo>
                    <a:pt x="4165" y="9402"/>
                  </a:lnTo>
                  <a:lnTo>
                    <a:pt x="4165" y="9262"/>
                  </a:lnTo>
                  <a:cubicBezTo>
                    <a:pt x="4129" y="9209"/>
                    <a:pt x="4092" y="9157"/>
                    <a:pt x="4056" y="9104"/>
                  </a:cubicBezTo>
                  <a:lnTo>
                    <a:pt x="3954" y="9104"/>
                  </a:lnTo>
                  <a:lnTo>
                    <a:pt x="4056" y="8366"/>
                  </a:lnTo>
                  <a:lnTo>
                    <a:pt x="3954" y="8058"/>
                  </a:lnTo>
                  <a:lnTo>
                    <a:pt x="3852" y="8058"/>
                  </a:lnTo>
                  <a:lnTo>
                    <a:pt x="3642" y="7759"/>
                  </a:lnTo>
                  <a:lnTo>
                    <a:pt x="3438" y="7759"/>
                  </a:lnTo>
                  <a:lnTo>
                    <a:pt x="2915" y="8058"/>
                  </a:lnTo>
                  <a:lnTo>
                    <a:pt x="2608" y="8058"/>
                  </a:lnTo>
                  <a:lnTo>
                    <a:pt x="2500" y="8207"/>
                  </a:lnTo>
                  <a:lnTo>
                    <a:pt x="2398" y="8058"/>
                  </a:lnTo>
                  <a:lnTo>
                    <a:pt x="2296" y="8058"/>
                  </a:lnTo>
                  <a:lnTo>
                    <a:pt x="1983" y="8058"/>
                  </a:lnTo>
                  <a:lnTo>
                    <a:pt x="1773" y="7918"/>
                  </a:lnTo>
                  <a:lnTo>
                    <a:pt x="1671" y="7759"/>
                  </a:lnTo>
                  <a:lnTo>
                    <a:pt x="1556" y="7759"/>
                  </a:lnTo>
                  <a:lnTo>
                    <a:pt x="1346" y="7470"/>
                  </a:lnTo>
                  <a:lnTo>
                    <a:pt x="1142" y="7470"/>
                  </a:lnTo>
                  <a:lnTo>
                    <a:pt x="829" y="7311"/>
                  </a:lnTo>
                  <a:lnTo>
                    <a:pt x="727" y="6863"/>
                  </a:lnTo>
                  <a:lnTo>
                    <a:pt x="931" y="6863"/>
                  </a:lnTo>
                  <a:lnTo>
                    <a:pt x="829" y="6573"/>
                  </a:lnTo>
                  <a:cubicBezTo>
                    <a:pt x="897" y="6470"/>
                    <a:pt x="966" y="6368"/>
                    <a:pt x="1034" y="6265"/>
                  </a:cubicBezTo>
                  <a:lnTo>
                    <a:pt x="1034" y="5966"/>
                  </a:lnTo>
                  <a:cubicBezTo>
                    <a:pt x="1000" y="5916"/>
                    <a:pt x="965" y="5867"/>
                    <a:pt x="931" y="5817"/>
                  </a:cubicBezTo>
                  <a:lnTo>
                    <a:pt x="673" y="5821"/>
                  </a:lnTo>
                  <a:cubicBezTo>
                    <a:pt x="615" y="5623"/>
                    <a:pt x="360" y="5739"/>
                    <a:pt x="302" y="5541"/>
                  </a:cubicBezTo>
                  <a:lnTo>
                    <a:pt x="102" y="5518"/>
                  </a:lnTo>
                  <a:lnTo>
                    <a:pt x="216" y="5243"/>
                  </a:lnTo>
                  <a:cubicBezTo>
                    <a:pt x="212" y="5185"/>
                    <a:pt x="208" y="5128"/>
                    <a:pt x="204" y="5070"/>
                  </a:cubicBezTo>
                  <a:lnTo>
                    <a:pt x="0" y="5070"/>
                  </a:lnTo>
                  <a:lnTo>
                    <a:pt x="0" y="4622"/>
                  </a:lnTo>
                  <a:lnTo>
                    <a:pt x="204" y="4482"/>
                  </a:lnTo>
                  <a:lnTo>
                    <a:pt x="415" y="4482"/>
                  </a:lnTo>
                  <a:lnTo>
                    <a:pt x="517" y="4332"/>
                  </a:lnTo>
                  <a:lnTo>
                    <a:pt x="727" y="4332"/>
                  </a:lnTo>
                  <a:lnTo>
                    <a:pt x="1034" y="4034"/>
                  </a:lnTo>
                  <a:lnTo>
                    <a:pt x="1142" y="3725"/>
                  </a:lnTo>
                  <a:lnTo>
                    <a:pt x="1034" y="3137"/>
                  </a:lnTo>
                  <a:lnTo>
                    <a:pt x="1034" y="2988"/>
                  </a:lnTo>
                  <a:lnTo>
                    <a:pt x="1346" y="2988"/>
                  </a:lnTo>
                  <a:lnTo>
                    <a:pt x="1454" y="2381"/>
                  </a:lnTo>
                  <a:lnTo>
                    <a:pt x="1773" y="2381"/>
                  </a:lnTo>
                  <a:lnTo>
                    <a:pt x="1881" y="2381"/>
                  </a:lnTo>
                  <a:lnTo>
                    <a:pt x="1983" y="1933"/>
                  </a:lnTo>
                  <a:lnTo>
                    <a:pt x="2085" y="1793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75" name="Freeform 170">
              <a:extLst>
                <a:ext uri="{FF2B5EF4-FFF2-40B4-BE49-F238E27FC236}">
                  <a16:creationId xmlns:a16="http://schemas.microsoft.com/office/drawing/2014/main" id="{16E64A9B-BCC0-D5A3-0CCF-AC2504E45600}"/>
                </a:ext>
              </a:extLst>
            </p:cNvPr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8422980" y="3755183"/>
              <a:ext cx="39386" cy="38326"/>
            </a:xfrm>
            <a:custGeom>
              <a:avLst/>
              <a:gdLst>
                <a:gd name="T0" fmla="*/ 0 w 52"/>
                <a:gd name="T1" fmla="*/ 9525 h 48"/>
                <a:gd name="T2" fmla="*/ 0 w 52"/>
                <a:gd name="T3" fmla="*/ 9525 h 48"/>
                <a:gd name="T4" fmla="*/ 10319 w 52"/>
                <a:gd name="T5" fmla="*/ 0 h 48"/>
                <a:gd name="T6" fmla="*/ 7144 w 52"/>
                <a:gd name="T7" fmla="*/ 3969 h 48"/>
                <a:gd name="T8" fmla="*/ 0 w 52"/>
                <a:gd name="T9" fmla="*/ 9525 h 4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2"/>
                <a:gd name="T16" fmla="*/ 0 h 48"/>
                <a:gd name="T17" fmla="*/ 52 w 52"/>
                <a:gd name="T18" fmla="*/ 48 h 4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2" h="48">
                  <a:moveTo>
                    <a:pt x="0" y="48"/>
                  </a:moveTo>
                  <a:lnTo>
                    <a:pt x="0" y="48"/>
                  </a:lnTo>
                  <a:lnTo>
                    <a:pt x="52" y="0"/>
                  </a:lnTo>
                  <a:lnTo>
                    <a:pt x="35" y="17"/>
                  </a:lnTo>
                  <a:lnTo>
                    <a:pt x="0" y="48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76" name="Freeform 168">
              <a:extLst>
                <a:ext uri="{FF2B5EF4-FFF2-40B4-BE49-F238E27FC236}">
                  <a16:creationId xmlns:a16="http://schemas.microsoft.com/office/drawing/2014/main" id="{CD5C5245-14F3-06BB-3008-29C280596A4D}"/>
                </a:ext>
              </a:extLst>
            </p:cNvPr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8224474" y="3461898"/>
              <a:ext cx="14179" cy="11664"/>
            </a:xfrm>
            <a:custGeom>
              <a:avLst/>
              <a:gdLst>
                <a:gd name="T0" fmla="*/ 0 w 18"/>
                <a:gd name="T1" fmla="*/ 0 h 15"/>
                <a:gd name="T2" fmla="*/ 0 w 18"/>
                <a:gd name="T3" fmla="*/ 0 h 15"/>
                <a:gd name="T4" fmla="*/ 3969 w 18"/>
                <a:gd name="T5" fmla="*/ 2223 h 15"/>
                <a:gd name="T6" fmla="*/ 3969 w 18"/>
                <a:gd name="T7" fmla="*/ 0 h 15"/>
                <a:gd name="T8" fmla="*/ 0 w 18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5"/>
                <a:gd name="T17" fmla="*/ 18 w 18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5">
                  <a:moveTo>
                    <a:pt x="0" y="0"/>
                  </a:moveTo>
                  <a:lnTo>
                    <a:pt x="0" y="0"/>
                  </a:lnTo>
                  <a:lnTo>
                    <a:pt x="18" y="15"/>
                  </a:lnTo>
                  <a:lnTo>
                    <a:pt x="18" y="0"/>
                  </a:lnTo>
                  <a:lnTo>
                    <a:pt x="0" y="0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77" name="Freeform 169">
              <a:extLst>
                <a:ext uri="{FF2B5EF4-FFF2-40B4-BE49-F238E27FC236}">
                  <a16:creationId xmlns:a16="http://schemas.microsoft.com/office/drawing/2014/main" id="{234C62E0-A69A-DEF4-6891-94992A130D4A}"/>
                </a:ext>
              </a:extLst>
            </p:cNvPr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7203585" y="3563548"/>
              <a:ext cx="655385" cy="306616"/>
            </a:xfrm>
            <a:custGeom>
              <a:avLst/>
              <a:gdLst>
                <a:gd name="T0" fmla="*/ 113637 w 867"/>
                <a:gd name="T1" fmla="*/ 19050 h 384"/>
                <a:gd name="T2" fmla="*/ 113637 w 867"/>
                <a:gd name="T3" fmla="*/ 19050 h 384"/>
                <a:gd name="T4" fmla="*/ 92976 w 867"/>
                <a:gd name="T5" fmla="*/ 9525 h 384"/>
                <a:gd name="T6" fmla="*/ 86619 w 867"/>
                <a:gd name="T7" fmla="*/ 13494 h 384"/>
                <a:gd name="T8" fmla="*/ 82645 w 867"/>
                <a:gd name="T9" fmla="*/ 13494 h 384"/>
                <a:gd name="T10" fmla="*/ 76288 w 867"/>
                <a:gd name="T11" fmla="*/ 3969 h 384"/>
                <a:gd name="T12" fmla="*/ 62779 w 867"/>
                <a:gd name="T13" fmla="*/ 0 h 384"/>
                <a:gd name="T14" fmla="*/ 55627 w 867"/>
                <a:gd name="T15" fmla="*/ 3969 h 384"/>
                <a:gd name="T16" fmla="*/ 55627 w 867"/>
                <a:gd name="T17" fmla="*/ 9525 h 384"/>
                <a:gd name="T18" fmla="*/ 55627 w 867"/>
                <a:gd name="T19" fmla="*/ 16669 h 384"/>
                <a:gd name="T20" fmla="*/ 41323 w 867"/>
                <a:gd name="T21" fmla="*/ 16669 h 384"/>
                <a:gd name="T22" fmla="*/ 34965 w 867"/>
                <a:gd name="T23" fmla="*/ 13494 h 384"/>
                <a:gd name="T24" fmla="*/ 20661 w 867"/>
                <a:gd name="T25" fmla="*/ 9525 h 384"/>
                <a:gd name="T26" fmla="*/ 3973 w 867"/>
                <a:gd name="T27" fmla="*/ 19050 h 384"/>
                <a:gd name="T28" fmla="*/ 0 w 867"/>
                <a:gd name="T29" fmla="*/ 22225 h 384"/>
                <a:gd name="T30" fmla="*/ 7152 w 867"/>
                <a:gd name="T31" fmla="*/ 32544 h 384"/>
                <a:gd name="T32" fmla="*/ 14304 w 867"/>
                <a:gd name="T33" fmla="*/ 32544 h 384"/>
                <a:gd name="T34" fmla="*/ 17483 w 867"/>
                <a:gd name="T35" fmla="*/ 38100 h 384"/>
                <a:gd name="T36" fmla="*/ 17483 w 867"/>
                <a:gd name="T37" fmla="*/ 51594 h 384"/>
                <a:gd name="T38" fmla="*/ 38144 w 867"/>
                <a:gd name="T39" fmla="*/ 57150 h 384"/>
                <a:gd name="T40" fmla="*/ 48475 w 867"/>
                <a:gd name="T41" fmla="*/ 66675 h 384"/>
                <a:gd name="T42" fmla="*/ 69136 w 867"/>
                <a:gd name="T43" fmla="*/ 66675 h 384"/>
                <a:gd name="T44" fmla="*/ 79467 w 867"/>
                <a:gd name="T45" fmla="*/ 73819 h 384"/>
                <a:gd name="T46" fmla="*/ 92976 w 867"/>
                <a:gd name="T47" fmla="*/ 76200 h 384"/>
                <a:gd name="T48" fmla="*/ 107280 w 867"/>
                <a:gd name="T49" fmla="*/ 70644 h 384"/>
                <a:gd name="T50" fmla="*/ 120789 w 867"/>
                <a:gd name="T51" fmla="*/ 70644 h 384"/>
                <a:gd name="T52" fmla="*/ 131120 w 867"/>
                <a:gd name="T53" fmla="*/ 61119 h 384"/>
                <a:gd name="T54" fmla="*/ 127941 w 867"/>
                <a:gd name="T55" fmla="*/ 57150 h 384"/>
                <a:gd name="T56" fmla="*/ 135093 w 867"/>
                <a:gd name="T57" fmla="*/ 51594 h 384"/>
                <a:gd name="T58" fmla="*/ 141450 w 867"/>
                <a:gd name="T59" fmla="*/ 54769 h 384"/>
                <a:gd name="T60" fmla="*/ 151781 w 867"/>
                <a:gd name="T61" fmla="*/ 47625 h 384"/>
                <a:gd name="T62" fmla="*/ 158933 w 867"/>
                <a:gd name="T63" fmla="*/ 41275 h 384"/>
                <a:gd name="T64" fmla="*/ 172442 w 867"/>
                <a:gd name="T65" fmla="*/ 41275 h 384"/>
                <a:gd name="T66" fmla="*/ 169264 w 867"/>
                <a:gd name="T67" fmla="*/ 35719 h 384"/>
                <a:gd name="T68" fmla="*/ 166085 w 867"/>
                <a:gd name="T69" fmla="*/ 32544 h 384"/>
                <a:gd name="T70" fmla="*/ 158933 w 867"/>
                <a:gd name="T71" fmla="*/ 35719 h 384"/>
                <a:gd name="T72" fmla="*/ 151781 w 867"/>
                <a:gd name="T73" fmla="*/ 35719 h 384"/>
                <a:gd name="T74" fmla="*/ 151781 w 867"/>
                <a:gd name="T75" fmla="*/ 22225 h 384"/>
                <a:gd name="T76" fmla="*/ 155754 w 867"/>
                <a:gd name="T77" fmla="*/ 16669 h 384"/>
                <a:gd name="T78" fmla="*/ 145424 w 867"/>
                <a:gd name="T79" fmla="*/ 13494 h 384"/>
                <a:gd name="T80" fmla="*/ 138272 w 867"/>
                <a:gd name="T81" fmla="*/ 19050 h 384"/>
                <a:gd name="T82" fmla="*/ 123968 w 867"/>
                <a:gd name="T83" fmla="*/ 22225 h 384"/>
                <a:gd name="T84" fmla="*/ 113637 w 867"/>
                <a:gd name="T85" fmla="*/ 19050 h 38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867"/>
                <a:gd name="T130" fmla="*/ 0 h 384"/>
                <a:gd name="T131" fmla="*/ 867 w 867"/>
                <a:gd name="T132" fmla="*/ 384 h 38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867" h="384">
                  <a:moveTo>
                    <a:pt x="572" y="96"/>
                  </a:moveTo>
                  <a:lnTo>
                    <a:pt x="572" y="96"/>
                  </a:lnTo>
                  <a:lnTo>
                    <a:pt x="468" y="48"/>
                  </a:lnTo>
                  <a:lnTo>
                    <a:pt x="434" y="65"/>
                  </a:lnTo>
                  <a:lnTo>
                    <a:pt x="416" y="65"/>
                  </a:lnTo>
                  <a:lnTo>
                    <a:pt x="382" y="17"/>
                  </a:lnTo>
                  <a:lnTo>
                    <a:pt x="313" y="0"/>
                  </a:lnTo>
                  <a:lnTo>
                    <a:pt x="278" y="17"/>
                  </a:lnTo>
                  <a:lnTo>
                    <a:pt x="278" y="48"/>
                  </a:lnTo>
                  <a:lnTo>
                    <a:pt x="278" y="81"/>
                  </a:lnTo>
                  <a:lnTo>
                    <a:pt x="207" y="81"/>
                  </a:lnTo>
                  <a:lnTo>
                    <a:pt x="173" y="65"/>
                  </a:lnTo>
                  <a:lnTo>
                    <a:pt x="103" y="48"/>
                  </a:lnTo>
                  <a:lnTo>
                    <a:pt x="17" y="96"/>
                  </a:lnTo>
                  <a:lnTo>
                    <a:pt x="0" y="113"/>
                  </a:lnTo>
                  <a:lnTo>
                    <a:pt x="34" y="161"/>
                  </a:lnTo>
                  <a:lnTo>
                    <a:pt x="69" y="161"/>
                  </a:lnTo>
                  <a:lnTo>
                    <a:pt x="86" y="192"/>
                  </a:lnTo>
                  <a:lnTo>
                    <a:pt x="86" y="257"/>
                  </a:lnTo>
                  <a:lnTo>
                    <a:pt x="190" y="288"/>
                  </a:lnTo>
                  <a:lnTo>
                    <a:pt x="244" y="336"/>
                  </a:lnTo>
                  <a:lnTo>
                    <a:pt x="347" y="336"/>
                  </a:lnTo>
                  <a:lnTo>
                    <a:pt x="399" y="369"/>
                  </a:lnTo>
                  <a:lnTo>
                    <a:pt x="468" y="384"/>
                  </a:lnTo>
                  <a:lnTo>
                    <a:pt x="537" y="353"/>
                  </a:lnTo>
                  <a:lnTo>
                    <a:pt x="606" y="353"/>
                  </a:lnTo>
                  <a:lnTo>
                    <a:pt x="660" y="305"/>
                  </a:lnTo>
                  <a:lnTo>
                    <a:pt x="641" y="288"/>
                  </a:lnTo>
                  <a:lnTo>
                    <a:pt x="677" y="257"/>
                  </a:lnTo>
                  <a:lnTo>
                    <a:pt x="712" y="273"/>
                  </a:lnTo>
                  <a:lnTo>
                    <a:pt x="764" y="240"/>
                  </a:lnTo>
                  <a:lnTo>
                    <a:pt x="798" y="209"/>
                  </a:lnTo>
                  <a:lnTo>
                    <a:pt x="867" y="209"/>
                  </a:lnTo>
                  <a:lnTo>
                    <a:pt x="850" y="177"/>
                  </a:lnTo>
                  <a:lnTo>
                    <a:pt x="833" y="161"/>
                  </a:lnTo>
                  <a:lnTo>
                    <a:pt x="798" y="177"/>
                  </a:lnTo>
                  <a:lnTo>
                    <a:pt x="764" y="177"/>
                  </a:lnTo>
                  <a:lnTo>
                    <a:pt x="764" y="113"/>
                  </a:lnTo>
                  <a:lnTo>
                    <a:pt x="781" y="81"/>
                  </a:lnTo>
                  <a:lnTo>
                    <a:pt x="729" y="65"/>
                  </a:lnTo>
                  <a:lnTo>
                    <a:pt x="695" y="96"/>
                  </a:lnTo>
                  <a:lnTo>
                    <a:pt x="624" y="113"/>
                  </a:lnTo>
                  <a:lnTo>
                    <a:pt x="572" y="96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78" name="Freeform 170">
              <a:extLst>
                <a:ext uri="{FF2B5EF4-FFF2-40B4-BE49-F238E27FC236}">
                  <a16:creationId xmlns:a16="http://schemas.microsoft.com/office/drawing/2014/main" id="{E5DCC2EA-3244-3453-B4E9-A287EF5DD23A}"/>
                </a:ext>
              </a:extLst>
            </p:cNvPr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7704577" y="2490391"/>
              <a:ext cx="23631" cy="38328"/>
            </a:xfrm>
            <a:custGeom>
              <a:avLst/>
              <a:gdLst>
                <a:gd name="T0" fmla="*/ 6158 w 33"/>
                <a:gd name="T1" fmla="*/ 9525 h 48"/>
                <a:gd name="T2" fmla="*/ 6158 w 33"/>
                <a:gd name="T3" fmla="*/ 9525 h 48"/>
                <a:gd name="T4" fmla="*/ 6158 w 33"/>
                <a:gd name="T5" fmla="*/ 3969 h 48"/>
                <a:gd name="T6" fmla="*/ 0 w 33"/>
                <a:gd name="T7" fmla="*/ 0 h 48"/>
                <a:gd name="T8" fmla="*/ 0 w 33"/>
                <a:gd name="T9" fmla="*/ 3969 h 48"/>
                <a:gd name="T10" fmla="*/ 6158 w 33"/>
                <a:gd name="T11" fmla="*/ 9525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3"/>
                <a:gd name="T19" fmla="*/ 0 h 48"/>
                <a:gd name="T20" fmla="*/ 33 w 33"/>
                <a:gd name="T21" fmla="*/ 48 h 4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3" h="48">
                  <a:moveTo>
                    <a:pt x="33" y="48"/>
                  </a:moveTo>
                  <a:lnTo>
                    <a:pt x="33" y="48"/>
                  </a:lnTo>
                  <a:lnTo>
                    <a:pt x="33" y="17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3" y="48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79" name="Freeform 171">
              <a:extLst>
                <a:ext uri="{FF2B5EF4-FFF2-40B4-BE49-F238E27FC236}">
                  <a16:creationId xmlns:a16="http://schemas.microsoft.com/office/drawing/2014/main" id="{692C0265-B09F-58CE-4E54-8B500A62186D}"/>
                </a:ext>
              </a:extLst>
            </p:cNvPr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5947954" y="2222102"/>
              <a:ext cx="3376180" cy="1648062"/>
            </a:xfrm>
            <a:custGeom>
              <a:avLst/>
              <a:gdLst>
                <a:gd name="T0" fmla="*/ 436660 w 4469"/>
                <a:gd name="T1" fmla="*/ 82510 h 2063"/>
                <a:gd name="T2" fmla="*/ 436660 w 4469"/>
                <a:gd name="T3" fmla="*/ 15867 h 2063"/>
                <a:gd name="T4" fmla="*/ 361237 w 4469"/>
                <a:gd name="T5" fmla="*/ 34908 h 2063"/>
                <a:gd name="T6" fmla="*/ 296135 w 4469"/>
                <a:gd name="T7" fmla="*/ 117418 h 2063"/>
                <a:gd name="T8" fmla="*/ 261996 w 4469"/>
                <a:gd name="T9" fmla="*/ 104724 h 2063"/>
                <a:gd name="T10" fmla="*/ 261996 w 4469"/>
                <a:gd name="T11" fmla="*/ 174540 h 2063"/>
                <a:gd name="T12" fmla="*/ 244530 w 4469"/>
                <a:gd name="T13" fmla="*/ 117418 h 2063"/>
                <a:gd name="T14" fmla="*/ 217536 w 4469"/>
                <a:gd name="T15" fmla="*/ 145979 h 2063"/>
                <a:gd name="T16" fmla="*/ 179428 w 4469"/>
                <a:gd name="T17" fmla="*/ 158673 h 2063"/>
                <a:gd name="T18" fmla="*/ 113532 w 4469"/>
                <a:gd name="T19" fmla="*/ 180887 h 2063"/>
                <a:gd name="T20" fmla="*/ 93683 w 4469"/>
                <a:gd name="T21" fmla="*/ 180887 h 2063"/>
                <a:gd name="T22" fmla="*/ 52399 w 4469"/>
                <a:gd name="T23" fmla="*/ 209448 h 2063"/>
                <a:gd name="T24" fmla="*/ 34933 w 4469"/>
                <a:gd name="T25" fmla="*/ 184061 h 2063"/>
                <a:gd name="T26" fmla="*/ 27787 w 4469"/>
                <a:gd name="T27" fmla="*/ 142806 h 2063"/>
                <a:gd name="T28" fmla="*/ 14291 w 4469"/>
                <a:gd name="T29" fmla="*/ 180887 h 2063"/>
                <a:gd name="T30" fmla="*/ 14291 w 4469"/>
                <a:gd name="T31" fmla="*/ 246737 h 2063"/>
                <a:gd name="T32" fmla="*/ 3970 w 4469"/>
                <a:gd name="T33" fmla="*/ 279265 h 2063"/>
                <a:gd name="T34" fmla="*/ 21436 w 4469"/>
                <a:gd name="T35" fmla="*/ 307826 h 2063"/>
                <a:gd name="T36" fmla="*/ 38109 w 4469"/>
                <a:gd name="T37" fmla="*/ 330040 h 2063"/>
                <a:gd name="T38" fmla="*/ 55575 w 4469"/>
                <a:gd name="T39" fmla="*/ 341940 h 2063"/>
                <a:gd name="T40" fmla="*/ 69072 w 4469"/>
                <a:gd name="T41" fmla="*/ 370502 h 2063"/>
                <a:gd name="T42" fmla="*/ 86538 w 4469"/>
                <a:gd name="T43" fmla="*/ 396683 h 2063"/>
                <a:gd name="T44" fmla="*/ 110356 w 4469"/>
                <a:gd name="T45" fmla="*/ 399063 h 2063"/>
                <a:gd name="T46" fmla="*/ 117501 w 4469"/>
                <a:gd name="T47" fmla="*/ 374468 h 2063"/>
                <a:gd name="T48" fmla="*/ 120677 w 4469"/>
                <a:gd name="T49" fmla="*/ 349081 h 2063"/>
                <a:gd name="T50" fmla="*/ 161961 w 4469"/>
                <a:gd name="T51" fmla="*/ 339560 h 2063"/>
                <a:gd name="T52" fmla="*/ 182603 w 4469"/>
                <a:gd name="T53" fmla="*/ 326867 h 2063"/>
                <a:gd name="T54" fmla="*/ 237384 w 4469"/>
                <a:gd name="T55" fmla="*/ 303859 h 2063"/>
                <a:gd name="T56" fmla="*/ 265172 w 4469"/>
                <a:gd name="T57" fmla="*/ 313379 h 2063"/>
                <a:gd name="T58" fmla="*/ 316777 w 4469"/>
                <a:gd name="T59" fmla="*/ 349081 h 2063"/>
                <a:gd name="T60" fmla="*/ 350916 w 4469"/>
                <a:gd name="T61" fmla="*/ 341940 h 2063"/>
                <a:gd name="T62" fmla="*/ 406491 w 4469"/>
                <a:gd name="T63" fmla="*/ 336387 h 2063"/>
                <a:gd name="T64" fmla="*/ 474769 w 4469"/>
                <a:gd name="T65" fmla="*/ 345907 h 2063"/>
                <a:gd name="T66" fmla="*/ 505732 w 4469"/>
                <a:gd name="T67" fmla="*/ 330040 h 2063"/>
                <a:gd name="T68" fmla="*/ 564483 w 4469"/>
                <a:gd name="T69" fmla="*/ 358601 h 2063"/>
                <a:gd name="T70" fmla="*/ 564483 w 4469"/>
                <a:gd name="T71" fmla="*/ 387162 h 2063"/>
                <a:gd name="T72" fmla="*/ 585125 w 4469"/>
                <a:gd name="T73" fmla="*/ 396683 h 2063"/>
                <a:gd name="T74" fmla="*/ 605767 w 4469"/>
                <a:gd name="T75" fmla="*/ 320520 h 2063"/>
                <a:gd name="T76" fmla="*/ 598621 w 4469"/>
                <a:gd name="T77" fmla="*/ 298305 h 2063"/>
                <a:gd name="T78" fmla="*/ 674045 w 4469"/>
                <a:gd name="T79" fmla="*/ 265777 h 2063"/>
                <a:gd name="T80" fmla="*/ 722474 w 4469"/>
                <a:gd name="T81" fmla="*/ 241183 h 2063"/>
                <a:gd name="T82" fmla="*/ 739941 w 4469"/>
                <a:gd name="T83" fmla="*/ 253877 h 2063"/>
                <a:gd name="T84" fmla="*/ 719298 w 4469"/>
                <a:gd name="T85" fmla="*/ 322900 h 2063"/>
                <a:gd name="T86" fmla="*/ 739941 w 4469"/>
                <a:gd name="T87" fmla="*/ 298305 h 2063"/>
                <a:gd name="T88" fmla="*/ 739941 w 4469"/>
                <a:gd name="T89" fmla="*/ 269744 h 2063"/>
                <a:gd name="T90" fmla="*/ 778049 w 4469"/>
                <a:gd name="T91" fmla="*/ 263397 h 2063"/>
                <a:gd name="T92" fmla="*/ 818540 w 4469"/>
                <a:gd name="T93" fmla="*/ 209448 h 2063"/>
                <a:gd name="T94" fmla="*/ 846327 w 4469"/>
                <a:gd name="T95" fmla="*/ 199928 h 2063"/>
                <a:gd name="T96" fmla="*/ 877290 w 4469"/>
                <a:gd name="T97" fmla="*/ 184061 h 2063"/>
                <a:gd name="T98" fmla="*/ 767728 w 4469"/>
                <a:gd name="T99" fmla="*/ 152326 h 2063"/>
                <a:gd name="T100" fmla="*/ 725650 w 4469"/>
                <a:gd name="T101" fmla="*/ 145979 h 2063"/>
                <a:gd name="T102" fmla="*/ 670869 w 4469"/>
                <a:gd name="T103" fmla="*/ 120592 h 2063"/>
                <a:gd name="T104" fmla="*/ 595446 w 4469"/>
                <a:gd name="T105" fmla="*/ 117418 h 2063"/>
                <a:gd name="T106" fmla="*/ 557337 w 4469"/>
                <a:gd name="T107" fmla="*/ 98377 h 2063"/>
                <a:gd name="T108" fmla="*/ 499381 w 4469"/>
                <a:gd name="T109" fmla="*/ 82510 h 206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469"/>
                <a:gd name="T166" fmla="*/ 0 h 2063"/>
                <a:gd name="T167" fmla="*/ 4469 w 4469"/>
                <a:gd name="T168" fmla="*/ 2063 h 206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469" h="2063">
                  <a:moveTo>
                    <a:pt x="2269" y="384"/>
                  </a:moveTo>
                  <a:lnTo>
                    <a:pt x="2269" y="384"/>
                  </a:lnTo>
                  <a:lnTo>
                    <a:pt x="2252" y="401"/>
                  </a:lnTo>
                  <a:lnTo>
                    <a:pt x="2269" y="432"/>
                  </a:lnTo>
                  <a:lnTo>
                    <a:pt x="2200" y="465"/>
                  </a:lnTo>
                  <a:lnTo>
                    <a:pt x="2183" y="465"/>
                  </a:lnTo>
                  <a:lnTo>
                    <a:pt x="2200" y="417"/>
                  </a:lnTo>
                  <a:lnTo>
                    <a:pt x="2375" y="273"/>
                  </a:lnTo>
                  <a:lnTo>
                    <a:pt x="2375" y="177"/>
                  </a:lnTo>
                  <a:lnTo>
                    <a:pt x="2304" y="113"/>
                  </a:lnTo>
                  <a:lnTo>
                    <a:pt x="2218" y="113"/>
                  </a:lnTo>
                  <a:lnTo>
                    <a:pt x="2218" y="144"/>
                  </a:lnTo>
                  <a:lnTo>
                    <a:pt x="2166" y="144"/>
                  </a:lnTo>
                  <a:lnTo>
                    <a:pt x="2200" y="81"/>
                  </a:lnTo>
                  <a:lnTo>
                    <a:pt x="2114" y="65"/>
                  </a:lnTo>
                  <a:lnTo>
                    <a:pt x="2166" y="33"/>
                  </a:lnTo>
                  <a:lnTo>
                    <a:pt x="2114" y="0"/>
                  </a:lnTo>
                  <a:lnTo>
                    <a:pt x="2028" y="81"/>
                  </a:lnTo>
                  <a:lnTo>
                    <a:pt x="2028" y="144"/>
                  </a:lnTo>
                  <a:lnTo>
                    <a:pt x="1976" y="144"/>
                  </a:lnTo>
                  <a:lnTo>
                    <a:pt x="1820" y="177"/>
                  </a:lnTo>
                  <a:lnTo>
                    <a:pt x="1682" y="257"/>
                  </a:lnTo>
                  <a:lnTo>
                    <a:pt x="1630" y="321"/>
                  </a:lnTo>
                  <a:lnTo>
                    <a:pt x="1647" y="401"/>
                  </a:lnTo>
                  <a:lnTo>
                    <a:pt x="1455" y="432"/>
                  </a:lnTo>
                  <a:lnTo>
                    <a:pt x="1473" y="528"/>
                  </a:lnTo>
                  <a:lnTo>
                    <a:pt x="1525" y="576"/>
                  </a:lnTo>
                  <a:lnTo>
                    <a:pt x="1490" y="593"/>
                  </a:lnTo>
                  <a:lnTo>
                    <a:pt x="1438" y="528"/>
                  </a:lnTo>
                  <a:lnTo>
                    <a:pt x="1386" y="512"/>
                  </a:lnTo>
                  <a:lnTo>
                    <a:pt x="1369" y="528"/>
                  </a:lnTo>
                  <a:lnTo>
                    <a:pt x="1334" y="497"/>
                  </a:lnTo>
                  <a:lnTo>
                    <a:pt x="1300" y="465"/>
                  </a:lnTo>
                  <a:lnTo>
                    <a:pt x="1300" y="480"/>
                  </a:lnTo>
                  <a:lnTo>
                    <a:pt x="1317" y="528"/>
                  </a:lnTo>
                  <a:lnTo>
                    <a:pt x="1265" y="608"/>
                  </a:lnTo>
                  <a:lnTo>
                    <a:pt x="1300" y="672"/>
                  </a:lnTo>
                  <a:lnTo>
                    <a:pt x="1283" y="737"/>
                  </a:lnTo>
                  <a:lnTo>
                    <a:pt x="1283" y="785"/>
                  </a:lnTo>
                  <a:lnTo>
                    <a:pt x="1334" y="785"/>
                  </a:lnTo>
                  <a:lnTo>
                    <a:pt x="1300" y="800"/>
                  </a:lnTo>
                  <a:lnTo>
                    <a:pt x="1317" y="881"/>
                  </a:lnTo>
                  <a:lnTo>
                    <a:pt x="1214" y="960"/>
                  </a:lnTo>
                  <a:lnTo>
                    <a:pt x="1196" y="944"/>
                  </a:lnTo>
                  <a:lnTo>
                    <a:pt x="1265" y="864"/>
                  </a:lnTo>
                  <a:lnTo>
                    <a:pt x="1283" y="816"/>
                  </a:lnTo>
                  <a:lnTo>
                    <a:pt x="1248" y="785"/>
                  </a:lnTo>
                  <a:lnTo>
                    <a:pt x="1248" y="624"/>
                  </a:lnTo>
                  <a:lnTo>
                    <a:pt x="1231" y="593"/>
                  </a:lnTo>
                  <a:lnTo>
                    <a:pt x="1248" y="497"/>
                  </a:lnTo>
                  <a:lnTo>
                    <a:pt x="1214" y="480"/>
                  </a:lnTo>
                  <a:lnTo>
                    <a:pt x="1231" y="465"/>
                  </a:lnTo>
                  <a:lnTo>
                    <a:pt x="1214" y="432"/>
                  </a:lnTo>
                  <a:lnTo>
                    <a:pt x="1179" y="449"/>
                  </a:lnTo>
                  <a:lnTo>
                    <a:pt x="1093" y="656"/>
                  </a:lnTo>
                  <a:lnTo>
                    <a:pt x="1093" y="737"/>
                  </a:lnTo>
                  <a:lnTo>
                    <a:pt x="1144" y="800"/>
                  </a:lnTo>
                  <a:lnTo>
                    <a:pt x="1144" y="833"/>
                  </a:lnTo>
                  <a:lnTo>
                    <a:pt x="1093" y="800"/>
                  </a:lnTo>
                  <a:lnTo>
                    <a:pt x="885" y="672"/>
                  </a:lnTo>
                  <a:lnTo>
                    <a:pt x="868" y="704"/>
                  </a:lnTo>
                  <a:lnTo>
                    <a:pt x="937" y="785"/>
                  </a:lnTo>
                  <a:lnTo>
                    <a:pt x="903" y="800"/>
                  </a:lnTo>
                  <a:lnTo>
                    <a:pt x="885" y="785"/>
                  </a:lnTo>
                  <a:lnTo>
                    <a:pt x="780" y="816"/>
                  </a:lnTo>
                  <a:lnTo>
                    <a:pt x="762" y="848"/>
                  </a:lnTo>
                  <a:lnTo>
                    <a:pt x="745" y="816"/>
                  </a:lnTo>
                  <a:lnTo>
                    <a:pt x="745" y="785"/>
                  </a:lnTo>
                  <a:lnTo>
                    <a:pt x="572" y="881"/>
                  </a:lnTo>
                  <a:lnTo>
                    <a:pt x="572" y="912"/>
                  </a:lnTo>
                  <a:lnTo>
                    <a:pt x="538" y="929"/>
                  </a:lnTo>
                  <a:lnTo>
                    <a:pt x="486" y="896"/>
                  </a:lnTo>
                  <a:lnTo>
                    <a:pt x="538" y="864"/>
                  </a:lnTo>
                  <a:lnTo>
                    <a:pt x="521" y="816"/>
                  </a:lnTo>
                  <a:lnTo>
                    <a:pt x="451" y="800"/>
                  </a:lnTo>
                  <a:lnTo>
                    <a:pt x="469" y="833"/>
                  </a:lnTo>
                  <a:lnTo>
                    <a:pt x="469" y="912"/>
                  </a:lnTo>
                  <a:lnTo>
                    <a:pt x="486" y="944"/>
                  </a:lnTo>
                  <a:lnTo>
                    <a:pt x="469" y="977"/>
                  </a:lnTo>
                  <a:lnTo>
                    <a:pt x="417" y="960"/>
                  </a:lnTo>
                  <a:lnTo>
                    <a:pt x="348" y="1008"/>
                  </a:lnTo>
                  <a:lnTo>
                    <a:pt x="382" y="1073"/>
                  </a:lnTo>
                  <a:lnTo>
                    <a:pt x="279" y="1040"/>
                  </a:lnTo>
                  <a:lnTo>
                    <a:pt x="261" y="1056"/>
                  </a:lnTo>
                  <a:lnTo>
                    <a:pt x="296" y="1103"/>
                  </a:lnTo>
                  <a:lnTo>
                    <a:pt x="261" y="1103"/>
                  </a:lnTo>
                  <a:lnTo>
                    <a:pt x="210" y="1073"/>
                  </a:lnTo>
                  <a:lnTo>
                    <a:pt x="210" y="977"/>
                  </a:lnTo>
                  <a:lnTo>
                    <a:pt x="158" y="944"/>
                  </a:lnTo>
                  <a:lnTo>
                    <a:pt x="140" y="912"/>
                  </a:lnTo>
                  <a:lnTo>
                    <a:pt x="175" y="929"/>
                  </a:lnTo>
                  <a:lnTo>
                    <a:pt x="313" y="977"/>
                  </a:lnTo>
                  <a:lnTo>
                    <a:pt x="400" y="929"/>
                  </a:lnTo>
                  <a:lnTo>
                    <a:pt x="382" y="881"/>
                  </a:lnTo>
                  <a:lnTo>
                    <a:pt x="279" y="785"/>
                  </a:lnTo>
                  <a:lnTo>
                    <a:pt x="175" y="752"/>
                  </a:lnTo>
                  <a:lnTo>
                    <a:pt x="175" y="737"/>
                  </a:lnTo>
                  <a:lnTo>
                    <a:pt x="140" y="720"/>
                  </a:lnTo>
                  <a:lnTo>
                    <a:pt x="106" y="737"/>
                  </a:lnTo>
                  <a:lnTo>
                    <a:pt x="106" y="752"/>
                  </a:lnTo>
                  <a:lnTo>
                    <a:pt x="87" y="752"/>
                  </a:lnTo>
                  <a:lnTo>
                    <a:pt x="52" y="785"/>
                  </a:lnTo>
                  <a:lnTo>
                    <a:pt x="52" y="833"/>
                  </a:lnTo>
                  <a:lnTo>
                    <a:pt x="87" y="864"/>
                  </a:lnTo>
                  <a:lnTo>
                    <a:pt x="69" y="912"/>
                  </a:lnTo>
                  <a:lnTo>
                    <a:pt x="87" y="992"/>
                  </a:lnTo>
                  <a:lnTo>
                    <a:pt x="69" y="1040"/>
                  </a:lnTo>
                  <a:lnTo>
                    <a:pt x="106" y="1088"/>
                  </a:lnTo>
                  <a:lnTo>
                    <a:pt x="87" y="1121"/>
                  </a:lnTo>
                  <a:lnTo>
                    <a:pt x="123" y="1151"/>
                  </a:lnTo>
                  <a:lnTo>
                    <a:pt x="123" y="1169"/>
                  </a:lnTo>
                  <a:lnTo>
                    <a:pt x="69" y="1247"/>
                  </a:lnTo>
                  <a:lnTo>
                    <a:pt x="18" y="1280"/>
                  </a:lnTo>
                  <a:lnTo>
                    <a:pt x="35" y="1280"/>
                  </a:lnTo>
                  <a:lnTo>
                    <a:pt x="69" y="1313"/>
                  </a:lnTo>
                  <a:lnTo>
                    <a:pt x="35" y="1343"/>
                  </a:lnTo>
                  <a:lnTo>
                    <a:pt x="18" y="1361"/>
                  </a:lnTo>
                  <a:lnTo>
                    <a:pt x="0" y="1361"/>
                  </a:lnTo>
                  <a:lnTo>
                    <a:pt x="18" y="1409"/>
                  </a:lnTo>
                  <a:lnTo>
                    <a:pt x="18" y="1424"/>
                  </a:lnTo>
                  <a:lnTo>
                    <a:pt x="18" y="1439"/>
                  </a:lnTo>
                  <a:lnTo>
                    <a:pt x="18" y="1457"/>
                  </a:lnTo>
                  <a:lnTo>
                    <a:pt x="35" y="1487"/>
                  </a:lnTo>
                  <a:lnTo>
                    <a:pt x="87" y="1505"/>
                  </a:lnTo>
                  <a:lnTo>
                    <a:pt x="106" y="1520"/>
                  </a:lnTo>
                  <a:lnTo>
                    <a:pt x="106" y="1553"/>
                  </a:lnTo>
                  <a:lnTo>
                    <a:pt x="140" y="1600"/>
                  </a:lnTo>
                  <a:lnTo>
                    <a:pt x="158" y="1600"/>
                  </a:lnTo>
                  <a:lnTo>
                    <a:pt x="140" y="1631"/>
                  </a:lnTo>
                  <a:lnTo>
                    <a:pt x="123" y="1616"/>
                  </a:lnTo>
                  <a:lnTo>
                    <a:pt x="123" y="1631"/>
                  </a:lnTo>
                  <a:lnTo>
                    <a:pt x="140" y="1664"/>
                  </a:lnTo>
                  <a:lnTo>
                    <a:pt x="192" y="1664"/>
                  </a:lnTo>
                  <a:lnTo>
                    <a:pt x="210" y="1679"/>
                  </a:lnTo>
                  <a:lnTo>
                    <a:pt x="192" y="1679"/>
                  </a:lnTo>
                  <a:lnTo>
                    <a:pt x="210" y="1696"/>
                  </a:lnTo>
                  <a:lnTo>
                    <a:pt x="227" y="1696"/>
                  </a:lnTo>
                  <a:lnTo>
                    <a:pt x="244" y="1727"/>
                  </a:lnTo>
                  <a:lnTo>
                    <a:pt x="261" y="1744"/>
                  </a:lnTo>
                  <a:lnTo>
                    <a:pt x="279" y="1727"/>
                  </a:lnTo>
                  <a:lnTo>
                    <a:pt x="365" y="1775"/>
                  </a:lnTo>
                  <a:lnTo>
                    <a:pt x="348" y="1840"/>
                  </a:lnTo>
                  <a:lnTo>
                    <a:pt x="330" y="1823"/>
                  </a:lnTo>
                  <a:lnTo>
                    <a:pt x="313" y="1840"/>
                  </a:lnTo>
                  <a:lnTo>
                    <a:pt x="313" y="1871"/>
                  </a:lnTo>
                  <a:lnTo>
                    <a:pt x="330" y="1856"/>
                  </a:lnTo>
                  <a:lnTo>
                    <a:pt x="348" y="1871"/>
                  </a:lnTo>
                  <a:lnTo>
                    <a:pt x="296" y="1888"/>
                  </a:lnTo>
                  <a:lnTo>
                    <a:pt x="313" y="1904"/>
                  </a:lnTo>
                  <a:lnTo>
                    <a:pt x="279" y="1936"/>
                  </a:lnTo>
                  <a:lnTo>
                    <a:pt x="261" y="1936"/>
                  </a:lnTo>
                  <a:lnTo>
                    <a:pt x="279" y="1936"/>
                  </a:lnTo>
                  <a:lnTo>
                    <a:pt x="348" y="2000"/>
                  </a:lnTo>
                  <a:lnTo>
                    <a:pt x="434" y="2000"/>
                  </a:lnTo>
                  <a:lnTo>
                    <a:pt x="469" y="2015"/>
                  </a:lnTo>
                  <a:lnTo>
                    <a:pt x="503" y="2015"/>
                  </a:lnTo>
                  <a:lnTo>
                    <a:pt x="538" y="2048"/>
                  </a:lnTo>
                  <a:lnTo>
                    <a:pt x="555" y="2063"/>
                  </a:lnTo>
                  <a:lnTo>
                    <a:pt x="572" y="2063"/>
                  </a:lnTo>
                  <a:lnTo>
                    <a:pt x="590" y="2048"/>
                  </a:lnTo>
                  <a:lnTo>
                    <a:pt x="555" y="2015"/>
                  </a:lnTo>
                  <a:lnTo>
                    <a:pt x="555" y="1984"/>
                  </a:lnTo>
                  <a:lnTo>
                    <a:pt x="538" y="1952"/>
                  </a:lnTo>
                  <a:lnTo>
                    <a:pt x="572" y="1904"/>
                  </a:lnTo>
                  <a:lnTo>
                    <a:pt x="590" y="1919"/>
                  </a:lnTo>
                  <a:lnTo>
                    <a:pt x="607" y="1904"/>
                  </a:lnTo>
                  <a:lnTo>
                    <a:pt x="607" y="1888"/>
                  </a:lnTo>
                  <a:lnTo>
                    <a:pt x="590" y="1888"/>
                  </a:lnTo>
                  <a:lnTo>
                    <a:pt x="607" y="1871"/>
                  </a:lnTo>
                  <a:lnTo>
                    <a:pt x="590" y="1840"/>
                  </a:lnTo>
                  <a:lnTo>
                    <a:pt x="555" y="1840"/>
                  </a:lnTo>
                  <a:lnTo>
                    <a:pt x="538" y="1808"/>
                  </a:lnTo>
                  <a:lnTo>
                    <a:pt x="555" y="1727"/>
                  </a:lnTo>
                  <a:lnTo>
                    <a:pt x="590" y="1760"/>
                  </a:lnTo>
                  <a:lnTo>
                    <a:pt x="607" y="1760"/>
                  </a:lnTo>
                  <a:lnTo>
                    <a:pt x="590" y="1727"/>
                  </a:lnTo>
                  <a:lnTo>
                    <a:pt x="641" y="1679"/>
                  </a:lnTo>
                  <a:lnTo>
                    <a:pt x="676" y="1696"/>
                  </a:lnTo>
                  <a:lnTo>
                    <a:pt x="693" y="1679"/>
                  </a:lnTo>
                  <a:lnTo>
                    <a:pt x="728" y="1696"/>
                  </a:lnTo>
                  <a:lnTo>
                    <a:pt x="780" y="1727"/>
                  </a:lnTo>
                  <a:lnTo>
                    <a:pt x="814" y="1712"/>
                  </a:lnTo>
                  <a:lnTo>
                    <a:pt x="851" y="1712"/>
                  </a:lnTo>
                  <a:lnTo>
                    <a:pt x="868" y="1727"/>
                  </a:lnTo>
                  <a:lnTo>
                    <a:pt x="937" y="1727"/>
                  </a:lnTo>
                  <a:lnTo>
                    <a:pt x="954" y="1696"/>
                  </a:lnTo>
                  <a:lnTo>
                    <a:pt x="903" y="1679"/>
                  </a:lnTo>
                  <a:lnTo>
                    <a:pt x="937" y="1664"/>
                  </a:lnTo>
                  <a:lnTo>
                    <a:pt x="920" y="1648"/>
                  </a:lnTo>
                  <a:lnTo>
                    <a:pt x="937" y="1631"/>
                  </a:lnTo>
                  <a:lnTo>
                    <a:pt x="937" y="1583"/>
                  </a:lnTo>
                  <a:lnTo>
                    <a:pt x="972" y="1600"/>
                  </a:lnTo>
                  <a:lnTo>
                    <a:pt x="1127" y="1553"/>
                  </a:lnTo>
                  <a:lnTo>
                    <a:pt x="1127" y="1535"/>
                  </a:lnTo>
                  <a:lnTo>
                    <a:pt x="1144" y="1535"/>
                  </a:lnTo>
                  <a:lnTo>
                    <a:pt x="1196" y="1535"/>
                  </a:lnTo>
                  <a:lnTo>
                    <a:pt x="1214" y="1568"/>
                  </a:lnTo>
                  <a:lnTo>
                    <a:pt x="1214" y="1583"/>
                  </a:lnTo>
                  <a:lnTo>
                    <a:pt x="1231" y="1583"/>
                  </a:lnTo>
                  <a:lnTo>
                    <a:pt x="1265" y="1600"/>
                  </a:lnTo>
                  <a:lnTo>
                    <a:pt x="1265" y="1616"/>
                  </a:lnTo>
                  <a:lnTo>
                    <a:pt x="1300" y="1616"/>
                  </a:lnTo>
                  <a:lnTo>
                    <a:pt x="1334" y="1583"/>
                  </a:lnTo>
                  <a:lnTo>
                    <a:pt x="1369" y="1568"/>
                  </a:lnTo>
                  <a:lnTo>
                    <a:pt x="1386" y="1616"/>
                  </a:lnTo>
                  <a:lnTo>
                    <a:pt x="1455" y="1727"/>
                  </a:lnTo>
                  <a:lnTo>
                    <a:pt x="1473" y="1696"/>
                  </a:lnTo>
                  <a:lnTo>
                    <a:pt x="1490" y="1727"/>
                  </a:lnTo>
                  <a:lnTo>
                    <a:pt x="1542" y="1712"/>
                  </a:lnTo>
                  <a:lnTo>
                    <a:pt x="1596" y="1760"/>
                  </a:lnTo>
                  <a:lnTo>
                    <a:pt x="1630" y="1775"/>
                  </a:lnTo>
                  <a:lnTo>
                    <a:pt x="1630" y="1760"/>
                  </a:lnTo>
                  <a:lnTo>
                    <a:pt x="1647" y="1792"/>
                  </a:lnTo>
                  <a:lnTo>
                    <a:pt x="1630" y="1808"/>
                  </a:lnTo>
                  <a:lnTo>
                    <a:pt x="1665" y="1792"/>
                  </a:lnTo>
                  <a:lnTo>
                    <a:pt x="1682" y="1775"/>
                  </a:lnTo>
                  <a:lnTo>
                    <a:pt x="1768" y="1727"/>
                  </a:lnTo>
                  <a:lnTo>
                    <a:pt x="1837" y="1744"/>
                  </a:lnTo>
                  <a:lnTo>
                    <a:pt x="1872" y="1760"/>
                  </a:lnTo>
                  <a:lnTo>
                    <a:pt x="1941" y="1760"/>
                  </a:lnTo>
                  <a:lnTo>
                    <a:pt x="1941" y="1727"/>
                  </a:lnTo>
                  <a:lnTo>
                    <a:pt x="1941" y="1696"/>
                  </a:lnTo>
                  <a:lnTo>
                    <a:pt x="1976" y="1679"/>
                  </a:lnTo>
                  <a:lnTo>
                    <a:pt x="2045" y="1696"/>
                  </a:lnTo>
                  <a:lnTo>
                    <a:pt x="2079" y="1744"/>
                  </a:lnTo>
                  <a:lnTo>
                    <a:pt x="2097" y="1744"/>
                  </a:lnTo>
                  <a:lnTo>
                    <a:pt x="2131" y="1727"/>
                  </a:lnTo>
                  <a:lnTo>
                    <a:pt x="2235" y="1775"/>
                  </a:lnTo>
                  <a:lnTo>
                    <a:pt x="2287" y="1792"/>
                  </a:lnTo>
                  <a:lnTo>
                    <a:pt x="2358" y="1775"/>
                  </a:lnTo>
                  <a:lnTo>
                    <a:pt x="2392" y="1744"/>
                  </a:lnTo>
                  <a:lnTo>
                    <a:pt x="2444" y="1760"/>
                  </a:lnTo>
                  <a:lnTo>
                    <a:pt x="2479" y="1775"/>
                  </a:lnTo>
                  <a:lnTo>
                    <a:pt x="2530" y="1760"/>
                  </a:lnTo>
                  <a:lnTo>
                    <a:pt x="2548" y="1696"/>
                  </a:lnTo>
                  <a:lnTo>
                    <a:pt x="2565" y="1679"/>
                  </a:lnTo>
                  <a:lnTo>
                    <a:pt x="2565" y="1664"/>
                  </a:lnTo>
                  <a:lnTo>
                    <a:pt x="2548" y="1664"/>
                  </a:lnTo>
                  <a:lnTo>
                    <a:pt x="2565" y="1631"/>
                  </a:lnTo>
                  <a:lnTo>
                    <a:pt x="2634" y="1616"/>
                  </a:lnTo>
                  <a:lnTo>
                    <a:pt x="2686" y="1631"/>
                  </a:lnTo>
                  <a:lnTo>
                    <a:pt x="2721" y="1664"/>
                  </a:lnTo>
                  <a:lnTo>
                    <a:pt x="2755" y="1775"/>
                  </a:lnTo>
                  <a:lnTo>
                    <a:pt x="2790" y="1775"/>
                  </a:lnTo>
                  <a:lnTo>
                    <a:pt x="2841" y="1808"/>
                  </a:lnTo>
                  <a:lnTo>
                    <a:pt x="2841" y="1840"/>
                  </a:lnTo>
                  <a:lnTo>
                    <a:pt x="2876" y="1840"/>
                  </a:lnTo>
                  <a:lnTo>
                    <a:pt x="2945" y="1823"/>
                  </a:lnTo>
                  <a:lnTo>
                    <a:pt x="2945" y="1856"/>
                  </a:lnTo>
                  <a:lnTo>
                    <a:pt x="2893" y="1952"/>
                  </a:lnTo>
                  <a:lnTo>
                    <a:pt x="2876" y="1936"/>
                  </a:lnTo>
                  <a:lnTo>
                    <a:pt x="2841" y="1952"/>
                  </a:lnTo>
                  <a:lnTo>
                    <a:pt x="2859" y="2000"/>
                  </a:lnTo>
                  <a:lnTo>
                    <a:pt x="2841" y="2032"/>
                  </a:lnTo>
                  <a:lnTo>
                    <a:pt x="2859" y="2000"/>
                  </a:lnTo>
                  <a:lnTo>
                    <a:pt x="2876" y="2000"/>
                  </a:lnTo>
                  <a:lnTo>
                    <a:pt x="2876" y="2015"/>
                  </a:lnTo>
                  <a:lnTo>
                    <a:pt x="2893" y="2032"/>
                  </a:lnTo>
                  <a:lnTo>
                    <a:pt x="2945" y="2000"/>
                  </a:lnTo>
                  <a:lnTo>
                    <a:pt x="3103" y="1823"/>
                  </a:lnTo>
                  <a:lnTo>
                    <a:pt x="3103" y="1712"/>
                  </a:lnTo>
                  <a:lnTo>
                    <a:pt x="3120" y="1679"/>
                  </a:lnTo>
                  <a:lnTo>
                    <a:pt x="3120" y="1631"/>
                  </a:lnTo>
                  <a:lnTo>
                    <a:pt x="3085" y="1583"/>
                  </a:lnTo>
                  <a:lnTo>
                    <a:pt x="3068" y="1583"/>
                  </a:lnTo>
                  <a:lnTo>
                    <a:pt x="3049" y="1616"/>
                  </a:lnTo>
                  <a:lnTo>
                    <a:pt x="3014" y="1616"/>
                  </a:lnTo>
                  <a:lnTo>
                    <a:pt x="3032" y="1583"/>
                  </a:lnTo>
                  <a:lnTo>
                    <a:pt x="3014" y="1583"/>
                  </a:lnTo>
                  <a:lnTo>
                    <a:pt x="2997" y="1568"/>
                  </a:lnTo>
                  <a:lnTo>
                    <a:pt x="2962" y="1568"/>
                  </a:lnTo>
                  <a:lnTo>
                    <a:pt x="2962" y="1553"/>
                  </a:lnTo>
                  <a:lnTo>
                    <a:pt x="3014" y="1505"/>
                  </a:lnTo>
                  <a:lnTo>
                    <a:pt x="3172" y="1361"/>
                  </a:lnTo>
                  <a:lnTo>
                    <a:pt x="3241" y="1343"/>
                  </a:lnTo>
                  <a:lnTo>
                    <a:pt x="3258" y="1361"/>
                  </a:lnTo>
                  <a:lnTo>
                    <a:pt x="3275" y="1343"/>
                  </a:lnTo>
                  <a:lnTo>
                    <a:pt x="3327" y="1361"/>
                  </a:lnTo>
                  <a:lnTo>
                    <a:pt x="3344" y="1328"/>
                  </a:lnTo>
                  <a:lnTo>
                    <a:pt x="3396" y="1343"/>
                  </a:lnTo>
                  <a:lnTo>
                    <a:pt x="3414" y="1343"/>
                  </a:lnTo>
                  <a:lnTo>
                    <a:pt x="3396" y="1361"/>
                  </a:lnTo>
                  <a:lnTo>
                    <a:pt x="3396" y="1376"/>
                  </a:lnTo>
                  <a:lnTo>
                    <a:pt x="3500" y="1361"/>
                  </a:lnTo>
                  <a:lnTo>
                    <a:pt x="3483" y="1343"/>
                  </a:lnTo>
                  <a:lnTo>
                    <a:pt x="3552" y="1232"/>
                  </a:lnTo>
                  <a:lnTo>
                    <a:pt x="3638" y="1217"/>
                  </a:lnTo>
                  <a:lnTo>
                    <a:pt x="3638" y="1247"/>
                  </a:lnTo>
                  <a:lnTo>
                    <a:pt x="3638" y="1280"/>
                  </a:lnTo>
                  <a:lnTo>
                    <a:pt x="3725" y="1232"/>
                  </a:lnTo>
                  <a:lnTo>
                    <a:pt x="3725" y="1184"/>
                  </a:lnTo>
                  <a:lnTo>
                    <a:pt x="3759" y="1184"/>
                  </a:lnTo>
                  <a:lnTo>
                    <a:pt x="3742" y="1199"/>
                  </a:lnTo>
                  <a:lnTo>
                    <a:pt x="3725" y="1280"/>
                  </a:lnTo>
                  <a:lnTo>
                    <a:pt x="3690" y="1295"/>
                  </a:lnTo>
                  <a:lnTo>
                    <a:pt x="3586" y="1409"/>
                  </a:lnTo>
                  <a:lnTo>
                    <a:pt x="3552" y="1424"/>
                  </a:lnTo>
                  <a:lnTo>
                    <a:pt x="3517" y="1535"/>
                  </a:lnTo>
                  <a:lnTo>
                    <a:pt x="3552" y="1727"/>
                  </a:lnTo>
                  <a:lnTo>
                    <a:pt x="3586" y="1696"/>
                  </a:lnTo>
                  <a:lnTo>
                    <a:pt x="3621" y="1631"/>
                  </a:lnTo>
                  <a:lnTo>
                    <a:pt x="3638" y="1631"/>
                  </a:lnTo>
                  <a:lnTo>
                    <a:pt x="3638" y="1583"/>
                  </a:lnTo>
                  <a:lnTo>
                    <a:pt x="3655" y="1583"/>
                  </a:lnTo>
                  <a:lnTo>
                    <a:pt x="3690" y="1568"/>
                  </a:lnTo>
                  <a:lnTo>
                    <a:pt x="3673" y="1520"/>
                  </a:lnTo>
                  <a:lnTo>
                    <a:pt x="3707" y="1505"/>
                  </a:lnTo>
                  <a:lnTo>
                    <a:pt x="3725" y="1505"/>
                  </a:lnTo>
                  <a:lnTo>
                    <a:pt x="3725" y="1472"/>
                  </a:lnTo>
                  <a:lnTo>
                    <a:pt x="3707" y="1472"/>
                  </a:lnTo>
                  <a:lnTo>
                    <a:pt x="3725" y="1424"/>
                  </a:lnTo>
                  <a:lnTo>
                    <a:pt x="3707" y="1424"/>
                  </a:lnTo>
                  <a:lnTo>
                    <a:pt x="3690" y="1424"/>
                  </a:lnTo>
                  <a:lnTo>
                    <a:pt x="3690" y="1409"/>
                  </a:lnTo>
                  <a:lnTo>
                    <a:pt x="3725" y="1361"/>
                  </a:lnTo>
                  <a:lnTo>
                    <a:pt x="3725" y="1328"/>
                  </a:lnTo>
                  <a:lnTo>
                    <a:pt x="3759" y="1328"/>
                  </a:lnTo>
                  <a:lnTo>
                    <a:pt x="3813" y="1295"/>
                  </a:lnTo>
                  <a:lnTo>
                    <a:pt x="3813" y="1328"/>
                  </a:lnTo>
                  <a:lnTo>
                    <a:pt x="3830" y="1313"/>
                  </a:lnTo>
                  <a:lnTo>
                    <a:pt x="3882" y="1295"/>
                  </a:lnTo>
                  <a:lnTo>
                    <a:pt x="3917" y="1328"/>
                  </a:lnTo>
                  <a:lnTo>
                    <a:pt x="3934" y="1295"/>
                  </a:lnTo>
                  <a:lnTo>
                    <a:pt x="4107" y="1184"/>
                  </a:lnTo>
                  <a:lnTo>
                    <a:pt x="4158" y="1199"/>
                  </a:lnTo>
                  <a:lnTo>
                    <a:pt x="4176" y="1184"/>
                  </a:lnTo>
                  <a:lnTo>
                    <a:pt x="4141" y="1088"/>
                  </a:lnTo>
                  <a:lnTo>
                    <a:pt x="4124" y="1088"/>
                  </a:lnTo>
                  <a:lnTo>
                    <a:pt x="4124" y="1056"/>
                  </a:lnTo>
                  <a:lnTo>
                    <a:pt x="4141" y="1056"/>
                  </a:lnTo>
                  <a:lnTo>
                    <a:pt x="4176" y="1040"/>
                  </a:lnTo>
                  <a:lnTo>
                    <a:pt x="4210" y="1008"/>
                  </a:lnTo>
                  <a:lnTo>
                    <a:pt x="4193" y="977"/>
                  </a:lnTo>
                  <a:lnTo>
                    <a:pt x="4210" y="960"/>
                  </a:lnTo>
                  <a:lnTo>
                    <a:pt x="4228" y="1008"/>
                  </a:lnTo>
                  <a:lnTo>
                    <a:pt x="4262" y="1008"/>
                  </a:lnTo>
                  <a:lnTo>
                    <a:pt x="4297" y="1040"/>
                  </a:lnTo>
                  <a:lnTo>
                    <a:pt x="4383" y="1088"/>
                  </a:lnTo>
                  <a:lnTo>
                    <a:pt x="4400" y="1040"/>
                  </a:lnTo>
                  <a:lnTo>
                    <a:pt x="4400" y="1008"/>
                  </a:lnTo>
                  <a:lnTo>
                    <a:pt x="4435" y="1008"/>
                  </a:lnTo>
                  <a:lnTo>
                    <a:pt x="4469" y="977"/>
                  </a:lnTo>
                  <a:lnTo>
                    <a:pt x="4418" y="929"/>
                  </a:lnTo>
                  <a:lnTo>
                    <a:pt x="4331" y="912"/>
                  </a:lnTo>
                  <a:lnTo>
                    <a:pt x="4176" y="785"/>
                  </a:lnTo>
                  <a:lnTo>
                    <a:pt x="4072" y="720"/>
                  </a:lnTo>
                  <a:lnTo>
                    <a:pt x="3934" y="704"/>
                  </a:lnTo>
                  <a:lnTo>
                    <a:pt x="3934" y="785"/>
                  </a:lnTo>
                  <a:lnTo>
                    <a:pt x="3899" y="800"/>
                  </a:lnTo>
                  <a:lnTo>
                    <a:pt x="3865" y="768"/>
                  </a:lnTo>
                  <a:lnTo>
                    <a:pt x="3865" y="737"/>
                  </a:lnTo>
                  <a:lnTo>
                    <a:pt x="3882" y="737"/>
                  </a:lnTo>
                  <a:lnTo>
                    <a:pt x="3899" y="720"/>
                  </a:lnTo>
                  <a:lnTo>
                    <a:pt x="3865" y="720"/>
                  </a:lnTo>
                  <a:lnTo>
                    <a:pt x="3830" y="752"/>
                  </a:lnTo>
                  <a:lnTo>
                    <a:pt x="3742" y="737"/>
                  </a:lnTo>
                  <a:lnTo>
                    <a:pt x="3655" y="737"/>
                  </a:lnTo>
                  <a:lnTo>
                    <a:pt x="3621" y="720"/>
                  </a:lnTo>
                  <a:lnTo>
                    <a:pt x="3638" y="689"/>
                  </a:lnTo>
                  <a:lnTo>
                    <a:pt x="3604" y="641"/>
                  </a:lnTo>
                  <a:lnTo>
                    <a:pt x="3535" y="624"/>
                  </a:lnTo>
                  <a:lnTo>
                    <a:pt x="3431" y="656"/>
                  </a:lnTo>
                  <a:lnTo>
                    <a:pt x="3414" y="608"/>
                  </a:lnTo>
                  <a:lnTo>
                    <a:pt x="3379" y="608"/>
                  </a:lnTo>
                  <a:lnTo>
                    <a:pt x="3362" y="593"/>
                  </a:lnTo>
                  <a:lnTo>
                    <a:pt x="3362" y="545"/>
                  </a:lnTo>
                  <a:lnTo>
                    <a:pt x="3241" y="512"/>
                  </a:lnTo>
                  <a:lnTo>
                    <a:pt x="3103" y="480"/>
                  </a:lnTo>
                  <a:lnTo>
                    <a:pt x="3068" y="545"/>
                  </a:lnTo>
                  <a:lnTo>
                    <a:pt x="3103" y="593"/>
                  </a:lnTo>
                  <a:lnTo>
                    <a:pt x="2997" y="593"/>
                  </a:lnTo>
                  <a:lnTo>
                    <a:pt x="2980" y="593"/>
                  </a:lnTo>
                  <a:lnTo>
                    <a:pt x="2945" y="608"/>
                  </a:lnTo>
                  <a:lnTo>
                    <a:pt x="2893" y="560"/>
                  </a:lnTo>
                  <a:lnTo>
                    <a:pt x="2859" y="656"/>
                  </a:lnTo>
                  <a:lnTo>
                    <a:pt x="2824" y="641"/>
                  </a:lnTo>
                  <a:lnTo>
                    <a:pt x="2790" y="576"/>
                  </a:lnTo>
                  <a:lnTo>
                    <a:pt x="2807" y="497"/>
                  </a:lnTo>
                  <a:lnTo>
                    <a:pt x="2772" y="449"/>
                  </a:lnTo>
                  <a:lnTo>
                    <a:pt x="2669" y="417"/>
                  </a:lnTo>
                  <a:lnTo>
                    <a:pt x="2634" y="417"/>
                  </a:lnTo>
                  <a:lnTo>
                    <a:pt x="2617" y="449"/>
                  </a:lnTo>
                  <a:lnTo>
                    <a:pt x="2634" y="480"/>
                  </a:lnTo>
                  <a:lnTo>
                    <a:pt x="2496" y="465"/>
                  </a:lnTo>
                  <a:lnTo>
                    <a:pt x="2513" y="417"/>
                  </a:lnTo>
                  <a:lnTo>
                    <a:pt x="2427" y="401"/>
                  </a:lnTo>
                  <a:lnTo>
                    <a:pt x="2375" y="432"/>
                  </a:lnTo>
                  <a:lnTo>
                    <a:pt x="2269" y="384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80" name="Freeform 172">
              <a:extLst>
                <a:ext uri="{FF2B5EF4-FFF2-40B4-BE49-F238E27FC236}">
                  <a16:creationId xmlns:a16="http://schemas.microsoft.com/office/drawing/2014/main" id="{8B948B3A-07A9-CD09-4826-A10B9250E2D2}"/>
                </a:ext>
              </a:extLst>
            </p:cNvPr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6458399" y="2287091"/>
              <a:ext cx="354476" cy="471590"/>
            </a:xfrm>
            <a:custGeom>
              <a:avLst/>
              <a:gdLst>
                <a:gd name="T0" fmla="*/ 0 w 468"/>
                <a:gd name="T1" fmla="*/ 101428 h 591"/>
                <a:gd name="T2" fmla="*/ 0 w 468"/>
                <a:gd name="T3" fmla="*/ 101428 h 591"/>
                <a:gd name="T4" fmla="*/ 10319 w 468"/>
                <a:gd name="T5" fmla="*/ 113314 h 591"/>
                <a:gd name="T6" fmla="*/ 27781 w 468"/>
                <a:gd name="T7" fmla="*/ 116484 h 591"/>
                <a:gd name="T8" fmla="*/ 31750 w 468"/>
                <a:gd name="T9" fmla="*/ 113314 h 591"/>
                <a:gd name="T10" fmla="*/ 23812 w 468"/>
                <a:gd name="T11" fmla="*/ 106975 h 591"/>
                <a:gd name="T12" fmla="*/ 20638 w 468"/>
                <a:gd name="T13" fmla="*/ 101428 h 591"/>
                <a:gd name="T14" fmla="*/ 20638 w 468"/>
                <a:gd name="T15" fmla="*/ 84788 h 591"/>
                <a:gd name="T16" fmla="*/ 23812 w 468"/>
                <a:gd name="T17" fmla="*/ 78448 h 591"/>
                <a:gd name="T18" fmla="*/ 48419 w 468"/>
                <a:gd name="T19" fmla="*/ 40413 h 591"/>
                <a:gd name="T20" fmla="*/ 65881 w 468"/>
                <a:gd name="T21" fmla="*/ 28527 h 591"/>
                <a:gd name="T22" fmla="*/ 92869 w 468"/>
                <a:gd name="T23" fmla="*/ 15848 h 591"/>
                <a:gd name="T24" fmla="*/ 92869 w 468"/>
                <a:gd name="T25" fmla="*/ 2377 h 591"/>
                <a:gd name="T26" fmla="*/ 86519 w 468"/>
                <a:gd name="T27" fmla="*/ 0 h 591"/>
                <a:gd name="T28" fmla="*/ 79375 w 468"/>
                <a:gd name="T29" fmla="*/ 6339 h 591"/>
                <a:gd name="T30" fmla="*/ 73025 w 468"/>
                <a:gd name="T31" fmla="*/ 11886 h 591"/>
                <a:gd name="T32" fmla="*/ 62706 w 468"/>
                <a:gd name="T33" fmla="*/ 15848 h 591"/>
                <a:gd name="T34" fmla="*/ 52388 w 468"/>
                <a:gd name="T35" fmla="*/ 15848 h 591"/>
                <a:gd name="T36" fmla="*/ 42069 w 468"/>
                <a:gd name="T37" fmla="*/ 21395 h 591"/>
                <a:gd name="T38" fmla="*/ 31750 w 468"/>
                <a:gd name="T39" fmla="*/ 34866 h 591"/>
                <a:gd name="T40" fmla="*/ 20638 w 468"/>
                <a:gd name="T41" fmla="*/ 40413 h 591"/>
                <a:gd name="T42" fmla="*/ 20638 w 468"/>
                <a:gd name="T43" fmla="*/ 47544 h 591"/>
                <a:gd name="T44" fmla="*/ 17463 w 468"/>
                <a:gd name="T45" fmla="*/ 57053 h 591"/>
                <a:gd name="T46" fmla="*/ 10319 w 468"/>
                <a:gd name="T47" fmla="*/ 63393 h 591"/>
                <a:gd name="T48" fmla="*/ 14288 w 468"/>
                <a:gd name="T49" fmla="*/ 68939 h 591"/>
                <a:gd name="T50" fmla="*/ 10319 w 468"/>
                <a:gd name="T51" fmla="*/ 76071 h 591"/>
                <a:gd name="T52" fmla="*/ 3969 w 468"/>
                <a:gd name="T53" fmla="*/ 82410 h 591"/>
                <a:gd name="T54" fmla="*/ 7144 w 468"/>
                <a:gd name="T55" fmla="*/ 87957 h 591"/>
                <a:gd name="T56" fmla="*/ 0 w 468"/>
                <a:gd name="T57" fmla="*/ 91919 h 591"/>
                <a:gd name="T58" fmla="*/ 0 w 468"/>
                <a:gd name="T59" fmla="*/ 101428 h 591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468"/>
                <a:gd name="T91" fmla="*/ 0 h 591"/>
                <a:gd name="T92" fmla="*/ 468 w 468"/>
                <a:gd name="T93" fmla="*/ 591 h 591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468" h="591">
                  <a:moveTo>
                    <a:pt x="0" y="512"/>
                  </a:moveTo>
                  <a:lnTo>
                    <a:pt x="0" y="512"/>
                  </a:lnTo>
                  <a:lnTo>
                    <a:pt x="52" y="575"/>
                  </a:lnTo>
                  <a:lnTo>
                    <a:pt x="140" y="591"/>
                  </a:lnTo>
                  <a:lnTo>
                    <a:pt x="157" y="575"/>
                  </a:lnTo>
                  <a:lnTo>
                    <a:pt x="123" y="543"/>
                  </a:lnTo>
                  <a:lnTo>
                    <a:pt x="104" y="512"/>
                  </a:lnTo>
                  <a:lnTo>
                    <a:pt x="104" y="431"/>
                  </a:lnTo>
                  <a:lnTo>
                    <a:pt x="123" y="399"/>
                  </a:lnTo>
                  <a:lnTo>
                    <a:pt x="244" y="207"/>
                  </a:lnTo>
                  <a:lnTo>
                    <a:pt x="330" y="144"/>
                  </a:lnTo>
                  <a:lnTo>
                    <a:pt x="468" y="80"/>
                  </a:lnTo>
                  <a:lnTo>
                    <a:pt x="468" y="15"/>
                  </a:lnTo>
                  <a:lnTo>
                    <a:pt x="434" y="0"/>
                  </a:lnTo>
                  <a:lnTo>
                    <a:pt x="399" y="32"/>
                  </a:lnTo>
                  <a:lnTo>
                    <a:pt x="365" y="63"/>
                  </a:lnTo>
                  <a:lnTo>
                    <a:pt x="313" y="80"/>
                  </a:lnTo>
                  <a:lnTo>
                    <a:pt x="261" y="80"/>
                  </a:lnTo>
                  <a:lnTo>
                    <a:pt x="209" y="111"/>
                  </a:lnTo>
                  <a:lnTo>
                    <a:pt x="157" y="176"/>
                  </a:lnTo>
                  <a:lnTo>
                    <a:pt x="104" y="207"/>
                  </a:lnTo>
                  <a:lnTo>
                    <a:pt x="104" y="240"/>
                  </a:lnTo>
                  <a:lnTo>
                    <a:pt x="86" y="288"/>
                  </a:lnTo>
                  <a:lnTo>
                    <a:pt x="52" y="320"/>
                  </a:lnTo>
                  <a:lnTo>
                    <a:pt x="69" y="351"/>
                  </a:lnTo>
                  <a:lnTo>
                    <a:pt x="52" y="384"/>
                  </a:lnTo>
                  <a:lnTo>
                    <a:pt x="17" y="416"/>
                  </a:lnTo>
                  <a:lnTo>
                    <a:pt x="35" y="447"/>
                  </a:lnTo>
                  <a:lnTo>
                    <a:pt x="0" y="464"/>
                  </a:lnTo>
                  <a:lnTo>
                    <a:pt x="0" y="512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81" name="Freeform 173">
              <a:extLst>
                <a:ext uri="{FF2B5EF4-FFF2-40B4-BE49-F238E27FC236}">
                  <a16:creationId xmlns:a16="http://schemas.microsoft.com/office/drawing/2014/main" id="{48E7195A-8C26-7C5F-1CEA-4B0DE71A3B21}"/>
                </a:ext>
              </a:extLst>
            </p:cNvPr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6392230" y="2810338"/>
              <a:ext cx="39387" cy="51659"/>
            </a:xfrm>
            <a:custGeom>
              <a:avLst/>
              <a:gdLst>
                <a:gd name="T0" fmla="*/ 0 w 52"/>
                <a:gd name="T1" fmla="*/ 12902 h 63"/>
                <a:gd name="T2" fmla="*/ 0 w 52"/>
                <a:gd name="T3" fmla="*/ 12902 h 63"/>
                <a:gd name="T4" fmla="*/ 7144 w 52"/>
                <a:gd name="T5" fmla="*/ 9676 h 63"/>
                <a:gd name="T6" fmla="*/ 10319 w 52"/>
                <a:gd name="T7" fmla="*/ 6451 h 63"/>
                <a:gd name="T8" fmla="*/ 3969 w 52"/>
                <a:gd name="T9" fmla="*/ 0 h 63"/>
                <a:gd name="T10" fmla="*/ 0 w 52"/>
                <a:gd name="T11" fmla="*/ 6451 h 63"/>
                <a:gd name="T12" fmla="*/ 0 w 52"/>
                <a:gd name="T13" fmla="*/ 12902 h 6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"/>
                <a:gd name="T22" fmla="*/ 0 h 63"/>
                <a:gd name="T23" fmla="*/ 52 w 52"/>
                <a:gd name="T24" fmla="*/ 63 h 6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" h="63">
                  <a:moveTo>
                    <a:pt x="0" y="63"/>
                  </a:moveTo>
                  <a:lnTo>
                    <a:pt x="0" y="63"/>
                  </a:lnTo>
                  <a:lnTo>
                    <a:pt x="34" y="48"/>
                  </a:lnTo>
                  <a:lnTo>
                    <a:pt x="52" y="31"/>
                  </a:lnTo>
                  <a:lnTo>
                    <a:pt x="17" y="0"/>
                  </a:lnTo>
                  <a:lnTo>
                    <a:pt x="0" y="31"/>
                  </a:lnTo>
                  <a:lnTo>
                    <a:pt x="0" y="63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82" name="Freeform 174">
              <a:extLst>
                <a:ext uri="{FF2B5EF4-FFF2-40B4-BE49-F238E27FC236}">
                  <a16:creationId xmlns:a16="http://schemas.microsoft.com/office/drawing/2014/main" id="{A8D47222-4250-1CD0-F6AD-214754220C1B}"/>
                </a:ext>
              </a:extLst>
            </p:cNvPr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6280374" y="2277093"/>
              <a:ext cx="148092" cy="44993"/>
            </a:xfrm>
            <a:custGeom>
              <a:avLst/>
              <a:gdLst>
                <a:gd name="T0" fmla="*/ 32544 w 196"/>
                <a:gd name="T1" fmla="*/ 3969 h 56"/>
                <a:gd name="T2" fmla="*/ 28575 w 196"/>
                <a:gd name="T3" fmla="*/ 3969 h 56"/>
                <a:gd name="T4" fmla="*/ 24606 w 196"/>
                <a:gd name="T5" fmla="*/ 3969 h 56"/>
                <a:gd name="T6" fmla="*/ 24606 w 196"/>
                <a:gd name="T7" fmla="*/ 7938 h 56"/>
                <a:gd name="T8" fmla="*/ 20637 w 196"/>
                <a:gd name="T9" fmla="*/ 11113 h 56"/>
                <a:gd name="T10" fmla="*/ 20637 w 196"/>
                <a:gd name="T11" fmla="*/ 7938 h 56"/>
                <a:gd name="T12" fmla="*/ 18256 w 196"/>
                <a:gd name="T13" fmla="*/ 7938 h 56"/>
                <a:gd name="T14" fmla="*/ 15081 w 196"/>
                <a:gd name="T15" fmla="*/ 3969 h 56"/>
                <a:gd name="T16" fmla="*/ 18256 w 196"/>
                <a:gd name="T17" fmla="*/ 3969 h 56"/>
                <a:gd name="T18" fmla="*/ 20637 w 196"/>
                <a:gd name="T19" fmla="*/ 3969 h 56"/>
                <a:gd name="T20" fmla="*/ 18256 w 196"/>
                <a:gd name="T21" fmla="*/ 3969 h 56"/>
                <a:gd name="T22" fmla="*/ 15081 w 196"/>
                <a:gd name="T23" fmla="*/ 3969 h 56"/>
                <a:gd name="T24" fmla="*/ 18256 w 196"/>
                <a:gd name="T25" fmla="*/ 3969 h 56"/>
                <a:gd name="T26" fmla="*/ 15081 w 196"/>
                <a:gd name="T27" fmla="*/ 0 h 56"/>
                <a:gd name="T28" fmla="*/ 10319 w 196"/>
                <a:gd name="T29" fmla="*/ 3969 h 56"/>
                <a:gd name="T30" fmla="*/ 7144 w 196"/>
                <a:gd name="T31" fmla="*/ 3969 h 56"/>
                <a:gd name="T32" fmla="*/ 3969 w 196"/>
                <a:gd name="T33" fmla="*/ 3969 h 56"/>
                <a:gd name="T34" fmla="*/ 0 w 196"/>
                <a:gd name="T35" fmla="*/ 3969 h 56"/>
                <a:gd name="T36" fmla="*/ 3969 w 196"/>
                <a:gd name="T37" fmla="*/ 0 h 56"/>
                <a:gd name="T38" fmla="*/ 10319 w 196"/>
                <a:gd name="T39" fmla="*/ 0 h 56"/>
                <a:gd name="T40" fmla="*/ 18256 w 196"/>
                <a:gd name="T41" fmla="*/ 0 h 56"/>
                <a:gd name="T42" fmla="*/ 20637 w 196"/>
                <a:gd name="T43" fmla="*/ 0 h 56"/>
                <a:gd name="T44" fmla="*/ 28575 w 196"/>
                <a:gd name="T45" fmla="*/ 0 h 56"/>
                <a:gd name="T46" fmla="*/ 32544 w 196"/>
                <a:gd name="T47" fmla="*/ 0 h 56"/>
                <a:gd name="T48" fmla="*/ 35719 w 196"/>
                <a:gd name="T49" fmla="*/ 0 h 56"/>
                <a:gd name="T50" fmla="*/ 38894 w 196"/>
                <a:gd name="T51" fmla="*/ 0 h 56"/>
                <a:gd name="T52" fmla="*/ 38894 w 196"/>
                <a:gd name="T53" fmla="*/ 3969 h 56"/>
                <a:gd name="T54" fmla="*/ 35719 w 196"/>
                <a:gd name="T55" fmla="*/ 3969 h 56"/>
                <a:gd name="T56" fmla="*/ 32544 w 196"/>
                <a:gd name="T57" fmla="*/ 3969 h 5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96"/>
                <a:gd name="T88" fmla="*/ 0 h 56"/>
                <a:gd name="T89" fmla="*/ 196 w 196"/>
                <a:gd name="T90" fmla="*/ 56 h 5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96" h="56">
                  <a:moveTo>
                    <a:pt x="161" y="17"/>
                  </a:moveTo>
                  <a:lnTo>
                    <a:pt x="144" y="17"/>
                  </a:lnTo>
                  <a:lnTo>
                    <a:pt x="125" y="17"/>
                  </a:lnTo>
                  <a:lnTo>
                    <a:pt x="125" y="37"/>
                  </a:lnTo>
                  <a:lnTo>
                    <a:pt x="107" y="56"/>
                  </a:lnTo>
                  <a:lnTo>
                    <a:pt x="107" y="37"/>
                  </a:lnTo>
                  <a:lnTo>
                    <a:pt x="90" y="37"/>
                  </a:lnTo>
                  <a:lnTo>
                    <a:pt x="73" y="17"/>
                  </a:lnTo>
                  <a:lnTo>
                    <a:pt x="90" y="17"/>
                  </a:lnTo>
                  <a:lnTo>
                    <a:pt x="107" y="17"/>
                  </a:lnTo>
                  <a:lnTo>
                    <a:pt x="90" y="17"/>
                  </a:lnTo>
                  <a:lnTo>
                    <a:pt x="73" y="17"/>
                  </a:lnTo>
                  <a:lnTo>
                    <a:pt x="90" y="17"/>
                  </a:lnTo>
                  <a:lnTo>
                    <a:pt x="73" y="0"/>
                  </a:lnTo>
                  <a:lnTo>
                    <a:pt x="54" y="17"/>
                  </a:lnTo>
                  <a:lnTo>
                    <a:pt x="36" y="17"/>
                  </a:lnTo>
                  <a:lnTo>
                    <a:pt x="19" y="17"/>
                  </a:lnTo>
                  <a:lnTo>
                    <a:pt x="0" y="17"/>
                  </a:lnTo>
                  <a:lnTo>
                    <a:pt x="19" y="0"/>
                  </a:lnTo>
                  <a:lnTo>
                    <a:pt x="54" y="0"/>
                  </a:lnTo>
                  <a:lnTo>
                    <a:pt x="90" y="0"/>
                  </a:lnTo>
                  <a:lnTo>
                    <a:pt x="107" y="0"/>
                  </a:lnTo>
                  <a:lnTo>
                    <a:pt x="144" y="0"/>
                  </a:lnTo>
                  <a:lnTo>
                    <a:pt x="161" y="0"/>
                  </a:lnTo>
                  <a:lnTo>
                    <a:pt x="178" y="0"/>
                  </a:lnTo>
                  <a:lnTo>
                    <a:pt x="196" y="0"/>
                  </a:lnTo>
                  <a:lnTo>
                    <a:pt x="196" y="17"/>
                  </a:lnTo>
                  <a:lnTo>
                    <a:pt x="178" y="17"/>
                  </a:lnTo>
                  <a:lnTo>
                    <a:pt x="161" y="17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83" name="Freeform 175">
              <a:extLst>
                <a:ext uri="{FF2B5EF4-FFF2-40B4-BE49-F238E27FC236}">
                  <a16:creationId xmlns:a16="http://schemas.microsoft.com/office/drawing/2014/main" id="{BBABAB27-94BA-549E-250E-0D1120DA1562}"/>
                </a:ext>
              </a:extLst>
            </p:cNvPr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6496209" y="2218770"/>
              <a:ext cx="83499" cy="73321"/>
            </a:xfrm>
            <a:custGeom>
              <a:avLst/>
              <a:gdLst>
                <a:gd name="T0" fmla="*/ 18424 w 109"/>
                <a:gd name="T1" fmla="*/ 15081 h 92"/>
                <a:gd name="T2" fmla="*/ 15220 w 109"/>
                <a:gd name="T3" fmla="*/ 15081 h 92"/>
                <a:gd name="T4" fmla="*/ 11215 w 109"/>
                <a:gd name="T5" fmla="*/ 18256 h 92"/>
                <a:gd name="T6" fmla="*/ 7209 w 109"/>
                <a:gd name="T7" fmla="*/ 18256 h 92"/>
                <a:gd name="T8" fmla="*/ 0 w 109"/>
                <a:gd name="T9" fmla="*/ 15081 h 92"/>
                <a:gd name="T10" fmla="*/ 0 w 109"/>
                <a:gd name="T11" fmla="*/ 11112 h 92"/>
                <a:gd name="T12" fmla="*/ 4005 w 109"/>
                <a:gd name="T13" fmla="*/ 11112 h 92"/>
                <a:gd name="T14" fmla="*/ 11215 w 109"/>
                <a:gd name="T15" fmla="*/ 11112 h 92"/>
                <a:gd name="T16" fmla="*/ 11215 w 109"/>
                <a:gd name="T17" fmla="*/ 7938 h 92"/>
                <a:gd name="T18" fmla="*/ 7209 w 109"/>
                <a:gd name="T19" fmla="*/ 11112 h 92"/>
                <a:gd name="T20" fmla="*/ 7209 w 109"/>
                <a:gd name="T21" fmla="*/ 7938 h 92"/>
                <a:gd name="T22" fmla="*/ 11215 w 109"/>
                <a:gd name="T23" fmla="*/ 7938 h 92"/>
                <a:gd name="T24" fmla="*/ 15220 w 109"/>
                <a:gd name="T25" fmla="*/ 7938 h 92"/>
                <a:gd name="T26" fmla="*/ 18424 w 109"/>
                <a:gd name="T27" fmla="*/ 3969 h 92"/>
                <a:gd name="T28" fmla="*/ 22429 w 109"/>
                <a:gd name="T29" fmla="*/ 3969 h 92"/>
                <a:gd name="T30" fmla="*/ 22429 w 109"/>
                <a:gd name="T31" fmla="*/ 0 h 92"/>
                <a:gd name="T32" fmla="*/ 22429 w 109"/>
                <a:gd name="T33" fmla="*/ 3969 h 92"/>
                <a:gd name="T34" fmla="*/ 22429 w 109"/>
                <a:gd name="T35" fmla="*/ 7938 h 92"/>
                <a:gd name="T36" fmla="*/ 18424 w 109"/>
                <a:gd name="T37" fmla="*/ 7938 h 92"/>
                <a:gd name="T38" fmla="*/ 15220 w 109"/>
                <a:gd name="T39" fmla="*/ 7938 h 92"/>
                <a:gd name="T40" fmla="*/ 11215 w 109"/>
                <a:gd name="T41" fmla="*/ 11112 h 92"/>
                <a:gd name="T42" fmla="*/ 15220 w 109"/>
                <a:gd name="T43" fmla="*/ 11112 h 92"/>
                <a:gd name="T44" fmla="*/ 22429 w 109"/>
                <a:gd name="T45" fmla="*/ 11112 h 92"/>
                <a:gd name="T46" fmla="*/ 22429 w 109"/>
                <a:gd name="T47" fmla="*/ 15081 h 92"/>
                <a:gd name="T48" fmla="*/ 18424 w 109"/>
                <a:gd name="T49" fmla="*/ 15081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9"/>
                <a:gd name="T76" fmla="*/ 0 h 92"/>
                <a:gd name="T77" fmla="*/ 109 w 109"/>
                <a:gd name="T78" fmla="*/ 92 h 9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9" h="92">
                  <a:moveTo>
                    <a:pt x="90" y="73"/>
                  </a:moveTo>
                  <a:lnTo>
                    <a:pt x="73" y="73"/>
                  </a:lnTo>
                  <a:lnTo>
                    <a:pt x="54" y="92"/>
                  </a:lnTo>
                  <a:lnTo>
                    <a:pt x="36" y="92"/>
                  </a:lnTo>
                  <a:lnTo>
                    <a:pt x="0" y="73"/>
                  </a:lnTo>
                  <a:lnTo>
                    <a:pt x="0" y="56"/>
                  </a:lnTo>
                  <a:lnTo>
                    <a:pt x="19" y="56"/>
                  </a:lnTo>
                  <a:lnTo>
                    <a:pt x="54" y="56"/>
                  </a:lnTo>
                  <a:lnTo>
                    <a:pt x="54" y="37"/>
                  </a:lnTo>
                  <a:lnTo>
                    <a:pt x="36" y="56"/>
                  </a:lnTo>
                  <a:lnTo>
                    <a:pt x="36" y="37"/>
                  </a:lnTo>
                  <a:lnTo>
                    <a:pt x="54" y="37"/>
                  </a:lnTo>
                  <a:lnTo>
                    <a:pt x="73" y="37"/>
                  </a:lnTo>
                  <a:lnTo>
                    <a:pt x="90" y="20"/>
                  </a:lnTo>
                  <a:lnTo>
                    <a:pt x="109" y="20"/>
                  </a:lnTo>
                  <a:lnTo>
                    <a:pt x="109" y="0"/>
                  </a:lnTo>
                  <a:lnTo>
                    <a:pt x="109" y="20"/>
                  </a:lnTo>
                  <a:lnTo>
                    <a:pt x="109" y="37"/>
                  </a:lnTo>
                  <a:lnTo>
                    <a:pt x="90" y="37"/>
                  </a:lnTo>
                  <a:lnTo>
                    <a:pt x="73" y="37"/>
                  </a:lnTo>
                  <a:lnTo>
                    <a:pt x="54" y="56"/>
                  </a:lnTo>
                  <a:lnTo>
                    <a:pt x="73" y="56"/>
                  </a:lnTo>
                  <a:lnTo>
                    <a:pt x="109" y="56"/>
                  </a:lnTo>
                  <a:lnTo>
                    <a:pt x="109" y="73"/>
                  </a:lnTo>
                  <a:lnTo>
                    <a:pt x="90" y="73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84" name="Freeform 176">
              <a:extLst>
                <a:ext uri="{FF2B5EF4-FFF2-40B4-BE49-F238E27FC236}">
                  <a16:creationId xmlns:a16="http://schemas.microsoft.com/office/drawing/2014/main" id="{1DB2C14F-885D-E014-9F36-5423B2A42574}"/>
                </a:ext>
              </a:extLst>
            </p:cNvPr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5607658" y="2322086"/>
              <a:ext cx="267826" cy="163306"/>
            </a:xfrm>
            <a:custGeom>
              <a:avLst/>
              <a:gdLst>
                <a:gd name="T0" fmla="*/ 56198 w 357"/>
                <a:gd name="T1" fmla="*/ 29513 h 203"/>
                <a:gd name="T2" fmla="*/ 49866 w 357"/>
                <a:gd name="T3" fmla="*/ 29513 h 203"/>
                <a:gd name="T4" fmla="*/ 53032 w 357"/>
                <a:gd name="T5" fmla="*/ 25525 h 203"/>
                <a:gd name="T6" fmla="*/ 49866 w 357"/>
                <a:gd name="T7" fmla="*/ 18346 h 203"/>
                <a:gd name="T8" fmla="*/ 49866 w 357"/>
                <a:gd name="T9" fmla="*/ 18346 h 203"/>
                <a:gd name="T10" fmla="*/ 41951 w 357"/>
                <a:gd name="T11" fmla="*/ 18346 h 203"/>
                <a:gd name="T12" fmla="*/ 38785 w 357"/>
                <a:gd name="T13" fmla="*/ 29513 h 203"/>
                <a:gd name="T14" fmla="*/ 34827 w 357"/>
                <a:gd name="T15" fmla="*/ 36692 h 203"/>
                <a:gd name="T16" fmla="*/ 31661 w 357"/>
                <a:gd name="T17" fmla="*/ 40681 h 203"/>
                <a:gd name="T18" fmla="*/ 20580 w 357"/>
                <a:gd name="T19" fmla="*/ 36692 h 203"/>
                <a:gd name="T20" fmla="*/ 20580 w 357"/>
                <a:gd name="T21" fmla="*/ 29513 h 203"/>
                <a:gd name="T22" fmla="*/ 27703 w 357"/>
                <a:gd name="T23" fmla="*/ 29513 h 203"/>
                <a:gd name="T24" fmla="*/ 20580 w 357"/>
                <a:gd name="T25" fmla="*/ 29513 h 203"/>
                <a:gd name="T26" fmla="*/ 13456 w 357"/>
                <a:gd name="T27" fmla="*/ 29513 h 203"/>
                <a:gd name="T28" fmla="*/ 17414 w 357"/>
                <a:gd name="T29" fmla="*/ 22334 h 203"/>
                <a:gd name="T30" fmla="*/ 24537 w 357"/>
                <a:gd name="T31" fmla="*/ 22334 h 203"/>
                <a:gd name="T32" fmla="*/ 27703 w 357"/>
                <a:gd name="T33" fmla="*/ 18346 h 203"/>
                <a:gd name="T34" fmla="*/ 20580 w 357"/>
                <a:gd name="T35" fmla="*/ 18346 h 203"/>
                <a:gd name="T36" fmla="*/ 13456 w 357"/>
                <a:gd name="T37" fmla="*/ 22334 h 203"/>
                <a:gd name="T38" fmla="*/ 10290 w 357"/>
                <a:gd name="T39" fmla="*/ 18346 h 203"/>
                <a:gd name="T40" fmla="*/ 10290 w 357"/>
                <a:gd name="T41" fmla="*/ 18346 h 203"/>
                <a:gd name="T42" fmla="*/ 3166 w 357"/>
                <a:gd name="T43" fmla="*/ 15156 h 203"/>
                <a:gd name="T44" fmla="*/ 0 w 357"/>
                <a:gd name="T45" fmla="*/ 11167 h 203"/>
                <a:gd name="T46" fmla="*/ 0 w 357"/>
                <a:gd name="T47" fmla="*/ 3988 h 203"/>
                <a:gd name="T48" fmla="*/ 6332 w 357"/>
                <a:gd name="T49" fmla="*/ 3988 h 203"/>
                <a:gd name="T50" fmla="*/ 13456 w 357"/>
                <a:gd name="T51" fmla="*/ 3988 h 203"/>
                <a:gd name="T52" fmla="*/ 13456 w 357"/>
                <a:gd name="T53" fmla="*/ 3988 h 203"/>
                <a:gd name="T54" fmla="*/ 13456 w 357"/>
                <a:gd name="T55" fmla="*/ 7179 h 203"/>
                <a:gd name="T56" fmla="*/ 17414 w 357"/>
                <a:gd name="T57" fmla="*/ 3988 h 203"/>
                <a:gd name="T58" fmla="*/ 24537 w 357"/>
                <a:gd name="T59" fmla="*/ 7179 h 203"/>
                <a:gd name="T60" fmla="*/ 24537 w 357"/>
                <a:gd name="T61" fmla="*/ 7179 h 203"/>
                <a:gd name="T62" fmla="*/ 24537 w 357"/>
                <a:gd name="T63" fmla="*/ 0 h 203"/>
                <a:gd name="T64" fmla="*/ 31661 w 357"/>
                <a:gd name="T65" fmla="*/ 0 h 203"/>
                <a:gd name="T66" fmla="*/ 34827 w 357"/>
                <a:gd name="T67" fmla="*/ 3988 h 203"/>
                <a:gd name="T68" fmla="*/ 41951 w 357"/>
                <a:gd name="T69" fmla="*/ 3988 h 203"/>
                <a:gd name="T70" fmla="*/ 41951 w 357"/>
                <a:gd name="T71" fmla="*/ 11167 h 203"/>
                <a:gd name="T72" fmla="*/ 56198 w 357"/>
                <a:gd name="T73" fmla="*/ 18346 h 203"/>
                <a:gd name="T74" fmla="*/ 63322 w 357"/>
                <a:gd name="T75" fmla="*/ 18346 h 203"/>
                <a:gd name="T76" fmla="*/ 70446 w 357"/>
                <a:gd name="T77" fmla="*/ 29513 h 203"/>
                <a:gd name="T78" fmla="*/ 63322 w 357"/>
                <a:gd name="T79" fmla="*/ 33502 h 20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357"/>
                <a:gd name="T121" fmla="*/ 0 h 203"/>
                <a:gd name="T122" fmla="*/ 357 w 357"/>
                <a:gd name="T123" fmla="*/ 203 h 203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357" h="203">
                  <a:moveTo>
                    <a:pt x="286" y="167"/>
                  </a:moveTo>
                  <a:lnTo>
                    <a:pt x="286" y="148"/>
                  </a:lnTo>
                  <a:lnTo>
                    <a:pt x="269" y="148"/>
                  </a:lnTo>
                  <a:lnTo>
                    <a:pt x="252" y="148"/>
                  </a:lnTo>
                  <a:lnTo>
                    <a:pt x="269" y="148"/>
                  </a:lnTo>
                  <a:lnTo>
                    <a:pt x="269" y="128"/>
                  </a:lnTo>
                  <a:lnTo>
                    <a:pt x="252" y="109"/>
                  </a:lnTo>
                  <a:lnTo>
                    <a:pt x="252" y="92"/>
                  </a:lnTo>
                  <a:lnTo>
                    <a:pt x="269" y="92"/>
                  </a:lnTo>
                  <a:lnTo>
                    <a:pt x="252" y="92"/>
                  </a:lnTo>
                  <a:lnTo>
                    <a:pt x="231" y="92"/>
                  </a:lnTo>
                  <a:lnTo>
                    <a:pt x="213" y="92"/>
                  </a:lnTo>
                  <a:lnTo>
                    <a:pt x="213" y="128"/>
                  </a:lnTo>
                  <a:lnTo>
                    <a:pt x="196" y="148"/>
                  </a:lnTo>
                  <a:lnTo>
                    <a:pt x="179" y="148"/>
                  </a:lnTo>
                  <a:lnTo>
                    <a:pt x="179" y="184"/>
                  </a:lnTo>
                  <a:lnTo>
                    <a:pt x="179" y="203"/>
                  </a:lnTo>
                  <a:lnTo>
                    <a:pt x="160" y="203"/>
                  </a:lnTo>
                  <a:lnTo>
                    <a:pt x="125" y="203"/>
                  </a:lnTo>
                  <a:lnTo>
                    <a:pt x="106" y="184"/>
                  </a:lnTo>
                  <a:lnTo>
                    <a:pt x="71" y="148"/>
                  </a:lnTo>
                  <a:lnTo>
                    <a:pt x="106" y="148"/>
                  </a:lnTo>
                  <a:lnTo>
                    <a:pt x="125" y="148"/>
                  </a:lnTo>
                  <a:lnTo>
                    <a:pt x="142" y="148"/>
                  </a:lnTo>
                  <a:lnTo>
                    <a:pt x="125" y="148"/>
                  </a:lnTo>
                  <a:lnTo>
                    <a:pt x="106" y="148"/>
                  </a:lnTo>
                  <a:lnTo>
                    <a:pt x="89" y="148"/>
                  </a:lnTo>
                  <a:lnTo>
                    <a:pt x="71" y="148"/>
                  </a:lnTo>
                  <a:lnTo>
                    <a:pt x="71" y="128"/>
                  </a:lnTo>
                  <a:lnTo>
                    <a:pt x="89" y="109"/>
                  </a:lnTo>
                  <a:lnTo>
                    <a:pt x="106" y="109"/>
                  </a:lnTo>
                  <a:lnTo>
                    <a:pt x="125" y="109"/>
                  </a:lnTo>
                  <a:lnTo>
                    <a:pt x="125" y="92"/>
                  </a:lnTo>
                  <a:lnTo>
                    <a:pt x="142" y="92"/>
                  </a:lnTo>
                  <a:lnTo>
                    <a:pt x="125" y="92"/>
                  </a:lnTo>
                  <a:lnTo>
                    <a:pt x="106" y="92"/>
                  </a:lnTo>
                  <a:lnTo>
                    <a:pt x="89" y="92"/>
                  </a:lnTo>
                  <a:lnTo>
                    <a:pt x="71" y="109"/>
                  </a:lnTo>
                  <a:lnTo>
                    <a:pt x="54" y="109"/>
                  </a:lnTo>
                  <a:lnTo>
                    <a:pt x="54" y="92"/>
                  </a:lnTo>
                  <a:lnTo>
                    <a:pt x="35" y="92"/>
                  </a:lnTo>
                  <a:lnTo>
                    <a:pt x="54" y="92"/>
                  </a:lnTo>
                  <a:lnTo>
                    <a:pt x="35" y="92"/>
                  </a:lnTo>
                  <a:lnTo>
                    <a:pt x="17" y="73"/>
                  </a:lnTo>
                  <a:lnTo>
                    <a:pt x="17" y="54"/>
                  </a:lnTo>
                  <a:lnTo>
                    <a:pt x="0" y="54"/>
                  </a:lnTo>
                  <a:lnTo>
                    <a:pt x="0" y="36"/>
                  </a:lnTo>
                  <a:lnTo>
                    <a:pt x="0" y="19"/>
                  </a:lnTo>
                  <a:lnTo>
                    <a:pt x="17" y="19"/>
                  </a:lnTo>
                  <a:lnTo>
                    <a:pt x="35" y="19"/>
                  </a:lnTo>
                  <a:lnTo>
                    <a:pt x="54" y="19"/>
                  </a:lnTo>
                  <a:lnTo>
                    <a:pt x="71" y="19"/>
                  </a:lnTo>
                  <a:lnTo>
                    <a:pt x="54" y="19"/>
                  </a:lnTo>
                  <a:lnTo>
                    <a:pt x="71" y="19"/>
                  </a:lnTo>
                  <a:lnTo>
                    <a:pt x="89" y="36"/>
                  </a:lnTo>
                  <a:lnTo>
                    <a:pt x="71" y="36"/>
                  </a:lnTo>
                  <a:lnTo>
                    <a:pt x="71" y="19"/>
                  </a:lnTo>
                  <a:lnTo>
                    <a:pt x="89" y="19"/>
                  </a:lnTo>
                  <a:lnTo>
                    <a:pt x="125" y="19"/>
                  </a:lnTo>
                  <a:lnTo>
                    <a:pt x="125" y="36"/>
                  </a:lnTo>
                  <a:lnTo>
                    <a:pt x="142" y="54"/>
                  </a:lnTo>
                  <a:lnTo>
                    <a:pt x="125" y="36"/>
                  </a:lnTo>
                  <a:lnTo>
                    <a:pt x="125" y="19"/>
                  </a:lnTo>
                  <a:lnTo>
                    <a:pt x="125" y="0"/>
                  </a:lnTo>
                  <a:lnTo>
                    <a:pt x="142" y="0"/>
                  </a:lnTo>
                  <a:lnTo>
                    <a:pt x="160" y="0"/>
                  </a:lnTo>
                  <a:lnTo>
                    <a:pt x="179" y="0"/>
                  </a:lnTo>
                  <a:lnTo>
                    <a:pt x="179" y="19"/>
                  </a:lnTo>
                  <a:lnTo>
                    <a:pt x="196" y="19"/>
                  </a:lnTo>
                  <a:lnTo>
                    <a:pt x="213" y="19"/>
                  </a:lnTo>
                  <a:lnTo>
                    <a:pt x="213" y="36"/>
                  </a:lnTo>
                  <a:lnTo>
                    <a:pt x="213" y="54"/>
                  </a:lnTo>
                  <a:lnTo>
                    <a:pt x="269" y="73"/>
                  </a:lnTo>
                  <a:lnTo>
                    <a:pt x="286" y="92"/>
                  </a:lnTo>
                  <a:lnTo>
                    <a:pt x="304" y="92"/>
                  </a:lnTo>
                  <a:lnTo>
                    <a:pt x="323" y="92"/>
                  </a:lnTo>
                  <a:lnTo>
                    <a:pt x="340" y="128"/>
                  </a:lnTo>
                  <a:lnTo>
                    <a:pt x="357" y="148"/>
                  </a:lnTo>
                  <a:lnTo>
                    <a:pt x="340" y="148"/>
                  </a:lnTo>
                  <a:lnTo>
                    <a:pt x="323" y="167"/>
                  </a:lnTo>
                  <a:lnTo>
                    <a:pt x="286" y="167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85" name="Freeform 177">
              <a:extLst>
                <a:ext uri="{FF2B5EF4-FFF2-40B4-BE49-F238E27FC236}">
                  <a16:creationId xmlns:a16="http://schemas.microsoft.com/office/drawing/2014/main" id="{DBE3DCDB-DFE9-0A89-1E95-9F329F349331}"/>
                </a:ext>
              </a:extLst>
            </p:cNvPr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5743147" y="2292091"/>
              <a:ext cx="189053" cy="73321"/>
            </a:xfrm>
            <a:custGeom>
              <a:avLst/>
              <a:gdLst>
                <a:gd name="T0" fmla="*/ 50207 w 249"/>
                <a:gd name="T1" fmla="*/ 7067 h 93"/>
                <a:gd name="T2" fmla="*/ 43035 w 249"/>
                <a:gd name="T3" fmla="*/ 10993 h 93"/>
                <a:gd name="T4" fmla="*/ 35862 w 249"/>
                <a:gd name="T5" fmla="*/ 14134 h 93"/>
                <a:gd name="T6" fmla="*/ 28690 w 249"/>
                <a:gd name="T7" fmla="*/ 18060 h 93"/>
                <a:gd name="T8" fmla="*/ 24705 w 249"/>
                <a:gd name="T9" fmla="*/ 18060 h 93"/>
                <a:gd name="T10" fmla="*/ 24705 w 249"/>
                <a:gd name="T11" fmla="*/ 14134 h 93"/>
                <a:gd name="T12" fmla="*/ 21517 w 249"/>
                <a:gd name="T13" fmla="*/ 14134 h 93"/>
                <a:gd name="T14" fmla="*/ 14345 w 249"/>
                <a:gd name="T15" fmla="*/ 14134 h 93"/>
                <a:gd name="T16" fmla="*/ 10360 w 249"/>
                <a:gd name="T17" fmla="*/ 14134 h 93"/>
                <a:gd name="T18" fmla="*/ 7172 w 249"/>
                <a:gd name="T19" fmla="*/ 10993 h 93"/>
                <a:gd name="T20" fmla="*/ 10360 w 249"/>
                <a:gd name="T21" fmla="*/ 10993 h 93"/>
                <a:gd name="T22" fmla="*/ 14345 w 249"/>
                <a:gd name="T23" fmla="*/ 10993 h 93"/>
                <a:gd name="T24" fmla="*/ 18330 w 249"/>
                <a:gd name="T25" fmla="*/ 10993 h 93"/>
                <a:gd name="T26" fmla="*/ 14345 w 249"/>
                <a:gd name="T27" fmla="*/ 10993 h 93"/>
                <a:gd name="T28" fmla="*/ 10360 w 249"/>
                <a:gd name="T29" fmla="*/ 10993 h 93"/>
                <a:gd name="T30" fmla="*/ 7172 w 249"/>
                <a:gd name="T31" fmla="*/ 10993 h 93"/>
                <a:gd name="T32" fmla="*/ 3985 w 249"/>
                <a:gd name="T33" fmla="*/ 7067 h 93"/>
                <a:gd name="T34" fmla="*/ 0 w 249"/>
                <a:gd name="T35" fmla="*/ 3926 h 93"/>
                <a:gd name="T36" fmla="*/ 0 w 249"/>
                <a:gd name="T37" fmla="*/ 0 h 93"/>
                <a:gd name="T38" fmla="*/ 3985 w 249"/>
                <a:gd name="T39" fmla="*/ 0 h 93"/>
                <a:gd name="T40" fmla="*/ 7172 w 249"/>
                <a:gd name="T41" fmla="*/ 3926 h 93"/>
                <a:gd name="T42" fmla="*/ 7172 w 249"/>
                <a:gd name="T43" fmla="*/ 0 h 93"/>
                <a:gd name="T44" fmla="*/ 10360 w 249"/>
                <a:gd name="T45" fmla="*/ 0 h 93"/>
                <a:gd name="T46" fmla="*/ 14345 w 249"/>
                <a:gd name="T47" fmla="*/ 0 h 93"/>
                <a:gd name="T48" fmla="*/ 21517 w 249"/>
                <a:gd name="T49" fmla="*/ 3926 h 93"/>
                <a:gd name="T50" fmla="*/ 24705 w 249"/>
                <a:gd name="T51" fmla="*/ 0 h 93"/>
                <a:gd name="T52" fmla="*/ 28690 w 249"/>
                <a:gd name="T53" fmla="*/ 0 h 93"/>
                <a:gd name="T54" fmla="*/ 28690 w 249"/>
                <a:gd name="T55" fmla="*/ 3926 h 93"/>
                <a:gd name="T56" fmla="*/ 32675 w 249"/>
                <a:gd name="T57" fmla="*/ 3926 h 93"/>
                <a:gd name="T58" fmla="*/ 32675 w 249"/>
                <a:gd name="T59" fmla="*/ 0 h 93"/>
                <a:gd name="T60" fmla="*/ 35862 w 249"/>
                <a:gd name="T61" fmla="*/ 0 h 93"/>
                <a:gd name="T62" fmla="*/ 39050 w 249"/>
                <a:gd name="T63" fmla="*/ 0 h 93"/>
                <a:gd name="T64" fmla="*/ 43035 w 249"/>
                <a:gd name="T65" fmla="*/ 0 h 93"/>
                <a:gd name="T66" fmla="*/ 43035 w 249"/>
                <a:gd name="T67" fmla="*/ 3926 h 93"/>
                <a:gd name="T68" fmla="*/ 46223 w 249"/>
                <a:gd name="T69" fmla="*/ 3926 h 93"/>
                <a:gd name="T70" fmla="*/ 50207 w 249"/>
                <a:gd name="T71" fmla="*/ 7067 h 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49"/>
                <a:gd name="T109" fmla="*/ 0 h 93"/>
                <a:gd name="T110" fmla="*/ 249 w 249"/>
                <a:gd name="T111" fmla="*/ 93 h 9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49" h="93">
                  <a:moveTo>
                    <a:pt x="249" y="39"/>
                  </a:moveTo>
                  <a:lnTo>
                    <a:pt x="213" y="56"/>
                  </a:lnTo>
                  <a:lnTo>
                    <a:pt x="178" y="75"/>
                  </a:lnTo>
                  <a:lnTo>
                    <a:pt x="142" y="93"/>
                  </a:lnTo>
                  <a:lnTo>
                    <a:pt x="124" y="93"/>
                  </a:lnTo>
                  <a:lnTo>
                    <a:pt x="124" y="75"/>
                  </a:lnTo>
                  <a:lnTo>
                    <a:pt x="107" y="75"/>
                  </a:lnTo>
                  <a:lnTo>
                    <a:pt x="71" y="75"/>
                  </a:lnTo>
                  <a:lnTo>
                    <a:pt x="51" y="75"/>
                  </a:lnTo>
                  <a:lnTo>
                    <a:pt x="34" y="56"/>
                  </a:lnTo>
                  <a:lnTo>
                    <a:pt x="51" y="56"/>
                  </a:lnTo>
                  <a:lnTo>
                    <a:pt x="71" y="56"/>
                  </a:lnTo>
                  <a:lnTo>
                    <a:pt x="90" y="56"/>
                  </a:lnTo>
                  <a:lnTo>
                    <a:pt x="71" y="56"/>
                  </a:lnTo>
                  <a:lnTo>
                    <a:pt x="51" y="56"/>
                  </a:lnTo>
                  <a:lnTo>
                    <a:pt x="34" y="56"/>
                  </a:lnTo>
                  <a:lnTo>
                    <a:pt x="17" y="39"/>
                  </a:lnTo>
                  <a:lnTo>
                    <a:pt x="0" y="20"/>
                  </a:lnTo>
                  <a:lnTo>
                    <a:pt x="0" y="0"/>
                  </a:lnTo>
                  <a:lnTo>
                    <a:pt x="17" y="0"/>
                  </a:lnTo>
                  <a:lnTo>
                    <a:pt x="34" y="20"/>
                  </a:lnTo>
                  <a:lnTo>
                    <a:pt x="34" y="0"/>
                  </a:lnTo>
                  <a:lnTo>
                    <a:pt x="51" y="0"/>
                  </a:lnTo>
                  <a:lnTo>
                    <a:pt x="71" y="0"/>
                  </a:lnTo>
                  <a:lnTo>
                    <a:pt x="107" y="20"/>
                  </a:lnTo>
                  <a:lnTo>
                    <a:pt x="124" y="0"/>
                  </a:lnTo>
                  <a:lnTo>
                    <a:pt x="142" y="0"/>
                  </a:lnTo>
                  <a:lnTo>
                    <a:pt x="142" y="20"/>
                  </a:lnTo>
                  <a:lnTo>
                    <a:pt x="161" y="20"/>
                  </a:lnTo>
                  <a:lnTo>
                    <a:pt x="161" y="0"/>
                  </a:lnTo>
                  <a:lnTo>
                    <a:pt x="178" y="0"/>
                  </a:lnTo>
                  <a:lnTo>
                    <a:pt x="195" y="0"/>
                  </a:lnTo>
                  <a:lnTo>
                    <a:pt x="213" y="0"/>
                  </a:lnTo>
                  <a:lnTo>
                    <a:pt x="213" y="20"/>
                  </a:lnTo>
                  <a:lnTo>
                    <a:pt x="232" y="20"/>
                  </a:lnTo>
                  <a:lnTo>
                    <a:pt x="249" y="39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86" name="Freeform 178">
              <a:extLst>
                <a:ext uri="{FF2B5EF4-FFF2-40B4-BE49-F238E27FC236}">
                  <a16:creationId xmlns:a16="http://schemas.microsoft.com/office/drawing/2014/main" id="{E6A7F34B-86C9-5D4B-27C0-A18B9284C7EB}"/>
                </a:ext>
              </a:extLst>
            </p:cNvPr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5591904" y="2378743"/>
              <a:ext cx="26783" cy="31661"/>
            </a:xfrm>
            <a:custGeom>
              <a:avLst/>
              <a:gdLst>
                <a:gd name="T0" fmla="*/ 3969 w 36"/>
                <a:gd name="T1" fmla="*/ 0 h 36"/>
                <a:gd name="T2" fmla="*/ 3969 w 36"/>
                <a:gd name="T3" fmla="*/ 4189 h 36"/>
                <a:gd name="T4" fmla="*/ 7144 w 36"/>
                <a:gd name="T5" fmla="*/ 8379 h 36"/>
                <a:gd name="T6" fmla="*/ 3969 w 36"/>
                <a:gd name="T7" fmla="*/ 4189 h 36"/>
                <a:gd name="T8" fmla="*/ 0 w 36"/>
                <a:gd name="T9" fmla="*/ 4189 h 36"/>
                <a:gd name="T10" fmla="*/ 3969 w 36"/>
                <a:gd name="T11" fmla="*/ 0 h 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6"/>
                <a:gd name="T19" fmla="*/ 0 h 36"/>
                <a:gd name="T20" fmla="*/ 36 w 36"/>
                <a:gd name="T21" fmla="*/ 36 h 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6" h="36">
                  <a:moveTo>
                    <a:pt x="19" y="0"/>
                  </a:moveTo>
                  <a:lnTo>
                    <a:pt x="19" y="19"/>
                  </a:lnTo>
                  <a:lnTo>
                    <a:pt x="36" y="36"/>
                  </a:lnTo>
                  <a:lnTo>
                    <a:pt x="19" y="19"/>
                  </a:lnTo>
                  <a:lnTo>
                    <a:pt x="0" y="19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87" name="Freeform 179">
              <a:extLst>
                <a:ext uri="{FF2B5EF4-FFF2-40B4-BE49-F238E27FC236}">
                  <a16:creationId xmlns:a16="http://schemas.microsoft.com/office/drawing/2014/main" id="{E708E231-4C34-D018-18FF-1D7972AC6ECB}"/>
                </a:ext>
              </a:extLst>
            </p:cNvPr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5791986" y="3448567"/>
              <a:ext cx="66169" cy="38326"/>
            </a:xfrm>
            <a:custGeom>
              <a:avLst/>
              <a:gdLst>
                <a:gd name="T0" fmla="*/ 18681 w 86"/>
                <a:gd name="T1" fmla="*/ 0 h 48"/>
                <a:gd name="T2" fmla="*/ 18681 w 86"/>
                <a:gd name="T3" fmla="*/ 0 h 48"/>
                <a:gd name="T4" fmla="*/ 18681 w 86"/>
                <a:gd name="T5" fmla="*/ 9525 h 48"/>
                <a:gd name="T6" fmla="*/ 11371 w 86"/>
                <a:gd name="T7" fmla="*/ 9525 h 48"/>
                <a:gd name="T8" fmla="*/ 0 w 86"/>
                <a:gd name="T9" fmla="*/ 7144 h 48"/>
                <a:gd name="T10" fmla="*/ 7310 w 86"/>
                <a:gd name="T11" fmla="*/ 3969 h 48"/>
                <a:gd name="T12" fmla="*/ 11371 w 86"/>
                <a:gd name="T13" fmla="*/ 0 h 48"/>
                <a:gd name="T14" fmla="*/ 18681 w 86"/>
                <a:gd name="T15" fmla="*/ 0 h 4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6"/>
                <a:gd name="T25" fmla="*/ 0 h 48"/>
                <a:gd name="T26" fmla="*/ 86 w 86"/>
                <a:gd name="T27" fmla="*/ 48 h 4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6" h="48">
                  <a:moveTo>
                    <a:pt x="86" y="0"/>
                  </a:moveTo>
                  <a:lnTo>
                    <a:pt x="86" y="0"/>
                  </a:lnTo>
                  <a:lnTo>
                    <a:pt x="86" y="48"/>
                  </a:lnTo>
                  <a:lnTo>
                    <a:pt x="52" y="48"/>
                  </a:lnTo>
                  <a:lnTo>
                    <a:pt x="0" y="33"/>
                  </a:lnTo>
                  <a:lnTo>
                    <a:pt x="34" y="18"/>
                  </a:lnTo>
                  <a:lnTo>
                    <a:pt x="52" y="0"/>
                  </a:lnTo>
                  <a:lnTo>
                    <a:pt x="86" y="0"/>
                  </a:lnTo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88" name="Freeform 180">
              <a:extLst>
                <a:ext uri="{FF2B5EF4-FFF2-40B4-BE49-F238E27FC236}">
                  <a16:creationId xmlns:a16="http://schemas.microsoft.com/office/drawing/2014/main" id="{A73C9A26-1B08-8DB4-2DDE-3DE790330D9A}"/>
                </a:ext>
              </a:extLst>
            </p:cNvPr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5593480" y="3435236"/>
              <a:ext cx="15754" cy="26662"/>
            </a:xfrm>
            <a:custGeom>
              <a:avLst/>
              <a:gdLst>
                <a:gd name="T0" fmla="*/ 0 w 19"/>
                <a:gd name="T1" fmla="*/ 3271 h 33"/>
                <a:gd name="T2" fmla="*/ 0 w 19"/>
                <a:gd name="T3" fmla="*/ 3271 h 33"/>
                <a:gd name="T4" fmla="*/ 0 w 19"/>
                <a:gd name="T5" fmla="*/ 7360 h 33"/>
                <a:gd name="T6" fmla="*/ 4178 w 19"/>
                <a:gd name="T7" fmla="*/ 7360 h 33"/>
                <a:gd name="T8" fmla="*/ 4178 w 19"/>
                <a:gd name="T9" fmla="*/ 3271 h 33"/>
                <a:gd name="T10" fmla="*/ 4178 w 19"/>
                <a:gd name="T11" fmla="*/ 0 h 33"/>
                <a:gd name="T12" fmla="*/ 0 w 19"/>
                <a:gd name="T13" fmla="*/ 3271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33"/>
                <a:gd name="T23" fmla="*/ 19 w 19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33">
                  <a:moveTo>
                    <a:pt x="0" y="15"/>
                  </a:moveTo>
                  <a:lnTo>
                    <a:pt x="0" y="15"/>
                  </a:lnTo>
                  <a:lnTo>
                    <a:pt x="0" y="33"/>
                  </a:lnTo>
                  <a:lnTo>
                    <a:pt x="19" y="33"/>
                  </a:lnTo>
                  <a:lnTo>
                    <a:pt x="19" y="15"/>
                  </a:lnTo>
                  <a:lnTo>
                    <a:pt x="19" y="0"/>
                  </a:lnTo>
                  <a:lnTo>
                    <a:pt x="0" y="15"/>
                  </a:lnTo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89" name="Freeform 181">
              <a:extLst>
                <a:ext uri="{FF2B5EF4-FFF2-40B4-BE49-F238E27FC236}">
                  <a16:creationId xmlns:a16="http://schemas.microsoft.com/office/drawing/2014/main" id="{73698250-920D-74FD-8F08-80B304BEE434}"/>
                </a:ext>
              </a:extLst>
            </p:cNvPr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5620262" y="3423571"/>
              <a:ext cx="28358" cy="24996"/>
            </a:xfrm>
            <a:custGeom>
              <a:avLst/>
              <a:gdLst>
                <a:gd name="T0" fmla="*/ 0 w 37"/>
                <a:gd name="T1" fmla="*/ 3175 h 30"/>
                <a:gd name="T2" fmla="*/ 0 w 37"/>
                <a:gd name="T3" fmla="*/ 3175 h 30"/>
                <a:gd name="T4" fmla="*/ 0 w 37"/>
                <a:gd name="T5" fmla="*/ 6350 h 30"/>
                <a:gd name="T6" fmla="*/ 6951 w 37"/>
                <a:gd name="T7" fmla="*/ 6350 h 30"/>
                <a:gd name="T8" fmla="*/ 6951 w 37"/>
                <a:gd name="T9" fmla="*/ 3175 h 30"/>
                <a:gd name="T10" fmla="*/ 6951 w 37"/>
                <a:gd name="T11" fmla="*/ 0 h 30"/>
                <a:gd name="T12" fmla="*/ 0 w 37"/>
                <a:gd name="T13" fmla="*/ 3175 h 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7"/>
                <a:gd name="T22" fmla="*/ 0 h 30"/>
                <a:gd name="T23" fmla="*/ 37 w 37"/>
                <a:gd name="T24" fmla="*/ 30 h 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7" h="30">
                  <a:moveTo>
                    <a:pt x="0" y="15"/>
                  </a:moveTo>
                  <a:lnTo>
                    <a:pt x="0" y="15"/>
                  </a:lnTo>
                  <a:lnTo>
                    <a:pt x="0" y="30"/>
                  </a:lnTo>
                  <a:lnTo>
                    <a:pt x="37" y="30"/>
                  </a:lnTo>
                  <a:lnTo>
                    <a:pt x="37" y="15"/>
                  </a:lnTo>
                  <a:lnTo>
                    <a:pt x="37" y="0"/>
                  </a:lnTo>
                  <a:lnTo>
                    <a:pt x="0" y="15"/>
                  </a:lnTo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90" name="Freeform 182">
              <a:extLst>
                <a:ext uri="{FF2B5EF4-FFF2-40B4-BE49-F238E27FC236}">
                  <a16:creationId xmlns:a16="http://schemas.microsoft.com/office/drawing/2014/main" id="{AFFED5D4-C626-0EE9-AB9E-004D5D6388F1}"/>
                </a:ext>
              </a:extLst>
            </p:cNvPr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5620262" y="3461898"/>
              <a:ext cx="28358" cy="11664"/>
            </a:xfrm>
            <a:custGeom>
              <a:avLst/>
              <a:gdLst>
                <a:gd name="T0" fmla="*/ 0 w 37"/>
                <a:gd name="T1" fmla="*/ 0 h 15"/>
                <a:gd name="T2" fmla="*/ 0 w 37"/>
                <a:gd name="T3" fmla="*/ 0 h 15"/>
                <a:gd name="T4" fmla="*/ 0 w 37"/>
                <a:gd name="T5" fmla="*/ 2223 h 15"/>
                <a:gd name="T6" fmla="*/ 6951 w 37"/>
                <a:gd name="T7" fmla="*/ 0 h 15"/>
                <a:gd name="T8" fmla="*/ 0 w 37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7"/>
                <a:gd name="T16" fmla="*/ 0 h 15"/>
                <a:gd name="T17" fmla="*/ 37 w 37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7" h="15">
                  <a:moveTo>
                    <a:pt x="0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37" y="0"/>
                  </a:lnTo>
                  <a:lnTo>
                    <a:pt x="0" y="0"/>
                  </a:lnTo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91" name="Freeform 183">
              <a:extLst>
                <a:ext uri="{FF2B5EF4-FFF2-40B4-BE49-F238E27FC236}">
                  <a16:creationId xmlns:a16="http://schemas.microsoft.com/office/drawing/2014/main" id="{2091745D-0009-9346-928C-98382C4CCD2D}"/>
                </a:ext>
              </a:extLst>
            </p:cNvPr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5763628" y="3358582"/>
              <a:ext cx="28358" cy="26662"/>
            </a:xfrm>
            <a:custGeom>
              <a:avLst/>
              <a:gdLst>
                <a:gd name="T0" fmla="*/ 0 w 37"/>
                <a:gd name="T1" fmla="*/ 3271 h 33"/>
                <a:gd name="T2" fmla="*/ 0 w 37"/>
                <a:gd name="T3" fmla="*/ 3271 h 33"/>
                <a:gd name="T4" fmla="*/ 0 w 37"/>
                <a:gd name="T5" fmla="*/ 7360 h 33"/>
                <a:gd name="T6" fmla="*/ 3089 w 37"/>
                <a:gd name="T7" fmla="*/ 7360 h 33"/>
                <a:gd name="T8" fmla="*/ 3089 w 37"/>
                <a:gd name="T9" fmla="*/ 0 h 33"/>
                <a:gd name="T10" fmla="*/ 6951 w 37"/>
                <a:gd name="T11" fmla="*/ 0 h 33"/>
                <a:gd name="T12" fmla="*/ 0 w 37"/>
                <a:gd name="T13" fmla="*/ 3271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7"/>
                <a:gd name="T22" fmla="*/ 0 h 33"/>
                <a:gd name="T23" fmla="*/ 37 w 37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7" h="33">
                  <a:moveTo>
                    <a:pt x="0" y="15"/>
                  </a:moveTo>
                  <a:lnTo>
                    <a:pt x="0" y="15"/>
                  </a:lnTo>
                  <a:lnTo>
                    <a:pt x="0" y="33"/>
                  </a:lnTo>
                  <a:lnTo>
                    <a:pt x="18" y="33"/>
                  </a:lnTo>
                  <a:lnTo>
                    <a:pt x="18" y="0"/>
                  </a:lnTo>
                  <a:lnTo>
                    <a:pt x="37" y="0"/>
                  </a:lnTo>
                  <a:lnTo>
                    <a:pt x="0" y="15"/>
                  </a:lnTo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92" name="Freeform 184">
              <a:extLst>
                <a:ext uri="{FF2B5EF4-FFF2-40B4-BE49-F238E27FC236}">
                  <a16:creationId xmlns:a16="http://schemas.microsoft.com/office/drawing/2014/main" id="{E257D72B-F180-5795-8CAA-372EDAD916DA}"/>
                </a:ext>
              </a:extLst>
            </p:cNvPr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5842400" y="3333586"/>
              <a:ext cx="28358" cy="13331"/>
            </a:xfrm>
            <a:custGeom>
              <a:avLst/>
              <a:gdLst>
                <a:gd name="T0" fmla="*/ 0 w 37"/>
                <a:gd name="T1" fmla="*/ 0 h 18"/>
                <a:gd name="T2" fmla="*/ 0 w 37"/>
                <a:gd name="T3" fmla="*/ 0 h 18"/>
                <a:gd name="T4" fmla="*/ 0 w 37"/>
                <a:gd name="T5" fmla="*/ 3969 h 18"/>
                <a:gd name="T6" fmla="*/ 6951 w 37"/>
                <a:gd name="T7" fmla="*/ 0 h 18"/>
                <a:gd name="T8" fmla="*/ 3089 w 37"/>
                <a:gd name="T9" fmla="*/ 0 h 18"/>
                <a:gd name="T10" fmla="*/ 0 w 37"/>
                <a:gd name="T11" fmla="*/ 0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7"/>
                <a:gd name="T19" fmla="*/ 0 h 18"/>
                <a:gd name="T20" fmla="*/ 37 w 37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7" h="18">
                  <a:moveTo>
                    <a:pt x="0" y="0"/>
                  </a:moveTo>
                  <a:lnTo>
                    <a:pt x="0" y="0"/>
                  </a:lnTo>
                  <a:lnTo>
                    <a:pt x="0" y="18"/>
                  </a:lnTo>
                  <a:lnTo>
                    <a:pt x="37" y="0"/>
                  </a:lnTo>
                  <a:lnTo>
                    <a:pt x="19" y="0"/>
                  </a:lnTo>
                  <a:lnTo>
                    <a:pt x="0" y="0"/>
                  </a:lnTo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93" name="Freeform 185">
              <a:extLst>
                <a:ext uri="{FF2B5EF4-FFF2-40B4-BE49-F238E27FC236}">
                  <a16:creationId xmlns:a16="http://schemas.microsoft.com/office/drawing/2014/main" id="{EE78DAD1-FC26-6B4D-2F7B-7E5CE267DD16}"/>
                </a:ext>
              </a:extLst>
            </p:cNvPr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5858155" y="3308590"/>
              <a:ext cx="11028" cy="11664"/>
            </a:xfrm>
            <a:custGeom>
              <a:avLst/>
              <a:gdLst>
                <a:gd name="T0" fmla="*/ 0 w 18"/>
                <a:gd name="T1" fmla="*/ 2223 h 15"/>
                <a:gd name="T2" fmla="*/ 0 w 18"/>
                <a:gd name="T3" fmla="*/ 2223 h 15"/>
                <a:gd name="T4" fmla="*/ 2822 w 18"/>
                <a:gd name="T5" fmla="*/ 2223 h 15"/>
                <a:gd name="T6" fmla="*/ 0 w 18"/>
                <a:gd name="T7" fmla="*/ 0 h 15"/>
                <a:gd name="T8" fmla="*/ 0 w 18"/>
                <a:gd name="T9" fmla="*/ 2223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5"/>
                <a:gd name="T17" fmla="*/ 18 w 18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5">
                  <a:moveTo>
                    <a:pt x="0" y="15"/>
                  </a:moveTo>
                  <a:lnTo>
                    <a:pt x="0" y="15"/>
                  </a:lnTo>
                  <a:lnTo>
                    <a:pt x="18" y="15"/>
                  </a:lnTo>
                  <a:lnTo>
                    <a:pt x="0" y="0"/>
                  </a:lnTo>
                  <a:lnTo>
                    <a:pt x="0" y="15"/>
                  </a:lnTo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94" name="Freeform 186">
              <a:extLst>
                <a:ext uri="{FF2B5EF4-FFF2-40B4-BE49-F238E27FC236}">
                  <a16:creationId xmlns:a16="http://schemas.microsoft.com/office/drawing/2014/main" id="{0309A2C0-38DD-8D28-87A4-E0486125058B}"/>
                </a:ext>
              </a:extLst>
            </p:cNvPr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6354419" y="3448567"/>
              <a:ext cx="838137" cy="436595"/>
            </a:xfrm>
            <a:custGeom>
              <a:avLst/>
              <a:gdLst>
                <a:gd name="T0" fmla="*/ 216889 w 1109"/>
                <a:gd name="T1" fmla="*/ 54869 h 545"/>
                <a:gd name="T2" fmla="*/ 209739 w 1109"/>
                <a:gd name="T3" fmla="*/ 66797 h 545"/>
                <a:gd name="T4" fmla="*/ 196233 w 1109"/>
                <a:gd name="T5" fmla="*/ 66797 h 545"/>
                <a:gd name="T6" fmla="*/ 182727 w 1109"/>
                <a:gd name="T7" fmla="*/ 80316 h 545"/>
                <a:gd name="T8" fmla="*/ 185905 w 1109"/>
                <a:gd name="T9" fmla="*/ 95425 h 545"/>
                <a:gd name="T10" fmla="*/ 175577 w 1109"/>
                <a:gd name="T11" fmla="*/ 95425 h 545"/>
                <a:gd name="T12" fmla="*/ 148565 w 1109"/>
                <a:gd name="T13" fmla="*/ 93039 h 545"/>
                <a:gd name="T14" fmla="*/ 144593 w 1109"/>
                <a:gd name="T15" fmla="*/ 99401 h 545"/>
                <a:gd name="T16" fmla="*/ 131087 w 1109"/>
                <a:gd name="T17" fmla="*/ 99401 h 545"/>
                <a:gd name="T18" fmla="*/ 117581 w 1109"/>
                <a:gd name="T19" fmla="*/ 104967 h 545"/>
                <a:gd name="T20" fmla="*/ 110431 w 1109"/>
                <a:gd name="T21" fmla="*/ 102582 h 545"/>
                <a:gd name="T22" fmla="*/ 107253 w 1109"/>
                <a:gd name="T23" fmla="*/ 95425 h 545"/>
                <a:gd name="T24" fmla="*/ 82624 w 1109"/>
                <a:gd name="T25" fmla="*/ 89858 h 545"/>
                <a:gd name="T26" fmla="*/ 65146 w 1109"/>
                <a:gd name="T27" fmla="*/ 76340 h 545"/>
                <a:gd name="T28" fmla="*/ 51640 w 1109"/>
                <a:gd name="T29" fmla="*/ 104967 h 545"/>
                <a:gd name="T30" fmla="*/ 41312 w 1109"/>
                <a:gd name="T31" fmla="*/ 99401 h 545"/>
                <a:gd name="T32" fmla="*/ 30984 w 1109"/>
                <a:gd name="T33" fmla="*/ 95425 h 545"/>
                <a:gd name="T34" fmla="*/ 24628 w 1109"/>
                <a:gd name="T35" fmla="*/ 85882 h 545"/>
                <a:gd name="T36" fmla="*/ 27806 w 1109"/>
                <a:gd name="T37" fmla="*/ 85882 h 545"/>
                <a:gd name="T38" fmla="*/ 27806 w 1109"/>
                <a:gd name="T39" fmla="*/ 80316 h 545"/>
                <a:gd name="T40" fmla="*/ 38134 w 1109"/>
                <a:gd name="T41" fmla="*/ 70773 h 545"/>
                <a:gd name="T42" fmla="*/ 24628 w 1109"/>
                <a:gd name="T43" fmla="*/ 64412 h 545"/>
                <a:gd name="T44" fmla="*/ 10328 w 1109"/>
                <a:gd name="T45" fmla="*/ 70773 h 545"/>
                <a:gd name="T46" fmla="*/ 10328 w 1109"/>
                <a:gd name="T47" fmla="*/ 61231 h 545"/>
                <a:gd name="T48" fmla="*/ 0 w 1109"/>
                <a:gd name="T49" fmla="*/ 54869 h 545"/>
                <a:gd name="T50" fmla="*/ 10328 w 1109"/>
                <a:gd name="T51" fmla="*/ 45327 h 545"/>
                <a:gd name="T52" fmla="*/ 10328 w 1109"/>
                <a:gd name="T53" fmla="*/ 38170 h 545"/>
                <a:gd name="T54" fmla="*/ 27806 w 1109"/>
                <a:gd name="T55" fmla="*/ 32603 h 545"/>
                <a:gd name="T56" fmla="*/ 38134 w 1109"/>
                <a:gd name="T57" fmla="*/ 32603 h 545"/>
                <a:gd name="T58" fmla="*/ 54818 w 1109"/>
                <a:gd name="T59" fmla="*/ 35784 h 545"/>
                <a:gd name="T60" fmla="*/ 65146 w 1109"/>
                <a:gd name="T61" fmla="*/ 38170 h 545"/>
                <a:gd name="T62" fmla="*/ 82624 w 1109"/>
                <a:gd name="T63" fmla="*/ 32603 h 545"/>
                <a:gd name="T64" fmla="*/ 79447 w 1109"/>
                <a:gd name="T65" fmla="*/ 26242 h 545"/>
                <a:gd name="T66" fmla="*/ 79447 w 1109"/>
                <a:gd name="T67" fmla="*/ 19085 h 545"/>
                <a:gd name="T68" fmla="*/ 85802 w 1109"/>
                <a:gd name="T69" fmla="*/ 13519 h 545"/>
                <a:gd name="T70" fmla="*/ 117581 w 1109"/>
                <a:gd name="T71" fmla="*/ 0 h 545"/>
                <a:gd name="T72" fmla="*/ 131087 w 1109"/>
                <a:gd name="T73" fmla="*/ 0 h 545"/>
                <a:gd name="T74" fmla="*/ 134265 w 1109"/>
                <a:gd name="T75" fmla="*/ 9542 h 545"/>
                <a:gd name="T76" fmla="*/ 144593 w 1109"/>
                <a:gd name="T77" fmla="*/ 13519 h 545"/>
                <a:gd name="T78" fmla="*/ 151743 w 1109"/>
                <a:gd name="T79" fmla="*/ 16699 h 545"/>
                <a:gd name="T80" fmla="*/ 165249 w 1109"/>
                <a:gd name="T81" fmla="*/ 7157 h 545"/>
                <a:gd name="T82" fmla="*/ 182727 w 1109"/>
                <a:gd name="T83" fmla="*/ 38170 h 545"/>
                <a:gd name="T84" fmla="*/ 189083 w 1109"/>
                <a:gd name="T85" fmla="*/ 38170 h 545"/>
                <a:gd name="T86" fmla="*/ 209739 w 1109"/>
                <a:gd name="T87" fmla="*/ 45327 h 545"/>
                <a:gd name="T88" fmla="*/ 216889 w 1109"/>
                <a:gd name="T89" fmla="*/ 45327 h 545"/>
                <a:gd name="T90" fmla="*/ 216889 w 1109"/>
                <a:gd name="T91" fmla="*/ 54869 h 54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109"/>
                <a:gd name="T139" fmla="*/ 0 h 545"/>
                <a:gd name="T140" fmla="*/ 1109 w 1109"/>
                <a:gd name="T141" fmla="*/ 545 h 545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109" h="545">
                  <a:moveTo>
                    <a:pt x="1092" y="273"/>
                  </a:moveTo>
                  <a:lnTo>
                    <a:pt x="1092" y="273"/>
                  </a:lnTo>
                  <a:lnTo>
                    <a:pt x="1075" y="288"/>
                  </a:lnTo>
                  <a:lnTo>
                    <a:pt x="1056" y="336"/>
                  </a:lnTo>
                  <a:lnTo>
                    <a:pt x="1038" y="336"/>
                  </a:lnTo>
                  <a:lnTo>
                    <a:pt x="987" y="336"/>
                  </a:lnTo>
                  <a:lnTo>
                    <a:pt x="969" y="401"/>
                  </a:lnTo>
                  <a:lnTo>
                    <a:pt x="917" y="401"/>
                  </a:lnTo>
                  <a:lnTo>
                    <a:pt x="917" y="417"/>
                  </a:lnTo>
                  <a:lnTo>
                    <a:pt x="935" y="480"/>
                  </a:lnTo>
                  <a:lnTo>
                    <a:pt x="917" y="497"/>
                  </a:lnTo>
                  <a:lnTo>
                    <a:pt x="883" y="480"/>
                  </a:lnTo>
                  <a:lnTo>
                    <a:pt x="779" y="480"/>
                  </a:lnTo>
                  <a:lnTo>
                    <a:pt x="745" y="465"/>
                  </a:lnTo>
                  <a:lnTo>
                    <a:pt x="727" y="480"/>
                  </a:lnTo>
                  <a:lnTo>
                    <a:pt x="727" y="497"/>
                  </a:lnTo>
                  <a:lnTo>
                    <a:pt x="676" y="480"/>
                  </a:lnTo>
                  <a:lnTo>
                    <a:pt x="658" y="497"/>
                  </a:lnTo>
                  <a:lnTo>
                    <a:pt x="606" y="545"/>
                  </a:lnTo>
                  <a:lnTo>
                    <a:pt x="589" y="528"/>
                  </a:lnTo>
                  <a:lnTo>
                    <a:pt x="555" y="528"/>
                  </a:lnTo>
                  <a:lnTo>
                    <a:pt x="555" y="513"/>
                  </a:lnTo>
                  <a:lnTo>
                    <a:pt x="537" y="513"/>
                  </a:lnTo>
                  <a:lnTo>
                    <a:pt x="537" y="480"/>
                  </a:lnTo>
                  <a:lnTo>
                    <a:pt x="501" y="449"/>
                  </a:lnTo>
                  <a:lnTo>
                    <a:pt x="414" y="449"/>
                  </a:lnTo>
                  <a:lnTo>
                    <a:pt x="363" y="401"/>
                  </a:lnTo>
                  <a:lnTo>
                    <a:pt x="328" y="384"/>
                  </a:lnTo>
                  <a:lnTo>
                    <a:pt x="259" y="401"/>
                  </a:lnTo>
                  <a:lnTo>
                    <a:pt x="259" y="528"/>
                  </a:lnTo>
                  <a:lnTo>
                    <a:pt x="242" y="528"/>
                  </a:lnTo>
                  <a:lnTo>
                    <a:pt x="207" y="497"/>
                  </a:lnTo>
                  <a:lnTo>
                    <a:pt x="155" y="513"/>
                  </a:lnTo>
                  <a:lnTo>
                    <a:pt x="155" y="480"/>
                  </a:lnTo>
                  <a:lnTo>
                    <a:pt x="138" y="480"/>
                  </a:lnTo>
                  <a:lnTo>
                    <a:pt x="121" y="432"/>
                  </a:lnTo>
                  <a:lnTo>
                    <a:pt x="103" y="432"/>
                  </a:lnTo>
                  <a:lnTo>
                    <a:pt x="138" y="432"/>
                  </a:lnTo>
                  <a:lnTo>
                    <a:pt x="121" y="417"/>
                  </a:lnTo>
                  <a:lnTo>
                    <a:pt x="138" y="401"/>
                  </a:lnTo>
                  <a:lnTo>
                    <a:pt x="207" y="401"/>
                  </a:lnTo>
                  <a:lnTo>
                    <a:pt x="190" y="353"/>
                  </a:lnTo>
                  <a:lnTo>
                    <a:pt x="155" y="336"/>
                  </a:lnTo>
                  <a:lnTo>
                    <a:pt x="121" y="321"/>
                  </a:lnTo>
                  <a:lnTo>
                    <a:pt x="69" y="353"/>
                  </a:lnTo>
                  <a:lnTo>
                    <a:pt x="52" y="353"/>
                  </a:lnTo>
                  <a:lnTo>
                    <a:pt x="69" y="336"/>
                  </a:lnTo>
                  <a:lnTo>
                    <a:pt x="52" y="305"/>
                  </a:lnTo>
                  <a:lnTo>
                    <a:pt x="17" y="305"/>
                  </a:lnTo>
                  <a:lnTo>
                    <a:pt x="0" y="273"/>
                  </a:lnTo>
                  <a:lnTo>
                    <a:pt x="17" y="192"/>
                  </a:lnTo>
                  <a:lnTo>
                    <a:pt x="52" y="225"/>
                  </a:lnTo>
                  <a:lnTo>
                    <a:pt x="69" y="225"/>
                  </a:lnTo>
                  <a:lnTo>
                    <a:pt x="52" y="192"/>
                  </a:lnTo>
                  <a:lnTo>
                    <a:pt x="103" y="144"/>
                  </a:lnTo>
                  <a:lnTo>
                    <a:pt x="138" y="161"/>
                  </a:lnTo>
                  <a:lnTo>
                    <a:pt x="155" y="144"/>
                  </a:lnTo>
                  <a:lnTo>
                    <a:pt x="190" y="161"/>
                  </a:lnTo>
                  <a:lnTo>
                    <a:pt x="242" y="192"/>
                  </a:lnTo>
                  <a:lnTo>
                    <a:pt x="276" y="177"/>
                  </a:lnTo>
                  <a:lnTo>
                    <a:pt x="311" y="177"/>
                  </a:lnTo>
                  <a:lnTo>
                    <a:pt x="328" y="192"/>
                  </a:lnTo>
                  <a:lnTo>
                    <a:pt x="397" y="192"/>
                  </a:lnTo>
                  <a:lnTo>
                    <a:pt x="414" y="161"/>
                  </a:lnTo>
                  <a:lnTo>
                    <a:pt x="363" y="144"/>
                  </a:lnTo>
                  <a:lnTo>
                    <a:pt x="397" y="129"/>
                  </a:lnTo>
                  <a:lnTo>
                    <a:pt x="380" y="113"/>
                  </a:lnTo>
                  <a:lnTo>
                    <a:pt x="397" y="96"/>
                  </a:lnTo>
                  <a:lnTo>
                    <a:pt x="397" y="48"/>
                  </a:lnTo>
                  <a:lnTo>
                    <a:pt x="432" y="65"/>
                  </a:lnTo>
                  <a:lnTo>
                    <a:pt x="589" y="18"/>
                  </a:lnTo>
                  <a:lnTo>
                    <a:pt x="589" y="0"/>
                  </a:lnTo>
                  <a:lnTo>
                    <a:pt x="606" y="0"/>
                  </a:lnTo>
                  <a:lnTo>
                    <a:pt x="658" y="0"/>
                  </a:lnTo>
                  <a:lnTo>
                    <a:pt x="676" y="33"/>
                  </a:lnTo>
                  <a:lnTo>
                    <a:pt x="676" y="48"/>
                  </a:lnTo>
                  <a:lnTo>
                    <a:pt x="693" y="48"/>
                  </a:lnTo>
                  <a:lnTo>
                    <a:pt x="727" y="65"/>
                  </a:lnTo>
                  <a:lnTo>
                    <a:pt x="727" y="81"/>
                  </a:lnTo>
                  <a:lnTo>
                    <a:pt x="762" y="81"/>
                  </a:lnTo>
                  <a:lnTo>
                    <a:pt x="796" y="48"/>
                  </a:lnTo>
                  <a:lnTo>
                    <a:pt x="831" y="33"/>
                  </a:lnTo>
                  <a:lnTo>
                    <a:pt x="848" y="81"/>
                  </a:lnTo>
                  <a:lnTo>
                    <a:pt x="917" y="192"/>
                  </a:lnTo>
                  <a:lnTo>
                    <a:pt x="935" y="161"/>
                  </a:lnTo>
                  <a:lnTo>
                    <a:pt x="952" y="192"/>
                  </a:lnTo>
                  <a:lnTo>
                    <a:pt x="1004" y="177"/>
                  </a:lnTo>
                  <a:lnTo>
                    <a:pt x="1056" y="225"/>
                  </a:lnTo>
                  <a:lnTo>
                    <a:pt x="1092" y="240"/>
                  </a:lnTo>
                  <a:lnTo>
                    <a:pt x="1092" y="225"/>
                  </a:lnTo>
                  <a:lnTo>
                    <a:pt x="1109" y="257"/>
                  </a:lnTo>
                  <a:lnTo>
                    <a:pt x="1092" y="273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95" name="Freeform 187">
              <a:extLst>
                <a:ext uri="{FF2B5EF4-FFF2-40B4-BE49-F238E27FC236}">
                  <a16:creationId xmlns:a16="http://schemas.microsoft.com/office/drawing/2014/main" id="{D8453C42-12D4-EA0E-DAF5-7326ED60CA52}"/>
                </a:ext>
              </a:extLst>
            </p:cNvPr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6472578" y="3831838"/>
              <a:ext cx="300910" cy="191635"/>
            </a:xfrm>
            <a:custGeom>
              <a:avLst/>
              <a:gdLst>
                <a:gd name="T0" fmla="*/ 75029 w 400"/>
                <a:gd name="T1" fmla="*/ 38100 h 240"/>
                <a:gd name="T2" fmla="*/ 75029 w 400"/>
                <a:gd name="T3" fmla="*/ 38100 h 240"/>
                <a:gd name="T4" fmla="*/ 71870 w 400"/>
                <a:gd name="T5" fmla="*/ 34925 h 240"/>
                <a:gd name="T6" fmla="*/ 71870 w 400"/>
                <a:gd name="T7" fmla="*/ 38100 h 240"/>
                <a:gd name="T8" fmla="*/ 67921 w 400"/>
                <a:gd name="T9" fmla="*/ 38100 h 240"/>
                <a:gd name="T10" fmla="*/ 64762 w 400"/>
                <a:gd name="T11" fmla="*/ 44450 h 240"/>
                <a:gd name="T12" fmla="*/ 57654 w 400"/>
                <a:gd name="T13" fmla="*/ 44450 h 240"/>
                <a:gd name="T14" fmla="*/ 57654 w 400"/>
                <a:gd name="T15" fmla="*/ 47625 h 240"/>
                <a:gd name="T16" fmla="*/ 47387 w 400"/>
                <a:gd name="T17" fmla="*/ 47625 h 240"/>
                <a:gd name="T18" fmla="*/ 47387 w 400"/>
                <a:gd name="T19" fmla="*/ 44450 h 240"/>
                <a:gd name="T20" fmla="*/ 47387 w 400"/>
                <a:gd name="T21" fmla="*/ 42069 h 240"/>
                <a:gd name="T22" fmla="*/ 26853 w 400"/>
                <a:gd name="T23" fmla="*/ 32544 h 240"/>
                <a:gd name="T24" fmla="*/ 16585 w 400"/>
                <a:gd name="T25" fmla="*/ 32544 h 240"/>
                <a:gd name="T26" fmla="*/ 10267 w 400"/>
                <a:gd name="T27" fmla="*/ 34925 h 240"/>
                <a:gd name="T28" fmla="*/ 10267 w 400"/>
                <a:gd name="T29" fmla="*/ 26194 h 240"/>
                <a:gd name="T30" fmla="*/ 6318 w 400"/>
                <a:gd name="T31" fmla="*/ 26194 h 240"/>
                <a:gd name="T32" fmla="*/ 6318 w 400"/>
                <a:gd name="T33" fmla="*/ 19050 h 240"/>
                <a:gd name="T34" fmla="*/ 3159 w 400"/>
                <a:gd name="T35" fmla="*/ 19050 h 240"/>
                <a:gd name="T36" fmla="*/ 3159 w 400"/>
                <a:gd name="T37" fmla="*/ 16669 h 240"/>
                <a:gd name="T38" fmla="*/ 10267 w 400"/>
                <a:gd name="T39" fmla="*/ 16669 h 240"/>
                <a:gd name="T40" fmla="*/ 13426 w 400"/>
                <a:gd name="T41" fmla="*/ 13494 h 240"/>
                <a:gd name="T42" fmla="*/ 6318 w 400"/>
                <a:gd name="T43" fmla="*/ 7144 h 240"/>
                <a:gd name="T44" fmla="*/ 3159 w 400"/>
                <a:gd name="T45" fmla="*/ 7144 h 240"/>
                <a:gd name="T46" fmla="*/ 3159 w 400"/>
                <a:gd name="T47" fmla="*/ 13494 h 240"/>
                <a:gd name="T48" fmla="*/ 0 w 400"/>
                <a:gd name="T49" fmla="*/ 7144 h 240"/>
                <a:gd name="T50" fmla="*/ 10267 w 400"/>
                <a:gd name="T51" fmla="*/ 3969 h 240"/>
                <a:gd name="T52" fmla="*/ 16585 w 400"/>
                <a:gd name="T53" fmla="*/ 9525 h 240"/>
                <a:gd name="T54" fmla="*/ 20534 w 400"/>
                <a:gd name="T55" fmla="*/ 9525 h 240"/>
                <a:gd name="T56" fmla="*/ 23693 w 400"/>
                <a:gd name="T57" fmla="*/ 9525 h 240"/>
                <a:gd name="T58" fmla="*/ 23693 w 400"/>
                <a:gd name="T59" fmla="*/ 7144 h 240"/>
                <a:gd name="T60" fmla="*/ 30802 w 400"/>
                <a:gd name="T61" fmla="*/ 3969 h 240"/>
                <a:gd name="T62" fmla="*/ 33961 w 400"/>
                <a:gd name="T63" fmla="*/ 3969 h 240"/>
                <a:gd name="T64" fmla="*/ 30802 w 400"/>
                <a:gd name="T65" fmla="*/ 0 h 240"/>
                <a:gd name="T66" fmla="*/ 33961 w 400"/>
                <a:gd name="T67" fmla="*/ 0 h 240"/>
                <a:gd name="T68" fmla="*/ 40279 w 400"/>
                <a:gd name="T69" fmla="*/ 3969 h 240"/>
                <a:gd name="T70" fmla="*/ 40279 w 400"/>
                <a:gd name="T71" fmla="*/ 9525 h 240"/>
                <a:gd name="T72" fmla="*/ 50546 w 400"/>
                <a:gd name="T73" fmla="*/ 9525 h 240"/>
                <a:gd name="T74" fmla="*/ 54495 w 400"/>
                <a:gd name="T75" fmla="*/ 19050 h 240"/>
                <a:gd name="T76" fmla="*/ 71870 w 400"/>
                <a:gd name="T77" fmla="*/ 28575 h 240"/>
                <a:gd name="T78" fmla="*/ 78188 w 400"/>
                <a:gd name="T79" fmla="*/ 32544 h 240"/>
                <a:gd name="T80" fmla="*/ 75029 w 400"/>
                <a:gd name="T81" fmla="*/ 38100 h 24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400"/>
                <a:gd name="T124" fmla="*/ 0 h 240"/>
                <a:gd name="T125" fmla="*/ 400 w 400"/>
                <a:gd name="T126" fmla="*/ 240 h 24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400" h="240">
                  <a:moveTo>
                    <a:pt x="382" y="192"/>
                  </a:moveTo>
                  <a:lnTo>
                    <a:pt x="382" y="192"/>
                  </a:lnTo>
                  <a:lnTo>
                    <a:pt x="365" y="176"/>
                  </a:lnTo>
                  <a:lnTo>
                    <a:pt x="365" y="192"/>
                  </a:lnTo>
                  <a:lnTo>
                    <a:pt x="348" y="192"/>
                  </a:lnTo>
                  <a:lnTo>
                    <a:pt x="330" y="224"/>
                  </a:lnTo>
                  <a:lnTo>
                    <a:pt x="296" y="224"/>
                  </a:lnTo>
                  <a:lnTo>
                    <a:pt x="296" y="240"/>
                  </a:lnTo>
                  <a:lnTo>
                    <a:pt x="242" y="240"/>
                  </a:lnTo>
                  <a:lnTo>
                    <a:pt x="242" y="224"/>
                  </a:lnTo>
                  <a:lnTo>
                    <a:pt x="242" y="209"/>
                  </a:lnTo>
                  <a:lnTo>
                    <a:pt x="139" y="161"/>
                  </a:lnTo>
                  <a:lnTo>
                    <a:pt x="87" y="161"/>
                  </a:lnTo>
                  <a:lnTo>
                    <a:pt x="52" y="176"/>
                  </a:lnTo>
                  <a:lnTo>
                    <a:pt x="52" y="129"/>
                  </a:lnTo>
                  <a:lnTo>
                    <a:pt x="35" y="129"/>
                  </a:lnTo>
                  <a:lnTo>
                    <a:pt x="35" y="96"/>
                  </a:lnTo>
                  <a:lnTo>
                    <a:pt x="18" y="96"/>
                  </a:lnTo>
                  <a:lnTo>
                    <a:pt x="18" y="81"/>
                  </a:lnTo>
                  <a:lnTo>
                    <a:pt x="52" y="81"/>
                  </a:lnTo>
                  <a:lnTo>
                    <a:pt x="69" y="65"/>
                  </a:lnTo>
                  <a:lnTo>
                    <a:pt x="35" y="33"/>
                  </a:lnTo>
                  <a:lnTo>
                    <a:pt x="18" y="33"/>
                  </a:lnTo>
                  <a:lnTo>
                    <a:pt x="18" y="65"/>
                  </a:lnTo>
                  <a:lnTo>
                    <a:pt x="0" y="33"/>
                  </a:lnTo>
                  <a:lnTo>
                    <a:pt x="52" y="17"/>
                  </a:lnTo>
                  <a:lnTo>
                    <a:pt x="87" y="48"/>
                  </a:lnTo>
                  <a:lnTo>
                    <a:pt x="104" y="48"/>
                  </a:lnTo>
                  <a:lnTo>
                    <a:pt x="121" y="48"/>
                  </a:lnTo>
                  <a:lnTo>
                    <a:pt x="121" y="33"/>
                  </a:lnTo>
                  <a:lnTo>
                    <a:pt x="156" y="17"/>
                  </a:lnTo>
                  <a:lnTo>
                    <a:pt x="173" y="17"/>
                  </a:lnTo>
                  <a:lnTo>
                    <a:pt x="156" y="0"/>
                  </a:lnTo>
                  <a:lnTo>
                    <a:pt x="173" y="0"/>
                  </a:lnTo>
                  <a:lnTo>
                    <a:pt x="208" y="17"/>
                  </a:lnTo>
                  <a:lnTo>
                    <a:pt x="208" y="48"/>
                  </a:lnTo>
                  <a:lnTo>
                    <a:pt x="259" y="48"/>
                  </a:lnTo>
                  <a:lnTo>
                    <a:pt x="279" y="96"/>
                  </a:lnTo>
                  <a:lnTo>
                    <a:pt x="365" y="144"/>
                  </a:lnTo>
                  <a:lnTo>
                    <a:pt x="400" y="161"/>
                  </a:lnTo>
                  <a:lnTo>
                    <a:pt x="382" y="192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96" name="Freeform 188">
              <a:extLst>
                <a:ext uri="{FF2B5EF4-FFF2-40B4-BE49-F238E27FC236}">
                  <a16:creationId xmlns:a16="http://schemas.microsoft.com/office/drawing/2014/main" id="{2A9DBE7B-464B-1979-5B92-830EF20F3CD0}"/>
                </a:ext>
              </a:extLst>
            </p:cNvPr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6549775" y="3755183"/>
              <a:ext cx="354476" cy="229962"/>
            </a:xfrm>
            <a:custGeom>
              <a:avLst/>
              <a:gdLst>
                <a:gd name="T0" fmla="*/ 55800 w 468"/>
                <a:gd name="T1" fmla="*/ 57150 h 288"/>
                <a:gd name="T2" fmla="*/ 55800 w 468"/>
                <a:gd name="T3" fmla="*/ 57150 h 288"/>
                <a:gd name="T4" fmla="*/ 62177 w 468"/>
                <a:gd name="T5" fmla="*/ 57150 h 288"/>
                <a:gd name="T6" fmla="*/ 66163 w 468"/>
                <a:gd name="T7" fmla="*/ 51594 h 288"/>
                <a:gd name="T8" fmla="*/ 66163 w 468"/>
                <a:gd name="T9" fmla="*/ 44450 h 288"/>
                <a:gd name="T10" fmla="*/ 62177 w 468"/>
                <a:gd name="T11" fmla="*/ 41275 h 288"/>
                <a:gd name="T12" fmla="*/ 69351 w 468"/>
                <a:gd name="T13" fmla="*/ 41275 h 288"/>
                <a:gd name="T14" fmla="*/ 72540 w 468"/>
                <a:gd name="T15" fmla="*/ 34925 h 288"/>
                <a:gd name="T16" fmla="*/ 72540 w 468"/>
                <a:gd name="T17" fmla="*/ 31750 h 288"/>
                <a:gd name="T18" fmla="*/ 79714 w 468"/>
                <a:gd name="T19" fmla="*/ 31750 h 288"/>
                <a:gd name="T20" fmla="*/ 79714 w 468"/>
                <a:gd name="T21" fmla="*/ 34925 h 288"/>
                <a:gd name="T22" fmla="*/ 86889 w 468"/>
                <a:gd name="T23" fmla="*/ 34925 h 288"/>
                <a:gd name="T24" fmla="*/ 94063 w 468"/>
                <a:gd name="T25" fmla="*/ 31750 h 288"/>
                <a:gd name="T26" fmla="*/ 86889 w 468"/>
                <a:gd name="T27" fmla="*/ 28575 h 288"/>
                <a:gd name="T28" fmla="*/ 83700 w 468"/>
                <a:gd name="T29" fmla="*/ 28575 h 288"/>
                <a:gd name="T30" fmla="*/ 76526 w 468"/>
                <a:gd name="T31" fmla="*/ 28575 h 288"/>
                <a:gd name="T32" fmla="*/ 83700 w 468"/>
                <a:gd name="T33" fmla="*/ 22225 h 288"/>
                <a:gd name="T34" fmla="*/ 79714 w 468"/>
                <a:gd name="T35" fmla="*/ 22225 h 288"/>
                <a:gd name="T36" fmla="*/ 69351 w 468"/>
                <a:gd name="T37" fmla="*/ 31750 h 288"/>
                <a:gd name="T38" fmla="*/ 66163 w 468"/>
                <a:gd name="T39" fmla="*/ 28575 h 288"/>
                <a:gd name="T40" fmla="*/ 58989 w 468"/>
                <a:gd name="T41" fmla="*/ 28575 h 288"/>
                <a:gd name="T42" fmla="*/ 58989 w 468"/>
                <a:gd name="T43" fmla="*/ 26194 h 288"/>
                <a:gd name="T44" fmla="*/ 55800 w 468"/>
                <a:gd name="T45" fmla="*/ 26194 h 288"/>
                <a:gd name="T46" fmla="*/ 55800 w 468"/>
                <a:gd name="T47" fmla="*/ 19050 h 288"/>
                <a:gd name="T48" fmla="*/ 48626 w 468"/>
                <a:gd name="T49" fmla="*/ 13494 h 288"/>
                <a:gd name="T50" fmla="*/ 31089 w 468"/>
                <a:gd name="T51" fmla="*/ 13494 h 288"/>
                <a:gd name="T52" fmla="*/ 20726 w 468"/>
                <a:gd name="T53" fmla="*/ 3969 h 288"/>
                <a:gd name="T54" fmla="*/ 14349 w 468"/>
                <a:gd name="T55" fmla="*/ 0 h 288"/>
                <a:gd name="T56" fmla="*/ 0 w 468"/>
                <a:gd name="T57" fmla="*/ 3969 h 288"/>
                <a:gd name="T58" fmla="*/ 0 w 468"/>
                <a:gd name="T59" fmla="*/ 28575 h 288"/>
                <a:gd name="T60" fmla="*/ 3986 w 468"/>
                <a:gd name="T61" fmla="*/ 28575 h 288"/>
                <a:gd name="T62" fmla="*/ 3986 w 468"/>
                <a:gd name="T63" fmla="*/ 26194 h 288"/>
                <a:gd name="T64" fmla="*/ 10363 w 468"/>
                <a:gd name="T65" fmla="*/ 22225 h 288"/>
                <a:gd name="T66" fmla="*/ 14349 w 468"/>
                <a:gd name="T67" fmla="*/ 22225 h 288"/>
                <a:gd name="T68" fmla="*/ 10363 w 468"/>
                <a:gd name="T69" fmla="*/ 19050 h 288"/>
                <a:gd name="T70" fmla="*/ 14349 w 468"/>
                <a:gd name="T71" fmla="*/ 19050 h 288"/>
                <a:gd name="T72" fmla="*/ 20726 w 468"/>
                <a:gd name="T73" fmla="*/ 22225 h 288"/>
                <a:gd name="T74" fmla="*/ 20726 w 468"/>
                <a:gd name="T75" fmla="*/ 28575 h 288"/>
                <a:gd name="T76" fmla="*/ 31089 w 468"/>
                <a:gd name="T77" fmla="*/ 28575 h 288"/>
                <a:gd name="T78" fmla="*/ 35074 w 468"/>
                <a:gd name="T79" fmla="*/ 38100 h 288"/>
                <a:gd name="T80" fmla="*/ 51814 w 468"/>
                <a:gd name="T81" fmla="*/ 47625 h 288"/>
                <a:gd name="T82" fmla="*/ 58989 w 468"/>
                <a:gd name="T83" fmla="*/ 51594 h 288"/>
                <a:gd name="T84" fmla="*/ 55800 w 468"/>
                <a:gd name="T85" fmla="*/ 57150 h 28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68"/>
                <a:gd name="T130" fmla="*/ 0 h 288"/>
                <a:gd name="T131" fmla="*/ 468 w 468"/>
                <a:gd name="T132" fmla="*/ 288 h 28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68" h="288">
                  <a:moveTo>
                    <a:pt x="276" y="288"/>
                  </a:moveTo>
                  <a:lnTo>
                    <a:pt x="276" y="288"/>
                  </a:lnTo>
                  <a:lnTo>
                    <a:pt x="311" y="288"/>
                  </a:lnTo>
                  <a:lnTo>
                    <a:pt x="328" y="257"/>
                  </a:lnTo>
                  <a:lnTo>
                    <a:pt x="328" y="225"/>
                  </a:lnTo>
                  <a:lnTo>
                    <a:pt x="311" y="209"/>
                  </a:lnTo>
                  <a:lnTo>
                    <a:pt x="346" y="209"/>
                  </a:lnTo>
                  <a:lnTo>
                    <a:pt x="363" y="177"/>
                  </a:lnTo>
                  <a:lnTo>
                    <a:pt x="363" y="161"/>
                  </a:lnTo>
                  <a:lnTo>
                    <a:pt x="399" y="161"/>
                  </a:lnTo>
                  <a:lnTo>
                    <a:pt x="399" y="177"/>
                  </a:lnTo>
                  <a:lnTo>
                    <a:pt x="434" y="177"/>
                  </a:lnTo>
                  <a:lnTo>
                    <a:pt x="468" y="161"/>
                  </a:lnTo>
                  <a:lnTo>
                    <a:pt x="434" y="144"/>
                  </a:lnTo>
                  <a:lnTo>
                    <a:pt x="417" y="144"/>
                  </a:lnTo>
                  <a:lnTo>
                    <a:pt x="380" y="144"/>
                  </a:lnTo>
                  <a:lnTo>
                    <a:pt x="417" y="113"/>
                  </a:lnTo>
                  <a:lnTo>
                    <a:pt x="399" y="113"/>
                  </a:lnTo>
                  <a:lnTo>
                    <a:pt x="346" y="161"/>
                  </a:lnTo>
                  <a:lnTo>
                    <a:pt x="328" y="144"/>
                  </a:lnTo>
                  <a:lnTo>
                    <a:pt x="294" y="144"/>
                  </a:lnTo>
                  <a:lnTo>
                    <a:pt x="294" y="129"/>
                  </a:lnTo>
                  <a:lnTo>
                    <a:pt x="276" y="129"/>
                  </a:lnTo>
                  <a:lnTo>
                    <a:pt x="276" y="96"/>
                  </a:lnTo>
                  <a:lnTo>
                    <a:pt x="242" y="65"/>
                  </a:lnTo>
                  <a:lnTo>
                    <a:pt x="155" y="65"/>
                  </a:lnTo>
                  <a:lnTo>
                    <a:pt x="104" y="17"/>
                  </a:lnTo>
                  <a:lnTo>
                    <a:pt x="69" y="0"/>
                  </a:lnTo>
                  <a:lnTo>
                    <a:pt x="0" y="17"/>
                  </a:lnTo>
                  <a:lnTo>
                    <a:pt x="0" y="144"/>
                  </a:lnTo>
                  <a:lnTo>
                    <a:pt x="17" y="144"/>
                  </a:lnTo>
                  <a:lnTo>
                    <a:pt x="17" y="129"/>
                  </a:lnTo>
                  <a:lnTo>
                    <a:pt x="52" y="113"/>
                  </a:lnTo>
                  <a:lnTo>
                    <a:pt x="69" y="113"/>
                  </a:lnTo>
                  <a:lnTo>
                    <a:pt x="52" y="96"/>
                  </a:lnTo>
                  <a:lnTo>
                    <a:pt x="69" y="96"/>
                  </a:lnTo>
                  <a:lnTo>
                    <a:pt x="104" y="113"/>
                  </a:lnTo>
                  <a:lnTo>
                    <a:pt x="104" y="144"/>
                  </a:lnTo>
                  <a:lnTo>
                    <a:pt x="155" y="144"/>
                  </a:lnTo>
                  <a:lnTo>
                    <a:pt x="173" y="192"/>
                  </a:lnTo>
                  <a:lnTo>
                    <a:pt x="259" y="240"/>
                  </a:lnTo>
                  <a:lnTo>
                    <a:pt x="294" y="257"/>
                  </a:lnTo>
                  <a:lnTo>
                    <a:pt x="276" y="288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97" name="Freeform 189">
              <a:extLst>
                <a:ext uri="{FF2B5EF4-FFF2-40B4-BE49-F238E27FC236}">
                  <a16:creationId xmlns:a16="http://schemas.microsoft.com/office/drawing/2014/main" id="{32573F14-C347-0115-370B-F829AB0AFE01}"/>
                </a:ext>
              </a:extLst>
            </p:cNvPr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6786091" y="3885162"/>
              <a:ext cx="157545" cy="114981"/>
            </a:xfrm>
            <a:custGeom>
              <a:avLst/>
              <a:gdLst>
                <a:gd name="T0" fmla="*/ 35092 w 209"/>
                <a:gd name="T1" fmla="*/ 9525 h 144"/>
                <a:gd name="T2" fmla="*/ 35092 w 209"/>
                <a:gd name="T3" fmla="*/ 9525 h 144"/>
                <a:gd name="T4" fmla="*/ 35092 w 209"/>
                <a:gd name="T5" fmla="*/ 15081 h 144"/>
                <a:gd name="T6" fmla="*/ 42270 w 209"/>
                <a:gd name="T7" fmla="*/ 15081 h 144"/>
                <a:gd name="T8" fmla="*/ 42270 w 209"/>
                <a:gd name="T9" fmla="*/ 24606 h 144"/>
                <a:gd name="T10" fmla="*/ 31902 w 209"/>
                <a:gd name="T11" fmla="*/ 21431 h 144"/>
                <a:gd name="T12" fmla="*/ 24724 w 209"/>
                <a:gd name="T13" fmla="*/ 28575 h 144"/>
                <a:gd name="T14" fmla="*/ 21534 w 209"/>
                <a:gd name="T15" fmla="*/ 19050 h 144"/>
                <a:gd name="T16" fmla="*/ 17546 w 209"/>
                <a:gd name="T17" fmla="*/ 15081 h 144"/>
                <a:gd name="T18" fmla="*/ 14356 w 209"/>
                <a:gd name="T19" fmla="*/ 21431 h 144"/>
                <a:gd name="T20" fmla="*/ 11166 w 209"/>
                <a:gd name="T21" fmla="*/ 21431 h 144"/>
                <a:gd name="T22" fmla="*/ 11166 w 209"/>
                <a:gd name="T23" fmla="*/ 24606 h 144"/>
                <a:gd name="T24" fmla="*/ 3988 w 209"/>
                <a:gd name="T25" fmla="*/ 24606 h 144"/>
                <a:gd name="T26" fmla="*/ 0 w 209"/>
                <a:gd name="T27" fmla="*/ 24606 h 144"/>
                <a:gd name="T28" fmla="*/ 3988 w 209"/>
                <a:gd name="T29" fmla="*/ 19050 h 144"/>
                <a:gd name="T30" fmla="*/ 3988 w 209"/>
                <a:gd name="T31" fmla="*/ 12700 h 144"/>
                <a:gd name="T32" fmla="*/ 0 w 209"/>
                <a:gd name="T33" fmla="*/ 9525 h 144"/>
                <a:gd name="T34" fmla="*/ 7178 w 209"/>
                <a:gd name="T35" fmla="*/ 9525 h 144"/>
                <a:gd name="T36" fmla="*/ 11166 w 209"/>
                <a:gd name="T37" fmla="*/ 3175 h 144"/>
                <a:gd name="T38" fmla="*/ 11166 w 209"/>
                <a:gd name="T39" fmla="*/ 0 h 144"/>
                <a:gd name="T40" fmla="*/ 17546 w 209"/>
                <a:gd name="T41" fmla="*/ 0 h 144"/>
                <a:gd name="T42" fmla="*/ 17546 w 209"/>
                <a:gd name="T43" fmla="*/ 3175 h 144"/>
                <a:gd name="T44" fmla="*/ 17546 w 209"/>
                <a:gd name="T45" fmla="*/ 5556 h 144"/>
                <a:gd name="T46" fmla="*/ 11166 w 209"/>
                <a:gd name="T47" fmla="*/ 5556 h 144"/>
                <a:gd name="T48" fmla="*/ 11166 w 209"/>
                <a:gd name="T49" fmla="*/ 9525 h 144"/>
                <a:gd name="T50" fmla="*/ 21534 w 209"/>
                <a:gd name="T51" fmla="*/ 9525 h 144"/>
                <a:gd name="T52" fmla="*/ 24724 w 209"/>
                <a:gd name="T53" fmla="*/ 9525 h 144"/>
                <a:gd name="T54" fmla="*/ 35092 w 209"/>
                <a:gd name="T55" fmla="*/ 9525 h 14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09"/>
                <a:gd name="T85" fmla="*/ 0 h 144"/>
                <a:gd name="T86" fmla="*/ 209 w 209"/>
                <a:gd name="T87" fmla="*/ 144 h 144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09" h="144">
                  <a:moveTo>
                    <a:pt x="175" y="48"/>
                  </a:moveTo>
                  <a:lnTo>
                    <a:pt x="175" y="48"/>
                  </a:lnTo>
                  <a:lnTo>
                    <a:pt x="175" y="79"/>
                  </a:lnTo>
                  <a:lnTo>
                    <a:pt x="209" y="79"/>
                  </a:lnTo>
                  <a:lnTo>
                    <a:pt x="209" y="127"/>
                  </a:lnTo>
                  <a:lnTo>
                    <a:pt x="157" y="111"/>
                  </a:lnTo>
                  <a:lnTo>
                    <a:pt x="123" y="144"/>
                  </a:lnTo>
                  <a:lnTo>
                    <a:pt x="106" y="96"/>
                  </a:lnTo>
                  <a:lnTo>
                    <a:pt x="88" y="79"/>
                  </a:lnTo>
                  <a:lnTo>
                    <a:pt x="71" y="111"/>
                  </a:lnTo>
                  <a:lnTo>
                    <a:pt x="54" y="111"/>
                  </a:lnTo>
                  <a:lnTo>
                    <a:pt x="54" y="127"/>
                  </a:lnTo>
                  <a:lnTo>
                    <a:pt x="17" y="127"/>
                  </a:lnTo>
                  <a:lnTo>
                    <a:pt x="0" y="127"/>
                  </a:lnTo>
                  <a:lnTo>
                    <a:pt x="17" y="96"/>
                  </a:lnTo>
                  <a:lnTo>
                    <a:pt x="17" y="64"/>
                  </a:lnTo>
                  <a:lnTo>
                    <a:pt x="0" y="48"/>
                  </a:lnTo>
                  <a:lnTo>
                    <a:pt x="35" y="48"/>
                  </a:lnTo>
                  <a:lnTo>
                    <a:pt x="54" y="16"/>
                  </a:lnTo>
                  <a:lnTo>
                    <a:pt x="54" y="0"/>
                  </a:lnTo>
                  <a:lnTo>
                    <a:pt x="88" y="0"/>
                  </a:lnTo>
                  <a:lnTo>
                    <a:pt x="88" y="16"/>
                  </a:lnTo>
                  <a:lnTo>
                    <a:pt x="88" y="31"/>
                  </a:lnTo>
                  <a:lnTo>
                    <a:pt x="54" y="31"/>
                  </a:lnTo>
                  <a:lnTo>
                    <a:pt x="54" y="48"/>
                  </a:lnTo>
                  <a:lnTo>
                    <a:pt x="106" y="48"/>
                  </a:lnTo>
                  <a:lnTo>
                    <a:pt x="123" y="48"/>
                  </a:lnTo>
                  <a:lnTo>
                    <a:pt x="175" y="48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98" name="Freeform 190">
              <a:extLst>
                <a:ext uri="{FF2B5EF4-FFF2-40B4-BE49-F238E27FC236}">
                  <a16:creationId xmlns:a16="http://schemas.microsoft.com/office/drawing/2014/main" id="{83AD56B5-A961-4A03-93D3-220A216D1EC8}"/>
                </a:ext>
              </a:extLst>
            </p:cNvPr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6825478" y="3818506"/>
              <a:ext cx="223713" cy="104982"/>
            </a:xfrm>
            <a:custGeom>
              <a:avLst/>
              <a:gdLst>
                <a:gd name="T0" fmla="*/ 58937 w 295"/>
                <a:gd name="T1" fmla="*/ 6449 h 128"/>
                <a:gd name="T2" fmla="*/ 58937 w 295"/>
                <a:gd name="T3" fmla="*/ 6449 h 128"/>
                <a:gd name="T4" fmla="*/ 58937 w 295"/>
                <a:gd name="T5" fmla="*/ 9674 h 128"/>
                <a:gd name="T6" fmla="*/ 48583 w 295"/>
                <a:gd name="T7" fmla="*/ 16929 h 128"/>
                <a:gd name="T8" fmla="*/ 41415 w 295"/>
                <a:gd name="T9" fmla="*/ 16929 h 128"/>
                <a:gd name="T10" fmla="*/ 38229 w 295"/>
                <a:gd name="T11" fmla="*/ 20154 h 128"/>
                <a:gd name="T12" fmla="*/ 31061 w 295"/>
                <a:gd name="T13" fmla="*/ 20154 h 128"/>
                <a:gd name="T14" fmla="*/ 24690 w 295"/>
                <a:gd name="T15" fmla="*/ 22572 h 128"/>
                <a:gd name="T16" fmla="*/ 24690 w 295"/>
                <a:gd name="T17" fmla="*/ 26603 h 128"/>
                <a:gd name="T18" fmla="*/ 14336 w 295"/>
                <a:gd name="T19" fmla="*/ 26603 h 128"/>
                <a:gd name="T20" fmla="*/ 10354 w 295"/>
                <a:gd name="T21" fmla="*/ 26603 h 128"/>
                <a:gd name="T22" fmla="*/ 0 w 295"/>
                <a:gd name="T23" fmla="*/ 26603 h 128"/>
                <a:gd name="T24" fmla="*/ 0 w 295"/>
                <a:gd name="T25" fmla="*/ 22572 h 128"/>
                <a:gd name="T26" fmla="*/ 7168 w 295"/>
                <a:gd name="T27" fmla="*/ 22572 h 128"/>
                <a:gd name="T28" fmla="*/ 7168 w 295"/>
                <a:gd name="T29" fmla="*/ 20154 h 128"/>
                <a:gd name="T30" fmla="*/ 14336 w 295"/>
                <a:gd name="T31" fmla="*/ 20154 h 128"/>
                <a:gd name="T32" fmla="*/ 20707 w 295"/>
                <a:gd name="T33" fmla="*/ 16929 h 128"/>
                <a:gd name="T34" fmla="*/ 14336 w 295"/>
                <a:gd name="T35" fmla="*/ 12899 h 128"/>
                <a:gd name="T36" fmla="*/ 10354 w 295"/>
                <a:gd name="T37" fmla="*/ 12899 h 128"/>
                <a:gd name="T38" fmla="*/ 3982 w 295"/>
                <a:gd name="T39" fmla="*/ 12899 h 128"/>
                <a:gd name="T40" fmla="*/ 10354 w 295"/>
                <a:gd name="T41" fmla="*/ 6449 h 128"/>
                <a:gd name="T42" fmla="*/ 7168 w 295"/>
                <a:gd name="T43" fmla="*/ 6449 h 128"/>
                <a:gd name="T44" fmla="*/ 10354 w 295"/>
                <a:gd name="T45" fmla="*/ 3225 h 128"/>
                <a:gd name="T46" fmla="*/ 20707 w 295"/>
                <a:gd name="T47" fmla="*/ 6449 h 128"/>
                <a:gd name="T48" fmla="*/ 20707 w 295"/>
                <a:gd name="T49" fmla="*/ 3225 h 128"/>
                <a:gd name="T50" fmla="*/ 24690 w 295"/>
                <a:gd name="T51" fmla="*/ 0 h 128"/>
                <a:gd name="T52" fmla="*/ 31061 w 295"/>
                <a:gd name="T53" fmla="*/ 3225 h 128"/>
                <a:gd name="T54" fmla="*/ 51769 w 295"/>
                <a:gd name="T55" fmla="*/ 3225 h 128"/>
                <a:gd name="T56" fmla="*/ 58937 w 295"/>
                <a:gd name="T57" fmla="*/ 6449 h 128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95"/>
                <a:gd name="T88" fmla="*/ 0 h 128"/>
                <a:gd name="T89" fmla="*/ 295 w 295"/>
                <a:gd name="T90" fmla="*/ 128 h 128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95" h="128">
                  <a:moveTo>
                    <a:pt x="295" y="32"/>
                  </a:moveTo>
                  <a:lnTo>
                    <a:pt x="295" y="32"/>
                  </a:lnTo>
                  <a:lnTo>
                    <a:pt x="295" y="48"/>
                  </a:lnTo>
                  <a:lnTo>
                    <a:pt x="242" y="80"/>
                  </a:lnTo>
                  <a:lnTo>
                    <a:pt x="207" y="80"/>
                  </a:lnTo>
                  <a:lnTo>
                    <a:pt x="190" y="96"/>
                  </a:lnTo>
                  <a:lnTo>
                    <a:pt x="155" y="96"/>
                  </a:lnTo>
                  <a:lnTo>
                    <a:pt x="121" y="111"/>
                  </a:lnTo>
                  <a:lnTo>
                    <a:pt x="121" y="128"/>
                  </a:lnTo>
                  <a:lnTo>
                    <a:pt x="69" y="128"/>
                  </a:lnTo>
                  <a:lnTo>
                    <a:pt x="52" y="128"/>
                  </a:lnTo>
                  <a:lnTo>
                    <a:pt x="0" y="128"/>
                  </a:lnTo>
                  <a:lnTo>
                    <a:pt x="0" y="111"/>
                  </a:lnTo>
                  <a:lnTo>
                    <a:pt x="34" y="111"/>
                  </a:lnTo>
                  <a:lnTo>
                    <a:pt x="34" y="96"/>
                  </a:lnTo>
                  <a:lnTo>
                    <a:pt x="69" y="96"/>
                  </a:lnTo>
                  <a:lnTo>
                    <a:pt x="103" y="80"/>
                  </a:lnTo>
                  <a:lnTo>
                    <a:pt x="69" y="63"/>
                  </a:lnTo>
                  <a:lnTo>
                    <a:pt x="52" y="63"/>
                  </a:lnTo>
                  <a:lnTo>
                    <a:pt x="17" y="63"/>
                  </a:lnTo>
                  <a:lnTo>
                    <a:pt x="52" y="32"/>
                  </a:lnTo>
                  <a:lnTo>
                    <a:pt x="34" y="32"/>
                  </a:lnTo>
                  <a:lnTo>
                    <a:pt x="52" y="15"/>
                  </a:lnTo>
                  <a:lnTo>
                    <a:pt x="103" y="32"/>
                  </a:lnTo>
                  <a:lnTo>
                    <a:pt x="103" y="15"/>
                  </a:lnTo>
                  <a:lnTo>
                    <a:pt x="121" y="0"/>
                  </a:lnTo>
                  <a:lnTo>
                    <a:pt x="155" y="15"/>
                  </a:lnTo>
                  <a:lnTo>
                    <a:pt x="259" y="15"/>
                  </a:lnTo>
                  <a:lnTo>
                    <a:pt x="295" y="32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99" name="Freeform 191">
              <a:extLst>
                <a:ext uri="{FF2B5EF4-FFF2-40B4-BE49-F238E27FC236}">
                  <a16:creationId xmlns:a16="http://schemas.microsoft.com/office/drawing/2014/main" id="{E0984A4D-87BF-5873-C8B1-F838FE83F6BC}"/>
                </a:ext>
              </a:extLst>
            </p:cNvPr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6656905" y="3985146"/>
              <a:ext cx="297760" cy="319947"/>
            </a:xfrm>
            <a:custGeom>
              <a:avLst/>
              <a:gdLst>
                <a:gd name="T0" fmla="*/ 3168 w 449"/>
                <a:gd name="T1" fmla="*/ 69676 h 401"/>
                <a:gd name="T2" fmla="*/ 3168 w 449"/>
                <a:gd name="T3" fmla="*/ 69676 h 401"/>
                <a:gd name="T4" fmla="*/ 3168 w 449"/>
                <a:gd name="T5" fmla="*/ 63342 h 401"/>
                <a:gd name="T6" fmla="*/ 10296 w 449"/>
                <a:gd name="T7" fmla="*/ 60175 h 401"/>
                <a:gd name="T8" fmla="*/ 6336 w 449"/>
                <a:gd name="T9" fmla="*/ 53840 h 401"/>
                <a:gd name="T10" fmla="*/ 3168 w 449"/>
                <a:gd name="T11" fmla="*/ 50673 h 401"/>
                <a:gd name="T12" fmla="*/ 0 w 449"/>
                <a:gd name="T13" fmla="*/ 44339 h 401"/>
                <a:gd name="T14" fmla="*/ 6336 w 449"/>
                <a:gd name="T15" fmla="*/ 47506 h 401"/>
                <a:gd name="T16" fmla="*/ 26927 w 449"/>
                <a:gd name="T17" fmla="*/ 44339 h 401"/>
                <a:gd name="T18" fmla="*/ 26927 w 449"/>
                <a:gd name="T19" fmla="*/ 38005 h 401"/>
                <a:gd name="T20" fmla="*/ 30887 w 449"/>
                <a:gd name="T21" fmla="*/ 34838 h 401"/>
                <a:gd name="T22" fmla="*/ 44351 w 449"/>
                <a:gd name="T23" fmla="*/ 31671 h 401"/>
                <a:gd name="T24" fmla="*/ 44351 w 449"/>
                <a:gd name="T25" fmla="*/ 25337 h 401"/>
                <a:gd name="T26" fmla="*/ 47519 w 449"/>
                <a:gd name="T27" fmla="*/ 22170 h 401"/>
                <a:gd name="T28" fmla="*/ 47519 w 449"/>
                <a:gd name="T29" fmla="*/ 19002 h 401"/>
                <a:gd name="T30" fmla="*/ 50687 w 449"/>
                <a:gd name="T31" fmla="*/ 19002 h 401"/>
                <a:gd name="T32" fmla="*/ 54647 w 449"/>
                <a:gd name="T33" fmla="*/ 12668 h 401"/>
                <a:gd name="T34" fmla="*/ 54647 w 449"/>
                <a:gd name="T35" fmla="*/ 6334 h 401"/>
                <a:gd name="T36" fmla="*/ 60983 w 449"/>
                <a:gd name="T37" fmla="*/ 3167 h 401"/>
                <a:gd name="T38" fmla="*/ 68110 w 449"/>
                <a:gd name="T39" fmla="*/ 0 h 401"/>
                <a:gd name="T40" fmla="*/ 71278 w 449"/>
                <a:gd name="T41" fmla="*/ 0 h 401"/>
                <a:gd name="T42" fmla="*/ 78406 w 449"/>
                <a:gd name="T43" fmla="*/ 3167 h 401"/>
                <a:gd name="T44" fmla="*/ 81574 w 449"/>
                <a:gd name="T45" fmla="*/ 6334 h 401"/>
                <a:gd name="T46" fmla="*/ 88702 w 449"/>
                <a:gd name="T47" fmla="*/ 9501 h 401"/>
                <a:gd name="T48" fmla="*/ 85534 w 449"/>
                <a:gd name="T49" fmla="*/ 12668 h 401"/>
                <a:gd name="T50" fmla="*/ 78406 w 449"/>
                <a:gd name="T51" fmla="*/ 15835 h 401"/>
                <a:gd name="T52" fmla="*/ 71278 w 449"/>
                <a:gd name="T53" fmla="*/ 12668 h 401"/>
                <a:gd name="T54" fmla="*/ 68110 w 449"/>
                <a:gd name="T55" fmla="*/ 15835 h 401"/>
                <a:gd name="T56" fmla="*/ 71278 w 449"/>
                <a:gd name="T57" fmla="*/ 19002 h 401"/>
                <a:gd name="T58" fmla="*/ 68110 w 449"/>
                <a:gd name="T59" fmla="*/ 25337 h 401"/>
                <a:gd name="T60" fmla="*/ 75238 w 449"/>
                <a:gd name="T61" fmla="*/ 28504 h 401"/>
                <a:gd name="T62" fmla="*/ 75238 w 449"/>
                <a:gd name="T63" fmla="*/ 31671 h 401"/>
                <a:gd name="T64" fmla="*/ 71278 w 449"/>
                <a:gd name="T65" fmla="*/ 31671 h 401"/>
                <a:gd name="T66" fmla="*/ 75238 w 449"/>
                <a:gd name="T67" fmla="*/ 34838 h 401"/>
                <a:gd name="T68" fmla="*/ 57815 w 449"/>
                <a:gd name="T69" fmla="*/ 53840 h 401"/>
                <a:gd name="T70" fmla="*/ 50687 w 449"/>
                <a:gd name="T71" fmla="*/ 57007 h 401"/>
                <a:gd name="T72" fmla="*/ 47519 w 449"/>
                <a:gd name="T73" fmla="*/ 53840 h 401"/>
                <a:gd name="T74" fmla="*/ 44351 w 449"/>
                <a:gd name="T75" fmla="*/ 57007 h 401"/>
                <a:gd name="T76" fmla="*/ 44351 w 449"/>
                <a:gd name="T77" fmla="*/ 63342 h 401"/>
                <a:gd name="T78" fmla="*/ 47519 w 449"/>
                <a:gd name="T79" fmla="*/ 63342 h 401"/>
                <a:gd name="T80" fmla="*/ 47519 w 449"/>
                <a:gd name="T81" fmla="*/ 66509 h 401"/>
                <a:gd name="T82" fmla="*/ 50687 w 449"/>
                <a:gd name="T83" fmla="*/ 66509 h 401"/>
                <a:gd name="T84" fmla="*/ 50687 w 449"/>
                <a:gd name="T85" fmla="*/ 72843 h 401"/>
                <a:gd name="T86" fmla="*/ 50687 w 449"/>
                <a:gd name="T87" fmla="*/ 76010 h 401"/>
                <a:gd name="T88" fmla="*/ 40391 w 449"/>
                <a:gd name="T89" fmla="*/ 76010 h 401"/>
                <a:gd name="T90" fmla="*/ 37223 w 449"/>
                <a:gd name="T91" fmla="*/ 79177 h 401"/>
                <a:gd name="T92" fmla="*/ 34055 w 449"/>
                <a:gd name="T93" fmla="*/ 76010 h 401"/>
                <a:gd name="T94" fmla="*/ 30887 w 449"/>
                <a:gd name="T95" fmla="*/ 69676 h 401"/>
                <a:gd name="T96" fmla="*/ 20592 w 449"/>
                <a:gd name="T97" fmla="*/ 69676 h 401"/>
                <a:gd name="T98" fmla="*/ 13464 w 449"/>
                <a:gd name="T99" fmla="*/ 69676 h 401"/>
                <a:gd name="T100" fmla="*/ 3168 w 449"/>
                <a:gd name="T101" fmla="*/ 69676 h 40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9"/>
                <a:gd name="T154" fmla="*/ 0 h 401"/>
                <a:gd name="T155" fmla="*/ 449 w 449"/>
                <a:gd name="T156" fmla="*/ 401 h 401"/>
                <a:gd name="connsiteX0" fmla="*/ 379 w 9621"/>
                <a:gd name="connsiteY0" fmla="*/ 8803 h 10000"/>
                <a:gd name="connsiteX1" fmla="*/ 379 w 9621"/>
                <a:gd name="connsiteY1" fmla="*/ 8803 h 10000"/>
                <a:gd name="connsiteX2" fmla="*/ 379 w 9621"/>
                <a:gd name="connsiteY2" fmla="*/ 7980 h 10000"/>
                <a:gd name="connsiteX3" fmla="*/ 1158 w 9621"/>
                <a:gd name="connsiteY3" fmla="*/ 7606 h 10000"/>
                <a:gd name="connsiteX4" fmla="*/ 780 w 9621"/>
                <a:gd name="connsiteY4" fmla="*/ 6783 h 10000"/>
                <a:gd name="connsiteX5" fmla="*/ 379 w 9621"/>
                <a:gd name="connsiteY5" fmla="*/ 6409 h 10000"/>
                <a:gd name="connsiteX6" fmla="*/ 0 w 9621"/>
                <a:gd name="connsiteY6" fmla="*/ 5586 h 10000"/>
                <a:gd name="connsiteX7" fmla="*/ 780 w 9621"/>
                <a:gd name="connsiteY7" fmla="*/ 5985 h 10000"/>
                <a:gd name="connsiteX8" fmla="*/ 3073 w 9621"/>
                <a:gd name="connsiteY8" fmla="*/ 5586 h 10000"/>
                <a:gd name="connsiteX9" fmla="*/ 3073 w 9621"/>
                <a:gd name="connsiteY9" fmla="*/ 4788 h 10000"/>
                <a:gd name="connsiteX10" fmla="*/ 3474 w 9621"/>
                <a:gd name="connsiteY10" fmla="*/ 4389 h 10000"/>
                <a:gd name="connsiteX11" fmla="*/ 5011 w 9621"/>
                <a:gd name="connsiteY11" fmla="*/ 4015 h 10000"/>
                <a:gd name="connsiteX12" fmla="*/ 5011 w 9621"/>
                <a:gd name="connsiteY12" fmla="*/ 3192 h 10000"/>
                <a:gd name="connsiteX13" fmla="*/ 5390 w 9621"/>
                <a:gd name="connsiteY13" fmla="*/ 2818 h 10000"/>
                <a:gd name="connsiteX14" fmla="*/ 5390 w 9621"/>
                <a:gd name="connsiteY14" fmla="*/ 2394 h 10000"/>
                <a:gd name="connsiteX15" fmla="*/ 5768 w 9621"/>
                <a:gd name="connsiteY15" fmla="*/ 2394 h 10000"/>
                <a:gd name="connsiteX16" fmla="*/ 6169 w 9621"/>
                <a:gd name="connsiteY16" fmla="*/ 1621 h 10000"/>
                <a:gd name="connsiteX17" fmla="*/ 6169 w 9621"/>
                <a:gd name="connsiteY17" fmla="*/ 798 h 10000"/>
                <a:gd name="connsiteX18" fmla="*/ 6927 w 9621"/>
                <a:gd name="connsiteY18" fmla="*/ 424 h 10000"/>
                <a:gd name="connsiteX19" fmla="*/ 7706 w 9621"/>
                <a:gd name="connsiteY19" fmla="*/ 0 h 10000"/>
                <a:gd name="connsiteX20" fmla="*/ 8085 w 9621"/>
                <a:gd name="connsiteY20" fmla="*/ 0 h 10000"/>
                <a:gd name="connsiteX21" fmla="*/ 8842 w 9621"/>
                <a:gd name="connsiteY21" fmla="*/ 424 h 10000"/>
                <a:gd name="connsiteX22" fmla="*/ 9243 w 9621"/>
                <a:gd name="connsiteY22" fmla="*/ 798 h 10000"/>
                <a:gd name="connsiteX23" fmla="*/ 9621 w 9621"/>
                <a:gd name="connsiteY23" fmla="*/ 1621 h 10000"/>
                <a:gd name="connsiteX24" fmla="*/ 8842 w 9621"/>
                <a:gd name="connsiteY24" fmla="*/ 1995 h 10000"/>
                <a:gd name="connsiteX25" fmla="*/ 8085 w 9621"/>
                <a:gd name="connsiteY25" fmla="*/ 1621 h 10000"/>
                <a:gd name="connsiteX26" fmla="*/ 7706 w 9621"/>
                <a:gd name="connsiteY26" fmla="*/ 1995 h 10000"/>
                <a:gd name="connsiteX27" fmla="*/ 8085 w 9621"/>
                <a:gd name="connsiteY27" fmla="*/ 2394 h 10000"/>
                <a:gd name="connsiteX28" fmla="*/ 7706 w 9621"/>
                <a:gd name="connsiteY28" fmla="*/ 3192 h 10000"/>
                <a:gd name="connsiteX29" fmla="*/ 8463 w 9621"/>
                <a:gd name="connsiteY29" fmla="*/ 3591 h 10000"/>
                <a:gd name="connsiteX30" fmla="*/ 8463 w 9621"/>
                <a:gd name="connsiteY30" fmla="*/ 4015 h 10000"/>
                <a:gd name="connsiteX31" fmla="*/ 8085 w 9621"/>
                <a:gd name="connsiteY31" fmla="*/ 4015 h 10000"/>
                <a:gd name="connsiteX32" fmla="*/ 8463 w 9621"/>
                <a:gd name="connsiteY32" fmla="*/ 4389 h 10000"/>
                <a:gd name="connsiteX33" fmla="*/ 6548 w 9621"/>
                <a:gd name="connsiteY33" fmla="*/ 6783 h 10000"/>
                <a:gd name="connsiteX34" fmla="*/ 5768 w 9621"/>
                <a:gd name="connsiteY34" fmla="*/ 7182 h 10000"/>
                <a:gd name="connsiteX35" fmla="*/ 5390 w 9621"/>
                <a:gd name="connsiteY35" fmla="*/ 6783 h 10000"/>
                <a:gd name="connsiteX36" fmla="*/ 5011 w 9621"/>
                <a:gd name="connsiteY36" fmla="*/ 7182 h 10000"/>
                <a:gd name="connsiteX37" fmla="*/ 5011 w 9621"/>
                <a:gd name="connsiteY37" fmla="*/ 7980 h 10000"/>
                <a:gd name="connsiteX38" fmla="*/ 5390 w 9621"/>
                <a:gd name="connsiteY38" fmla="*/ 7980 h 10000"/>
                <a:gd name="connsiteX39" fmla="*/ 5390 w 9621"/>
                <a:gd name="connsiteY39" fmla="*/ 8379 h 10000"/>
                <a:gd name="connsiteX40" fmla="*/ 5768 w 9621"/>
                <a:gd name="connsiteY40" fmla="*/ 8379 h 10000"/>
                <a:gd name="connsiteX41" fmla="*/ 5768 w 9621"/>
                <a:gd name="connsiteY41" fmla="*/ 9177 h 10000"/>
                <a:gd name="connsiteX42" fmla="*/ 5768 w 9621"/>
                <a:gd name="connsiteY42" fmla="*/ 9576 h 10000"/>
                <a:gd name="connsiteX43" fmla="*/ 4610 w 9621"/>
                <a:gd name="connsiteY43" fmla="*/ 9576 h 10000"/>
                <a:gd name="connsiteX44" fmla="*/ 4232 w 9621"/>
                <a:gd name="connsiteY44" fmla="*/ 10000 h 10000"/>
                <a:gd name="connsiteX45" fmla="*/ 3853 w 9621"/>
                <a:gd name="connsiteY45" fmla="*/ 9576 h 10000"/>
                <a:gd name="connsiteX46" fmla="*/ 3474 w 9621"/>
                <a:gd name="connsiteY46" fmla="*/ 8803 h 10000"/>
                <a:gd name="connsiteX47" fmla="*/ 2316 w 9621"/>
                <a:gd name="connsiteY47" fmla="*/ 8803 h 10000"/>
                <a:gd name="connsiteX48" fmla="*/ 1537 w 9621"/>
                <a:gd name="connsiteY48" fmla="*/ 8803 h 10000"/>
                <a:gd name="connsiteX49" fmla="*/ 379 w 9621"/>
                <a:gd name="connsiteY49" fmla="*/ 8803 h 10000"/>
                <a:gd name="connsiteX0" fmla="*/ 394 w 10000"/>
                <a:gd name="connsiteY0" fmla="*/ 8803 h 10000"/>
                <a:gd name="connsiteX1" fmla="*/ 394 w 10000"/>
                <a:gd name="connsiteY1" fmla="*/ 8803 h 10000"/>
                <a:gd name="connsiteX2" fmla="*/ 394 w 10000"/>
                <a:gd name="connsiteY2" fmla="*/ 7980 h 10000"/>
                <a:gd name="connsiteX3" fmla="*/ 1204 w 10000"/>
                <a:gd name="connsiteY3" fmla="*/ 7606 h 10000"/>
                <a:gd name="connsiteX4" fmla="*/ 811 w 10000"/>
                <a:gd name="connsiteY4" fmla="*/ 6783 h 10000"/>
                <a:gd name="connsiteX5" fmla="*/ 394 w 10000"/>
                <a:gd name="connsiteY5" fmla="*/ 6409 h 10000"/>
                <a:gd name="connsiteX6" fmla="*/ 0 w 10000"/>
                <a:gd name="connsiteY6" fmla="*/ 5586 h 10000"/>
                <a:gd name="connsiteX7" fmla="*/ 811 w 10000"/>
                <a:gd name="connsiteY7" fmla="*/ 5985 h 10000"/>
                <a:gd name="connsiteX8" fmla="*/ 3194 w 10000"/>
                <a:gd name="connsiteY8" fmla="*/ 5586 h 10000"/>
                <a:gd name="connsiteX9" fmla="*/ 3194 w 10000"/>
                <a:gd name="connsiteY9" fmla="*/ 4788 h 10000"/>
                <a:gd name="connsiteX10" fmla="*/ 3611 w 10000"/>
                <a:gd name="connsiteY10" fmla="*/ 4389 h 10000"/>
                <a:gd name="connsiteX11" fmla="*/ 5208 w 10000"/>
                <a:gd name="connsiteY11" fmla="*/ 4015 h 10000"/>
                <a:gd name="connsiteX12" fmla="*/ 5208 w 10000"/>
                <a:gd name="connsiteY12" fmla="*/ 3192 h 10000"/>
                <a:gd name="connsiteX13" fmla="*/ 5602 w 10000"/>
                <a:gd name="connsiteY13" fmla="*/ 2818 h 10000"/>
                <a:gd name="connsiteX14" fmla="*/ 5602 w 10000"/>
                <a:gd name="connsiteY14" fmla="*/ 2394 h 10000"/>
                <a:gd name="connsiteX15" fmla="*/ 5995 w 10000"/>
                <a:gd name="connsiteY15" fmla="*/ 2394 h 10000"/>
                <a:gd name="connsiteX16" fmla="*/ 6412 w 10000"/>
                <a:gd name="connsiteY16" fmla="*/ 1621 h 10000"/>
                <a:gd name="connsiteX17" fmla="*/ 6412 w 10000"/>
                <a:gd name="connsiteY17" fmla="*/ 798 h 10000"/>
                <a:gd name="connsiteX18" fmla="*/ 7200 w 10000"/>
                <a:gd name="connsiteY18" fmla="*/ 424 h 10000"/>
                <a:gd name="connsiteX19" fmla="*/ 8010 w 10000"/>
                <a:gd name="connsiteY19" fmla="*/ 0 h 10000"/>
                <a:gd name="connsiteX20" fmla="*/ 8403 w 10000"/>
                <a:gd name="connsiteY20" fmla="*/ 0 h 10000"/>
                <a:gd name="connsiteX21" fmla="*/ 9190 w 10000"/>
                <a:gd name="connsiteY21" fmla="*/ 424 h 10000"/>
                <a:gd name="connsiteX22" fmla="*/ 10000 w 10000"/>
                <a:gd name="connsiteY22" fmla="*/ 1621 h 10000"/>
                <a:gd name="connsiteX23" fmla="*/ 9190 w 10000"/>
                <a:gd name="connsiteY23" fmla="*/ 1995 h 10000"/>
                <a:gd name="connsiteX24" fmla="*/ 8403 w 10000"/>
                <a:gd name="connsiteY24" fmla="*/ 1621 h 10000"/>
                <a:gd name="connsiteX25" fmla="*/ 8010 w 10000"/>
                <a:gd name="connsiteY25" fmla="*/ 1995 h 10000"/>
                <a:gd name="connsiteX26" fmla="*/ 8403 w 10000"/>
                <a:gd name="connsiteY26" fmla="*/ 2394 h 10000"/>
                <a:gd name="connsiteX27" fmla="*/ 8010 w 10000"/>
                <a:gd name="connsiteY27" fmla="*/ 3192 h 10000"/>
                <a:gd name="connsiteX28" fmla="*/ 8796 w 10000"/>
                <a:gd name="connsiteY28" fmla="*/ 3591 h 10000"/>
                <a:gd name="connsiteX29" fmla="*/ 8796 w 10000"/>
                <a:gd name="connsiteY29" fmla="*/ 4015 h 10000"/>
                <a:gd name="connsiteX30" fmla="*/ 8403 w 10000"/>
                <a:gd name="connsiteY30" fmla="*/ 4015 h 10000"/>
                <a:gd name="connsiteX31" fmla="*/ 8796 w 10000"/>
                <a:gd name="connsiteY31" fmla="*/ 4389 h 10000"/>
                <a:gd name="connsiteX32" fmla="*/ 6806 w 10000"/>
                <a:gd name="connsiteY32" fmla="*/ 6783 h 10000"/>
                <a:gd name="connsiteX33" fmla="*/ 5995 w 10000"/>
                <a:gd name="connsiteY33" fmla="*/ 7182 h 10000"/>
                <a:gd name="connsiteX34" fmla="*/ 5602 w 10000"/>
                <a:gd name="connsiteY34" fmla="*/ 6783 h 10000"/>
                <a:gd name="connsiteX35" fmla="*/ 5208 w 10000"/>
                <a:gd name="connsiteY35" fmla="*/ 7182 h 10000"/>
                <a:gd name="connsiteX36" fmla="*/ 5208 w 10000"/>
                <a:gd name="connsiteY36" fmla="*/ 7980 h 10000"/>
                <a:gd name="connsiteX37" fmla="*/ 5602 w 10000"/>
                <a:gd name="connsiteY37" fmla="*/ 7980 h 10000"/>
                <a:gd name="connsiteX38" fmla="*/ 5602 w 10000"/>
                <a:gd name="connsiteY38" fmla="*/ 8379 h 10000"/>
                <a:gd name="connsiteX39" fmla="*/ 5995 w 10000"/>
                <a:gd name="connsiteY39" fmla="*/ 8379 h 10000"/>
                <a:gd name="connsiteX40" fmla="*/ 5995 w 10000"/>
                <a:gd name="connsiteY40" fmla="*/ 9177 h 10000"/>
                <a:gd name="connsiteX41" fmla="*/ 5995 w 10000"/>
                <a:gd name="connsiteY41" fmla="*/ 9576 h 10000"/>
                <a:gd name="connsiteX42" fmla="*/ 4792 w 10000"/>
                <a:gd name="connsiteY42" fmla="*/ 9576 h 10000"/>
                <a:gd name="connsiteX43" fmla="*/ 4399 w 10000"/>
                <a:gd name="connsiteY43" fmla="*/ 10000 h 10000"/>
                <a:gd name="connsiteX44" fmla="*/ 4005 w 10000"/>
                <a:gd name="connsiteY44" fmla="*/ 9576 h 10000"/>
                <a:gd name="connsiteX45" fmla="*/ 3611 w 10000"/>
                <a:gd name="connsiteY45" fmla="*/ 8803 h 10000"/>
                <a:gd name="connsiteX46" fmla="*/ 2407 w 10000"/>
                <a:gd name="connsiteY46" fmla="*/ 8803 h 10000"/>
                <a:gd name="connsiteX47" fmla="*/ 1598 w 10000"/>
                <a:gd name="connsiteY47" fmla="*/ 8803 h 10000"/>
                <a:gd name="connsiteX48" fmla="*/ 394 w 10000"/>
                <a:gd name="connsiteY48" fmla="*/ 8803 h 10000"/>
                <a:gd name="connsiteX0" fmla="*/ 394 w 9190"/>
                <a:gd name="connsiteY0" fmla="*/ 8803 h 10000"/>
                <a:gd name="connsiteX1" fmla="*/ 394 w 9190"/>
                <a:gd name="connsiteY1" fmla="*/ 8803 h 10000"/>
                <a:gd name="connsiteX2" fmla="*/ 394 w 9190"/>
                <a:gd name="connsiteY2" fmla="*/ 7980 h 10000"/>
                <a:gd name="connsiteX3" fmla="*/ 1204 w 9190"/>
                <a:gd name="connsiteY3" fmla="*/ 7606 h 10000"/>
                <a:gd name="connsiteX4" fmla="*/ 811 w 9190"/>
                <a:gd name="connsiteY4" fmla="*/ 6783 h 10000"/>
                <a:gd name="connsiteX5" fmla="*/ 394 w 9190"/>
                <a:gd name="connsiteY5" fmla="*/ 6409 h 10000"/>
                <a:gd name="connsiteX6" fmla="*/ 0 w 9190"/>
                <a:gd name="connsiteY6" fmla="*/ 5586 h 10000"/>
                <a:gd name="connsiteX7" fmla="*/ 811 w 9190"/>
                <a:gd name="connsiteY7" fmla="*/ 5985 h 10000"/>
                <a:gd name="connsiteX8" fmla="*/ 3194 w 9190"/>
                <a:gd name="connsiteY8" fmla="*/ 5586 h 10000"/>
                <a:gd name="connsiteX9" fmla="*/ 3194 w 9190"/>
                <a:gd name="connsiteY9" fmla="*/ 4788 h 10000"/>
                <a:gd name="connsiteX10" fmla="*/ 3611 w 9190"/>
                <a:gd name="connsiteY10" fmla="*/ 4389 h 10000"/>
                <a:gd name="connsiteX11" fmla="*/ 5208 w 9190"/>
                <a:gd name="connsiteY11" fmla="*/ 4015 h 10000"/>
                <a:gd name="connsiteX12" fmla="*/ 5208 w 9190"/>
                <a:gd name="connsiteY12" fmla="*/ 3192 h 10000"/>
                <a:gd name="connsiteX13" fmla="*/ 5602 w 9190"/>
                <a:gd name="connsiteY13" fmla="*/ 2818 h 10000"/>
                <a:gd name="connsiteX14" fmla="*/ 5602 w 9190"/>
                <a:gd name="connsiteY14" fmla="*/ 2394 h 10000"/>
                <a:gd name="connsiteX15" fmla="*/ 5995 w 9190"/>
                <a:gd name="connsiteY15" fmla="*/ 2394 h 10000"/>
                <a:gd name="connsiteX16" fmla="*/ 6412 w 9190"/>
                <a:gd name="connsiteY16" fmla="*/ 1621 h 10000"/>
                <a:gd name="connsiteX17" fmla="*/ 6412 w 9190"/>
                <a:gd name="connsiteY17" fmla="*/ 798 h 10000"/>
                <a:gd name="connsiteX18" fmla="*/ 7200 w 9190"/>
                <a:gd name="connsiteY18" fmla="*/ 424 h 10000"/>
                <a:gd name="connsiteX19" fmla="*/ 8010 w 9190"/>
                <a:gd name="connsiteY19" fmla="*/ 0 h 10000"/>
                <a:gd name="connsiteX20" fmla="*/ 8403 w 9190"/>
                <a:gd name="connsiteY20" fmla="*/ 0 h 10000"/>
                <a:gd name="connsiteX21" fmla="*/ 9190 w 9190"/>
                <a:gd name="connsiteY21" fmla="*/ 424 h 10000"/>
                <a:gd name="connsiteX22" fmla="*/ 9190 w 9190"/>
                <a:gd name="connsiteY22" fmla="*/ 1995 h 10000"/>
                <a:gd name="connsiteX23" fmla="*/ 8403 w 9190"/>
                <a:gd name="connsiteY23" fmla="*/ 1621 h 10000"/>
                <a:gd name="connsiteX24" fmla="*/ 8010 w 9190"/>
                <a:gd name="connsiteY24" fmla="*/ 1995 h 10000"/>
                <a:gd name="connsiteX25" fmla="*/ 8403 w 9190"/>
                <a:gd name="connsiteY25" fmla="*/ 2394 h 10000"/>
                <a:gd name="connsiteX26" fmla="*/ 8010 w 9190"/>
                <a:gd name="connsiteY26" fmla="*/ 3192 h 10000"/>
                <a:gd name="connsiteX27" fmla="*/ 8796 w 9190"/>
                <a:gd name="connsiteY27" fmla="*/ 3591 h 10000"/>
                <a:gd name="connsiteX28" fmla="*/ 8796 w 9190"/>
                <a:gd name="connsiteY28" fmla="*/ 4015 h 10000"/>
                <a:gd name="connsiteX29" fmla="*/ 8403 w 9190"/>
                <a:gd name="connsiteY29" fmla="*/ 4015 h 10000"/>
                <a:gd name="connsiteX30" fmla="*/ 8796 w 9190"/>
                <a:gd name="connsiteY30" fmla="*/ 4389 h 10000"/>
                <a:gd name="connsiteX31" fmla="*/ 6806 w 9190"/>
                <a:gd name="connsiteY31" fmla="*/ 6783 h 10000"/>
                <a:gd name="connsiteX32" fmla="*/ 5995 w 9190"/>
                <a:gd name="connsiteY32" fmla="*/ 7182 h 10000"/>
                <a:gd name="connsiteX33" fmla="*/ 5602 w 9190"/>
                <a:gd name="connsiteY33" fmla="*/ 6783 h 10000"/>
                <a:gd name="connsiteX34" fmla="*/ 5208 w 9190"/>
                <a:gd name="connsiteY34" fmla="*/ 7182 h 10000"/>
                <a:gd name="connsiteX35" fmla="*/ 5208 w 9190"/>
                <a:gd name="connsiteY35" fmla="*/ 7980 h 10000"/>
                <a:gd name="connsiteX36" fmla="*/ 5602 w 9190"/>
                <a:gd name="connsiteY36" fmla="*/ 7980 h 10000"/>
                <a:gd name="connsiteX37" fmla="*/ 5602 w 9190"/>
                <a:gd name="connsiteY37" fmla="*/ 8379 h 10000"/>
                <a:gd name="connsiteX38" fmla="*/ 5995 w 9190"/>
                <a:gd name="connsiteY38" fmla="*/ 8379 h 10000"/>
                <a:gd name="connsiteX39" fmla="*/ 5995 w 9190"/>
                <a:gd name="connsiteY39" fmla="*/ 9177 h 10000"/>
                <a:gd name="connsiteX40" fmla="*/ 5995 w 9190"/>
                <a:gd name="connsiteY40" fmla="*/ 9576 h 10000"/>
                <a:gd name="connsiteX41" fmla="*/ 4792 w 9190"/>
                <a:gd name="connsiteY41" fmla="*/ 9576 h 10000"/>
                <a:gd name="connsiteX42" fmla="*/ 4399 w 9190"/>
                <a:gd name="connsiteY42" fmla="*/ 10000 h 10000"/>
                <a:gd name="connsiteX43" fmla="*/ 4005 w 9190"/>
                <a:gd name="connsiteY43" fmla="*/ 9576 h 10000"/>
                <a:gd name="connsiteX44" fmla="*/ 3611 w 9190"/>
                <a:gd name="connsiteY44" fmla="*/ 8803 h 10000"/>
                <a:gd name="connsiteX45" fmla="*/ 2407 w 9190"/>
                <a:gd name="connsiteY45" fmla="*/ 8803 h 10000"/>
                <a:gd name="connsiteX46" fmla="*/ 1598 w 9190"/>
                <a:gd name="connsiteY46" fmla="*/ 8803 h 10000"/>
                <a:gd name="connsiteX47" fmla="*/ 394 w 9190"/>
                <a:gd name="connsiteY47" fmla="*/ 8803 h 10000"/>
                <a:gd name="connsiteX0" fmla="*/ 429 w 10000"/>
                <a:gd name="connsiteY0" fmla="*/ 8803 h 10000"/>
                <a:gd name="connsiteX1" fmla="*/ 429 w 10000"/>
                <a:gd name="connsiteY1" fmla="*/ 8803 h 10000"/>
                <a:gd name="connsiteX2" fmla="*/ 429 w 10000"/>
                <a:gd name="connsiteY2" fmla="*/ 7980 h 10000"/>
                <a:gd name="connsiteX3" fmla="*/ 1310 w 10000"/>
                <a:gd name="connsiteY3" fmla="*/ 7606 h 10000"/>
                <a:gd name="connsiteX4" fmla="*/ 882 w 10000"/>
                <a:gd name="connsiteY4" fmla="*/ 6783 h 10000"/>
                <a:gd name="connsiteX5" fmla="*/ 429 w 10000"/>
                <a:gd name="connsiteY5" fmla="*/ 6409 h 10000"/>
                <a:gd name="connsiteX6" fmla="*/ 0 w 10000"/>
                <a:gd name="connsiteY6" fmla="*/ 5586 h 10000"/>
                <a:gd name="connsiteX7" fmla="*/ 882 w 10000"/>
                <a:gd name="connsiteY7" fmla="*/ 5985 h 10000"/>
                <a:gd name="connsiteX8" fmla="*/ 3476 w 10000"/>
                <a:gd name="connsiteY8" fmla="*/ 5586 h 10000"/>
                <a:gd name="connsiteX9" fmla="*/ 3476 w 10000"/>
                <a:gd name="connsiteY9" fmla="*/ 4788 h 10000"/>
                <a:gd name="connsiteX10" fmla="*/ 3929 w 10000"/>
                <a:gd name="connsiteY10" fmla="*/ 4389 h 10000"/>
                <a:gd name="connsiteX11" fmla="*/ 5667 w 10000"/>
                <a:gd name="connsiteY11" fmla="*/ 4015 h 10000"/>
                <a:gd name="connsiteX12" fmla="*/ 5667 w 10000"/>
                <a:gd name="connsiteY12" fmla="*/ 3192 h 10000"/>
                <a:gd name="connsiteX13" fmla="*/ 6096 w 10000"/>
                <a:gd name="connsiteY13" fmla="*/ 2818 h 10000"/>
                <a:gd name="connsiteX14" fmla="*/ 6096 w 10000"/>
                <a:gd name="connsiteY14" fmla="*/ 2394 h 10000"/>
                <a:gd name="connsiteX15" fmla="*/ 6523 w 10000"/>
                <a:gd name="connsiteY15" fmla="*/ 2394 h 10000"/>
                <a:gd name="connsiteX16" fmla="*/ 6977 w 10000"/>
                <a:gd name="connsiteY16" fmla="*/ 1621 h 10000"/>
                <a:gd name="connsiteX17" fmla="*/ 6977 w 10000"/>
                <a:gd name="connsiteY17" fmla="*/ 798 h 10000"/>
                <a:gd name="connsiteX18" fmla="*/ 7835 w 10000"/>
                <a:gd name="connsiteY18" fmla="*/ 424 h 10000"/>
                <a:gd name="connsiteX19" fmla="*/ 8716 w 10000"/>
                <a:gd name="connsiteY19" fmla="*/ 0 h 10000"/>
                <a:gd name="connsiteX20" fmla="*/ 9144 w 10000"/>
                <a:gd name="connsiteY20" fmla="*/ 0 h 10000"/>
                <a:gd name="connsiteX21" fmla="*/ 10000 w 10000"/>
                <a:gd name="connsiteY21" fmla="*/ 424 h 10000"/>
                <a:gd name="connsiteX22" fmla="*/ 9144 w 10000"/>
                <a:gd name="connsiteY22" fmla="*/ 1621 h 10000"/>
                <a:gd name="connsiteX23" fmla="*/ 8716 w 10000"/>
                <a:gd name="connsiteY23" fmla="*/ 1995 h 10000"/>
                <a:gd name="connsiteX24" fmla="*/ 9144 w 10000"/>
                <a:gd name="connsiteY24" fmla="*/ 2394 h 10000"/>
                <a:gd name="connsiteX25" fmla="*/ 8716 w 10000"/>
                <a:gd name="connsiteY25" fmla="*/ 3192 h 10000"/>
                <a:gd name="connsiteX26" fmla="*/ 9571 w 10000"/>
                <a:gd name="connsiteY26" fmla="*/ 3591 h 10000"/>
                <a:gd name="connsiteX27" fmla="*/ 9571 w 10000"/>
                <a:gd name="connsiteY27" fmla="*/ 4015 h 10000"/>
                <a:gd name="connsiteX28" fmla="*/ 9144 w 10000"/>
                <a:gd name="connsiteY28" fmla="*/ 4015 h 10000"/>
                <a:gd name="connsiteX29" fmla="*/ 9571 w 10000"/>
                <a:gd name="connsiteY29" fmla="*/ 4389 h 10000"/>
                <a:gd name="connsiteX30" fmla="*/ 7406 w 10000"/>
                <a:gd name="connsiteY30" fmla="*/ 6783 h 10000"/>
                <a:gd name="connsiteX31" fmla="*/ 6523 w 10000"/>
                <a:gd name="connsiteY31" fmla="*/ 7182 h 10000"/>
                <a:gd name="connsiteX32" fmla="*/ 6096 w 10000"/>
                <a:gd name="connsiteY32" fmla="*/ 6783 h 10000"/>
                <a:gd name="connsiteX33" fmla="*/ 5667 w 10000"/>
                <a:gd name="connsiteY33" fmla="*/ 7182 h 10000"/>
                <a:gd name="connsiteX34" fmla="*/ 5667 w 10000"/>
                <a:gd name="connsiteY34" fmla="*/ 7980 h 10000"/>
                <a:gd name="connsiteX35" fmla="*/ 6096 w 10000"/>
                <a:gd name="connsiteY35" fmla="*/ 7980 h 10000"/>
                <a:gd name="connsiteX36" fmla="*/ 6096 w 10000"/>
                <a:gd name="connsiteY36" fmla="*/ 8379 h 10000"/>
                <a:gd name="connsiteX37" fmla="*/ 6523 w 10000"/>
                <a:gd name="connsiteY37" fmla="*/ 8379 h 10000"/>
                <a:gd name="connsiteX38" fmla="*/ 6523 w 10000"/>
                <a:gd name="connsiteY38" fmla="*/ 9177 h 10000"/>
                <a:gd name="connsiteX39" fmla="*/ 6523 w 10000"/>
                <a:gd name="connsiteY39" fmla="*/ 9576 h 10000"/>
                <a:gd name="connsiteX40" fmla="*/ 5214 w 10000"/>
                <a:gd name="connsiteY40" fmla="*/ 9576 h 10000"/>
                <a:gd name="connsiteX41" fmla="*/ 4787 w 10000"/>
                <a:gd name="connsiteY41" fmla="*/ 10000 h 10000"/>
                <a:gd name="connsiteX42" fmla="*/ 4358 w 10000"/>
                <a:gd name="connsiteY42" fmla="*/ 9576 h 10000"/>
                <a:gd name="connsiteX43" fmla="*/ 3929 w 10000"/>
                <a:gd name="connsiteY43" fmla="*/ 8803 h 10000"/>
                <a:gd name="connsiteX44" fmla="*/ 2619 w 10000"/>
                <a:gd name="connsiteY44" fmla="*/ 8803 h 10000"/>
                <a:gd name="connsiteX45" fmla="*/ 1739 w 10000"/>
                <a:gd name="connsiteY45" fmla="*/ 8803 h 10000"/>
                <a:gd name="connsiteX46" fmla="*/ 429 w 10000"/>
                <a:gd name="connsiteY46" fmla="*/ 8803 h 10000"/>
                <a:gd name="connsiteX0" fmla="*/ 429 w 9571"/>
                <a:gd name="connsiteY0" fmla="*/ 8803 h 10000"/>
                <a:gd name="connsiteX1" fmla="*/ 429 w 9571"/>
                <a:gd name="connsiteY1" fmla="*/ 8803 h 10000"/>
                <a:gd name="connsiteX2" fmla="*/ 429 w 9571"/>
                <a:gd name="connsiteY2" fmla="*/ 7980 h 10000"/>
                <a:gd name="connsiteX3" fmla="*/ 1310 w 9571"/>
                <a:gd name="connsiteY3" fmla="*/ 7606 h 10000"/>
                <a:gd name="connsiteX4" fmla="*/ 882 w 9571"/>
                <a:gd name="connsiteY4" fmla="*/ 6783 h 10000"/>
                <a:gd name="connsiteX5" fmla="*/ 429 w 9571"/>
                <a:gd name="connsiteY5" fmla="*/ 6409 h 10000"/>
                <a:gd name="connsiteX6" fmla="*/ 0 w 9571"/>
                <a:gd name="connsiteY6" fmla="*/ 5586 h 10000"/>
                <a:gd name="connsiteX7" fmla="*/ 882 w 9571"/>
                <a:gd name="connsiteY7" fmla="*/ 5985 h 10000"/>
                <a:gd name="connsiteX8" fmla="*/ 3476 w 9571"/>
                <a:gd name="connsiteY8" fmla="*/ 5586 h 10000"/>
                <a:gd name="connsiteX9" fmla="*/ 3476 w 9571"/>
                <a:gd name="connsiteY9" fmla="*/ 4788 h 10000"/>
                <a:gd name="connsiteX10" fmla="*/ 3929 w 9571"/>
                <a:gd name="connsiteY10" fmla="*/ 4389 h 10000"/>
                <a:gd name="connsiteX11" fmla="*/ 5667 w 9571"/>
                <a:gd name="connsiteY11" fmla="*/ 4015 h 10000"/>
                <a:gd name="connsiteX12" fmla="*/ 5667 w 9571"/>
                <a:gd name="connsiteY12" fmla="*/ 3192 h 10000"/>
                <a:gd name="connsiteX13" fmla="*/ 6096 w 9571"/>
                <a:gd name="connsiteY13" fmla="*/ 2818 h 10000"/>
                <a:gd name="connsiteX14" fmla="*/ 6096 w 9571"/>
                <a:gd name="connsiteY14" fmla="*/ 2394 h 10000"/>
                <a:gd name="connsiteX15" fmla="*/ 6523 w 9571"/>
                <a:gd name="connsiteY15" fmla="*/ 2394 h 10000"/>
                <a:gd name="connsiteX16" fmla="*/ 6977 w 9571"/>
                <a:gd name="connsiteY16" fmla="*/ 1621 h 10000"/>
                <a:gd name="connsiteX17" fmla="*/ 6977 w 9571"/>
                <a:gd name="connsiteY17" fmla="*/ 798 h 10000"/>
                <a:gd name="connsiteX18" fmla="*/ 7835 w 9571"/>
                <a:gd name="connsiteY18" fmla="*/ 424 h 10000"/>
                <a:gd name="connsiteX19" fmla="*/ 8716 w 9571"/>
                <a:gd name="connsiteY19" fmla="*/ 0 h 10000"/>
                <a:gd name="connsiteX20" fmla="*/ 9144 w 9571"/>
                <a:gd name="connsiteY20" fmla="*/ 0 h 10000"/>
                <a:gd name="connsiteX21" fmla="*/ 9144 w 9571"/>
                <a:gd name="connsiteY21" fmla="*/ 1621 h 10000"/>
                <a:gd name="connsiteX22" fmla="*/ 8716 w 9571"/>
                <a:gd name="connsiteY22" fmla="*/ 1995 h 10000"/>
                <a:gd name="connsiteX23" fmla="*/ 9144 w 9571"/>
                <a:gd name="connsiteY23" fmla="*/ 2394 h 10000"/>
                <a:gd name="connsiteX24" fmla="*/ 8716 w 9571"/>
                <a:gd name="connsiteY24" fmla="*/ 3192 h 10000"/>
                <a:gd name="connsiteX25" fmla="*/ 9571 w 9571"/>
                <a:gd name="connsiteY25" fmla="*/ 3591 h 10000"/>
                <a:gd name="connsiteX26" fmla="*/ 9571 w 9571"/>
                <a:gd name="connsiteY26" fmla="*/ 4015 h 10000"/>
                <a:gd name="connsiteX27" fmla="*/ 9144 w 9571"/>
                <a:gd name="connsiteY27" fmla="*/ 4015 h 10000"/>
                <a:gd name="connsiteX28" fmla="*/ 9571 w 9571"/>
                <a:gd name="connsiteY28" fmla="*/ 4389 h 10000"/>
                <a:gd name="connsiteX29" fmla="*/ 7406 w 9571"/>
                <a:gd name="connsiteY29" fmla="*/ 6783 h 10000"/>
                <a:gd name="connsiteX30" fmla="*/ 6523 w 9571"/>
                <a:gd name="connsiteY30" fmla="*/ 7182 h 10000"/>
                <a:gd name="connsiteX31" fmla="*/ 6096 w 9571"/>
                <a:gd name="connsiteY31" fmla="*/ 6783 h 10000"/>
                <a:gd name="connsiteX32" fmla="*/ 5667 w 9571"/>
                <a:gd name="connsiteY32" fmla="*/ 7182 h 10000"/>
                <a:gd name="connsiteX33" fmla="*/ 5667 w 9571"/>
                <a:gd name="connsiteY33" fmla="*/ 7980 h 10000"/>
                <a:gd name="connsiteX34" fmla="*/ 6096 w 9571"/>
                <a:gd name="connsiteY34" fmla="*/ 7980 h 10000"/>
                <a:gd name="connsiteX35" fmla="*/ 6096 w 9571"/>
                <a:gd name="connsiteY35" fmla="*/ 8379 h 10000"/>
                <a:gd name="connsiteX36" fmla="*/ 6523 w 9571"/>
                <a:gd name="connsiteY36" fmla="*/ 8379 h 10000"/>
                <a:gd name="connsiteX37" fmla="*/ 6523 w 9571"/>
                <a:gd name="connsiteY37" fmla="*/ 9177 h 10000"/>
                <a:gd name="connsiteX38" fmla="*/ 6523 w 9571"/>
                <a:gd name="connsiteY38" fmla="*/ 9576 h 10000"/>
                <a:gd name="connsiteX39" fmla="*/ 5214 w 9571"/>
                <a:gd name="connsiteY39" fmla="*/ 9576 h 10000"/>
                <a:gd name="connsiteX40" fmla="*/ 4787 w 9571"/>
                <a:gd name="connsiteY40" fmla="*/ 10000 h 10000"/>
                <a:gd name="connsiteX41" fmla="*/ 4358 w 9571"/>
                <a:gd name="connsiteY41" fmla="*/ 9576 h 10000"/>
                <a:gd name="connsiteX42" fmla="*/ 3929 w 9571"/>
                <a:gd name="connsiteY42" fmla="*/ 8803 h 10000"/>
                <a:gd name="connsiteX43" fmla="*/ 2619 w 9571"/>
                <a:gd name="connsiteY43" fmla="*/ 8803 h 10000"/>
                <a:gd name="connsiteX44" fmla="*/ 1739 w 9571"/>
                <a:gd name="connsiteY44" fmla="*/ 8803 h 10000"/>
                <a:gd name="connsiteX45" fmla="*/ 429 w 9571"/>
                <a:gd name="connsiteY45" fmla="*/ 8803 h 10000"/>
                <a:gd name="connsiteX0" fmla="*/ 448 w 10000"/>
                <a:gd name="connsiteY0" fmla="*/ 8803 h 10000"/>
                <a:gd name="connsiteX1" fmla="*/ 448 w 10000"/>
                <a:gd name="connsiteY1" fmla="*/ 8803 h 10000"/>
                <a:gd name="connsiteX2" fmla="*/ 448 w 10000"/>
                <a:gd name="connsiteY2" fmla="*/ 7980 h 10000"/>
                <a:gd name="connsiteX3" fmla="*/ 1369 w 10000"/>
                <a:gd name="connsiteY3" fmla="*/ 7606 h 10000"/>
                <a:gd name="connsiteX4" fmla="*/ 922 w 10000"/>
                <a:gd name="connsiteY4" fmla="*/ 6783 h 10000"/>
                <a:gd name="connsiteX5" fmla="*/ 448 w 10000"/>
                <a:gd name="connsiteY5" fmla="*/ 6409 h 10000"/>
                <a:gd name="connsiteX6" fmla="*/ 0 w 10000"/>
                <a:gd name="connsiteY6" fmla="*/ 5586 h 10000"/>
                <a:gd name="connsiteX7" fmla="*/ 922 w 10000"/>
                <a:gd name="connsiteY7" fmla="*/ 5985 h 10000"/>
                <a:gd name="connsiteX8" fmla="*/ 3632 w 10000"/>
                <a:gd name="connsiteY8" fmla="*/ 5586 h 10000"/>
                <a:gd name="connsiteX9" fmla="*/ 3632 w 10000"/>
                <a:gd name="connsiteY9" fmla="*/ 4788 h 10000"/>
                <a:gd name="connsiteX10" fmla="*/ 4105 w 10000"/>
                <a:gd name="connsiteY10" fmla="*/ 4389 h 10000"/>
                <a:gd name="connsiteX11" fmla="*/ 5921 w 10000"/>
                <a:gd name="connsiteY11" fmla="*/ 4015 h 10000"/>
                <a:gd name="connsiteX12" fmla="*/ 5921 w 10000"/>
                <a:gd name="connsiteY12" fmla="*/ 3192 h 10000"/>
                <a:gd name="connsiteX13" fmla="*/ 6369 w 10000"/>
                <a:gd name="connsiteY13" fmla="*/ 2818 h 10000"/>
                <a:gd name="connsiteX14" fmla="*/ 6369 w 10000"/>
                <a:gd name="connsiteY14" fmla="*/ 2394 h 10000"/>
                <a:gd name="connsiteX15" fmla="*/ 6815 w 10000"/>
                <a:gd name="connsiteY15" fmla="*/ 2394 h 10000"/>
                <a:gd name="connsiteX16" fmla="*/ 7290 w 10000"/>
                <a:gd name="connsiteY16" fmla="*/ 1621 h 10000"/>
                <a:gd name="connsiteX17" fmla="*/ 7290 w 10000"/>
                <a:gd name="connsiteY17" fmla="*/ 798 h 10000"/>
                <a:gd name="connsiteX18" fmla="*/ 8186 w 10000"/>
                <a:gd name="connsiteY18" fmla="*/ 424 h 10000"/>
                <a:gd name="connsiteX19" fmla="*/ 9107 w 10000"/>
                <a:gd name="connsiteY19" fmla="*/ 0 h 10000"/>
                <a:gd name="connsiteX20" fmla="*/ 9554 w 10000"/>
                <a:gd name="connsiteY20" fmla="*/ 0 h 10000"/>
                <a:gd name="connsiteX21" fmla="*/ 8652 w 10000"/>
                <a:gd name="connsiteY21" fmla="*/ 800 h 10000"/>
                <a:gd name="connsiteX22" fmla="*/ 9554 w 10000"/>
                <a:gd name="connsiteY22" fmla="*/ 1621 h 10000"/>
                <a:gd name="connsiteX23" fmla="*/ 9107 w 10000"/>
                <a:gd name="connsiteY23" fmla="*/ 1995 h 10000"/>
                <a:gd name="connsiteX24" fmla="*/ 9554 w 10000"/>
                <a:gd name="connsiteY24" fmla="*/ 2394 h 10000"/>
                <a:gd name="connsiteX25" fmla="*/ 9107 w 10000"/>
                <a:gd name="connsiteY25" fmla="*/ 3192 h 10000"/>
                <a:gd name="connsiteX26" fmla="*/ 10000 w 10000"/>
                <a:gd name="connsiteY26" fmla="*/ 3591 h 10000"/>
                <a:gd name="connsiteX27" fmla="*/ 10000 w 10000"/>
                <a:gd name="connsiteY27" fmla="*/ 4015 h 10000"/>
                <a:gd name="connsiteX28" fmla="*/ 9554 w 10000"/>
                <a:gd name="connsiteY28" fmla="*/ 4015 h 10000"/>
                <a:gd name="connsiteX29" fmla="*/ 10000 w 10000"/>
                <a:gd name="connsiteY29" fmla="*/ 4389 h 10000"/>
                <a:gd name="connsiteX30" fmla="*/ 7738 w 10000"/>
                <a:gd name="connsiteY30" fmla="*/ 6783 h 10000"/>
                <a:gd name="connsiteX31" fmla="*/ 6815 w 10000"/>
                <a:gd name="connsiteY31" fmla="*/ 7182 h 10000"/>
                <a:gd name="connsiteX32" fmla="*/ 6369 w 10000"/>
                <a:gd name="connsiteY32" fmla="*/ 6783 h 10000"/>
                <a:gd name="connsiteX33" fmla="*/ 5921 w 10000"/>
                <a:gd name="connsiteY33" fmla="*/ 7182 h 10000"/>
                <a:gd name="connsiteX34" fmla="*/ 5921 w 10000"/>
                <a:gd name="connsiteY34" fmla="*/ 7980 h 10000"/>
                <a:gd name="connsiteX35" fmla="*/ 6369 w 10000"/>
                <a:gd name="connsiteY35" fmla="*/ 7980 h 10000"/>
                <a:gd name="connsiteX36" fmla="*/ 6369 w 10000"/>
                <a:gd name="connsiteY36" fmla="*/ 8379 h 10000"/>
                <a:gd name="connsiteX37" fmla="*/ 6815 w 10000"/>
                <a:gd name="connsiteY37" fmla="*/ 8379 h 10000"/>
                <a:gd name="connsiteX38" fmla="*/ 6815 w 10000"/>
                <a:gd name="connsiteY38" fmla="*/ 9177 h 10000"/>
                <a:gd name="connsiteX39" fmla="*/ 6815 w 10000"/>
                <a:gd name="connsiteY39" fmla="*/ 9576 h 10000"/>
                <a:gd name="connsiteX40" fmla="*/ 5448 w 10000"/>
                <a:gd name="connsiteY40" fmla="*/ 9576 h 10000"/>
                <a:gd name="connsiteX41" fmla="*/ 5002 w 10000"/>
                <a:gd name="connsiteY41" fmla="*/ 10000 h 10000"/>
                <a:gd name="connsiteX42" fmla="*/ 4553 w 10000"/>
                <a:gd name="connsiteY42" fmla="*/ 9576 h 10000"/>
                <a:gd name="connsiteX43" fmla="*/ 4105 w 10000"/>
                <a:gd name="connsiteY43" fmla="*/ 8803 h 10000"/>
                <a:gd name="connsiteX44" fmla="*/ 2736 w 10000"/>
                <a:gd name="connsiteY44" fmla="*/ 8803 h 10000"/>
                <a:gd name="connsiteX45" fmla="*/ 1817 w 10000"/>
                <a:gd name="connsiteY45" fmla="*/ 8803 h 10000"/>
                <a:gd name="connsiteX46" fmla="*/ 448 w 10000"/>
                <a:gd name="connsiteY46" fmla="*/ 8803 h 10000"/>
                <a:gd name="connsiteX0" fmla="*/ 448 w 10023"/>
                <a:gd name="connsiteY0" fmla="*/ 8803 h 10000"/>
                <a:gd name="connsiteX1" fmla="*/ 448 w 10023"/>
                <a:gd name="connsiteY1" fmla="*/ 8803 h 10000"/>
                <a:gd name="connsiteX2" fmla="*/ 448 w 10023"/>
                <a:gd name="connsiteY2" fmla="*/ 7980 h 10000"/>
                <a:gd name="connsiteX3" fmla="*/ 1369 w 10023"/>
                <a:gd name="connsiteY3" fmla="*/ 7606 h 10000"/>
                <a:gd name="connsiteX4" fmla="*/ 922 w 10023"/>
                <a:gd name="connsiteY4" fmla="*/ 6783 h 10000"/>
                <a:gd name="connsiteX5" fmla="*/ 448 w 10023"/>
                <a:gd name="connsiteY5" fmla="*/ 6409 h 10000"/>
                <a:gd name="connsiteX6" fmla="*/ 0 w 10023"/>
                <a:gd name="connsiteY6" fmla="*/ 5586 h 10000"/>
                <a:gd name="connsiteX7" fmla="*/ 922 w 10023"/>
                <a:gd name="connsiteY7" fmla="*/ 5985 h 10000"/>
                <a:gd name="connsiteX8" fmla="*/ 3632 w 10023"/>
                <a:gd name="connsiteY8" fmla="*/ 5586 h 10000"/>
                <a:gd name="connsiteX9" fmla="*/ 3632 w 10023"/>
                <a:gd name="connsiteY9" fmla="*/ 4788 h 10000"/>
                <a:gd name="connsiteX10" fmla="*/ 4105 w 10023"/>
                <a:gd name="connsiteY10" fmla="*/ 4389 h 10000"/>
                <a:gd name="connsiteX11" fmla="*/ 5921 w 10023"/>
                <a:gd name="connsiteY11" fmla="*/ 4015 h 10000"/>
                <a:gd name="connsiteX12" fmla="*/ 5921 w 10023"/>
                <a:gd name="connsiteY12" fmla="*/ 3192 h 10000"/>
                <a:gd name="connsiteX13" fmla="*/ 6369 w 10023"/>
                <a:gd name="connsiteY13" fmla="*/ 2818 h 10000"/>
                <a:gd name="connsiteX14" fmla="*/ 6369 w 10023"/>
                <a:gd name="connsiteY14" fmla="*/ 2394 h 10000"/>
                <a:gd name="connsiteX15" fmla="*/ 6815 w 10023"/>
                <a:gd name="connsiteY15" fmla="*/ 2394 h 10000"/>
                <a:gd name="connsiteX16" fmla="*/ 7290 w 10023"/>
                <a:gd name="connsiteY16" fmla="*/ 1621 h 10000"/>
                <a:gd name="connsiteX17" fmla="*/ 7290 w 10023"/>
                <a:gd name="connsiteY17" fmla="*/ 798 h 10000"/>
                <a:gd name="connsiteX18" fmla="*/ 8186 w 10023"/>
                <a:gd name="connsiteY18" fmla="*/ 424 h 10000"/>
                <a:gd name="connsiteX19" fmla="*/ 9107 w 10023"/>
                <a:gd name="connsiteY19" fmla="*/ 0 h 10000"/>
                <a:gd name="connsiteX20" fmla="*/ 9554 w 10023"/>
                <a:gd name="connsiteY20" fmla="*/ 0 h 10000"/>
                <a:gd name="connsiteX21" fmla="*/ 8652 w 10023"/>
                <a:gd name="connsiteY21" fmla="*/ 800 h 10000"/>
                <a:gd name="connsiteX22" fmla="*/ 9554 w 10023"/>
                <a:gd name="connsiteY22" fmla="*/ 1621 h 10000"/>
                <a:gd name="connsiteX23" fmla="*/ 9107 w 10023"/>
                <a:gd name="connsiteY23" fmla="*/ 1995 h 10000"/>
                <a:gd name="connsiteX24" fmla="*/ 9554 w 10023"/>
                <a:gd name="connsiteY24" fmla="*/ 2394 h 10000"/>
                <a:gd name="connsiteX25" fmla="*/ 10023 w 10023"/>
                <a:gd name="connsiteY25" fmla="*/ 2850 h 10000"/>
                <a:gd name="connsiteX26" fmla="*/ 10000 w 10023"/>
                <a:gd name="connsiteY26" fmla="*/ 3591 h 10000"/>
                <a:gd name="connsiteX27" fmla="*/ 10000 w 10023"/>
                <a:gd name="connsiteY27" fmla="*/ 4015 h 10000"/>
                <a:gd name="connsiteX28" fmla="*/ 9554 w 10023"/>
                <a:gd name="connsiteY28" fmla="*/ 4015 h 10000"/>
                <a:gd name="connsiteX29" fmla="*/ 10000 w 10023"/>
                <a:gd name="connsiteY29" fmla="*/ 4389 h 10000"/>
                <a:gd name="connsiteX30" fmla="*/ 7738 w 10023"/>
                <a:gd name="connsiteY30" fmla="*/ 6783 h 10000"/>
                <a:gd name="connsiteX31" fmla="*/ 6815 w 10023"/>
                <a:gd name="connsiteY31" fmla="*/ 7182 h 10000"/>
                <a:gd name="connsiteX32" fmla="*/ 6369 w 10023"/>
                <a:gd name="connsiteY32" fmla="*/ 6783 h 10000"/>
                <a:gd name="connsiteX33" fmla="*/ 5921 w 10023"/>
                <a:gd name="connsiteY33" fmla="*/ 7182 h 10000"/>
                <a:gd name="connsiteX34" fmla="*/ 5921 w 10023"/>
                <a:gd name="connsiteY34" fmla="*/ 7980 h 10000"/>
                <a:gd name="connsiteX35" fmla="*/ 6369 w 10023"/>
                <a:gd name="connsiteY35" fmla="*/ 7980 h 10000"/>
                <a:gd name="connsiteX36" fmla="*/ 6369 w 10023"/>
                <a:gd name="connsiteY36" fmla="*/ 8379 h 10000"/>
                <a:gd name="connsiteX37" fmla="*/ 6815 w 10023"/>
                <a:gd name="connsiteY37" fmla="*/ 8379 h 10000"/>
                <a:gd name="connsiteX38" fmla="*/ 6815 w 10023"/>
                <a:gd name="connsiteY38" fmla="*/ 9177 h 10000"/>
                <a:gd name="connsiteX39" fmla="*/ 6815 w 10023"/>
                <a:gd name="connsiteY39" fmla="*/ 9576 h 10000"/>
                <a:gd name="connsiteX40" fmla="*/ 5448 w 10023"/>
                <a:gd name="connsiteY40" fmla="*/ 9576 h 10000"/>
                <a:gd name="connsiteX41" fmla="*/ 5002 w 10023"/>
                <a:gd name="connsiteY41" fmla="*/ 10000 h 10000"/>
                <a:gd name="connsiteX42" fmla="*/ 4553 w 10023"/>
                <a:gd name="connsiteY42" fmla="*/ 9576 h 10000"/>
                <a:gd name="connsiteX43" fmla="*/ 4105 w 10023"/>
                <a:gd name="connsiteY43" fmla="*/ 8803 h 10000"/>
                <a:gd name="connsiteX44" fmla="*/ 2736 w 10023"/>
                <a:gd name="connsiteY44" fmla="*/ 8803 h 10000"/>
                <a:gd name="connsiteX45" fmla="*/ 1817 w 10023"/>
                <a:gd name="connsiteY45" fmla="*/ 8803 h 10000"/>
                <a:gd name="connsiteX46" fmla="*/ 448 w 10023"/>
                <a:gd name="connsiteY46" fmla="*/ 8803 h 10000"/>
                <a:gd name="connsiteX0" fmla="*/ 448 w 10023"/>
                <a:gd name="connsiteY0" fmla="*/ 8803 h 10000"/>
                <a:gd name="connsiteX1" fmla="*/ 448 w 10023"/>
                <a:gd name="connsiteY1" fmla="*/ 8803 h 10000"/>
                <a:gd name="connsiteX2" fmla="*/ 448 w 10023"/>
                <a:gd name="connsiteY2" fmla="*/ 7980 h 10000"/>
                <a:gd name="connsiteX3" fmla="*/ 1369 w 10023"/>
                <a:gd name="connsiteY3" fmla="*/ 7606 h 10000"/>
                <a:gd name="connsiteX4" fmla="*/ 922 w 10023"/>
                <a:gd name="connsiteY4" fmla="*/ 6783 h 10000"/>
                <a:gd name="connsiteX5" fmla="*/ 448 w 10023"/>
                <a:gd name="connsiteY5" fmla="*/ 6409 h 10000"/>
                <a:gd name="connsiteX6" fmla="*/ 0 w 10023"/>
                <a:gd name="connsiteY6" fmla="*/ 5586 h 10000"/>
                <a:gd name="connsiteX7" fmla="*/ 922 w 10023"/>
                <a:gd name="connsiteY7" fmla="*/ 5985 h 10000"/>
                <a:gd name="connsiteX8" fmla="*/ 3632 w 10023"/>
                <a:gd name="connsiteY8" fmla="*/ 5586 h 10000"/>
                <a:gd name="connsiteX9" fmla="*/ 3632 w 10023"/>
                <a:gd name="connsiteY9" fmla="*/ 4788 h 10000"/>
                <a:gd name="connsiteX10" fmla="*/ 4105 w 10023"/>
                <a:gd name="connsiteY10" fmla="*/ 4389 h 10000"/>
                <a:gd name="connsiteX11" fmla="*/ 5921 w 10023"/>
                <a:gd name="connsiteY11" fmla="*/ 4015 h 10000"/>
                <a:gd name="connsiteX12" fmla="*/ 5921 w 10023"/>
                <a:gd name="connsiteY12" fmla="*/ 3192 h 10000"/>
                <a:gd name="connsiteX13" fmla="*/ 6369 w 10023"/>
                <a:gd name="connsiteY13" fmla="*/ 2818 h 10000"/>
                <a:gd name="connsiteX14" fmla="*/ 6369 w 10023"/>
                <a:gd name="connsiteY14" fmla="*/ 2394 h 10000"/>
                <a:gd name="connsiteX15" fmla="*/ 6815 w 10023"/>
                <a:gd name="connsiteY15" fmla="*/ 2394 h 10000"/>
                <a:gd name="connsiteX16" fmla="*/ 7290 w 10023"/>
                <a:gd name="connsiteY16" fmla="*/ 1621 h 10000"/>
                <a:gd name="connsiteX17" fmla="*/ 7290 w 10023"/>
                <a:gd name="connsiteY17" fmla="*/ 798 h 10000"/>
                <a:gd name="connsiteX18" fmla="*/ 8186 w 10023"/>
                <a:gd name="connsiteY18" fmla="*/ 424 h 10000"/>
                <a:gd name="connsiteX19" fmla="*/ 9107 w 10023"/>
                <a:gd name="connsiteY19" fmla="*/ 0 h 10000"/>
                <a:gd name="connsiteX20" fmla="*/ 9554 w 10023"/>
                <a:gd name="connsiteY20" fmla="*/ 0 h 10000"/>
                <a:gd name="connsiteX21" fmla="*/ 8652 w 10023"/>
                <a:gd name="connsiteY21" fmla="*/ 800 h 10000"/>
                <a:gd name="connsiteX22" fmla="*/ 9554 w 10023"/>
                <a:gd name="connsiteY22" fmla="*/ 1621 h 10000"/>
                <a:gd name="connsiteX23" fmla="*/ 9107 w 10023"/>
                <a:gd name="connsiteY23" fmla="*/ 1995 h 10000"/>
                <a:gd name="connsiteX24" fmla="*/ 9554 w 10023"/>
                <a:gd name="connsiteY24" fmla="*/ 2394 h 10000"/>
                <a:gd name="connsiteX25" fmla="*/ 10023 w 10023"/>
                <a:gd name="connsiteY25" fmla="*/ 2850 h 10000"/>
                <a:gd name="connsiteX26" fmla="*/ 10000 w 10023"/>
                <a:gd name="connsiteY26" fmla="*/ 3591 h 10000"/>
                <a:gd name="connsiteX27" fmla="*/ 10000 w 10023"/>
                <a:gd name="connsiteY27" fmla="*/ 4015 h 10000"/>
                <a:gd name="connsiteX28" fmla="*/ 10000 w 10023"/>
                <a:gd name="connsiteY28" fmla="*/ 4389 h 10000"/>
                <a:gd name="connsiteX29" fmla="*/ 7738 w 10023"/>
                <a:gd name="connsiteY29" fmla="*/ 6783 h 10000"/>
                <a:gd name="connsiteX30" fmla="*/ 6815 w 10023"/>
                <a:gd name="connsiteY30" fmla="*/ 7182 h 10000"/>
                <a:gd name="connsiteX31" fmla="*/ 6369 w 10023"/>
                <a:gd name="connsiteY31" fmla="*/ 6783 h 10000"/>
                <a:gd name="connsiteX32" fmla="*/ 5921 w 10023"/>
                <a:gd name="connsiteY32" fmla="*/ 7182 h 10000"/>
                <a:gd name="connsiteX33" fmla="*/ 5921 w 10023"/>
                <a:gd name="connsiteY33" fmla="*/ 7980 h 10000"/>
                <a:gd name="connsiteX34" fmla="*/ 6369 w 10023"/>
                <a:gd name="connsiteY34" fmla="*/ 7980 h 10000"/>
                <a:gd name="connsiteX35" fmla="*/ 6369 w 10023"/>
                <a:gd name="connsiteY35" fmla="*/ 8379 h 10000"/>
                <a:gd name="connsiteX36" fmla="*/ 6815 w 10023"/>
                <a:gd name="connsiteY36" fmla="*/ 8379 h 10000"/>
                <a:gd name="connsiteX37" fmla="*/ 6815 w 10023"/>
                <a:gd name="connsiteY37" fmla="*/ 9177 h 10000"/>
                <a:gd name="connsiteX38" fmla="*/ 6815 w 10023"/>
                <a:gd name="connsiteY38" fmla="*/ 9576 h 10000"/>
                <a:gd name="connsiteX39" fmla="*/ 5448 w 10023"/>
                <a:gd name="connsiteY39" fmla="*/ 9576 h 10000"/>
                <a:gd name="connsiteX40" fmla="*/ 5002 w 10023"/>
                <a:gd name="connsiteY40" fmla="*/ 10000 h 10000"/>
                <a:gd name="connsiteX41" fmla="*/ 4553 w 10023"/>
                <a:gd name="connsiteY41" fmla="*/ 9576 h 10000"/>
                <a:gd name="connsiteX42" fmla="*/ 4105 w 10023"/>
                <a:gd name="connsiteY42" fmla="*/ 8803 h 10000"/>
                <a:gd name="connsiteX43" fmla="*/ 2736 w 10023"/>
                <a:gd name="connsiteY43" fmla="*/ 8803 h 10000"/>
                <a:gd name="connsiteX44" fmla="*/ 1817 w 10023"/>
                <a:gd name="connsiteY44" fmla="*/ 8803 h 10000"/>
                <a:gd name="connsiteX45" fmla="*/ 448 w 10023"/>
                <a:gd name="connsiteY45" fmla="*/ 8803 h 10000"/>
                <a:gd name="connsiteX0" fmla="*/ 448 w 10023"/>
                <a:gd name="connsiteY0" fmla="*/ 8803 h 10000"/>
                <a:gd name="connsiteX1" fmla="*/ 448 w 10023"/>
                <a:gd name="connsiteY1" fmla="*/ 8803 h 10000"/>
                <a:gd name="connsiteX2" fmla="*/ 448 w 10023"/>
                <a:gd name="connsiteY2" fmla="*/ 7980 h 10000"/>
                <a:gd name="connsiteX3" fmla="*/ 1369 w 10023"/>
                <a:gd name="connsiteY3" fmla="*/ 7606 h 10000"/>
                <a:gd name="connsiteX4" fmla="*/ 922 w 10023"/>
                <a:gd name="connsiteY4" fmla="*/ 6783 h 10000"/>
                <a:gd name="connsiteX5" fmla="*/ 448 w 10023"/>
                <a:gd name="connsiteY5" fmla="*/ 6409 h 10000"/>
                <a:gd name="connsiteX6" fmla="*/ 0 w 10023"/>
                <a:gd name="connsiteY6" fmla="*/ 5586 h 10000"/>
                <a:gd name="connsiteX7" fmla="*/ 922 w 10023"/>
                <a:gd name="connsiteY7" fmla="*/ 5985 h 10000"/>
                <a:gd name="connsiteX8" fmla="*/ 3632 w 10023"/>
                <a:gd name="connsiteY8" fmla="*/ 5586 h 10000"/>
                <a:gd name="connsiteX9" fmla="*/ 3632 w 10023"/>
                <a:gd name="connsiteY9" fmla="*/ 4788 h 10000"/>
                <a:gd name="connsiteX10" fmla="*/ 4105 w 10023"/>
                <a:gd name="connsiteY10" fmla="*/ 4389 h 10000"/>
                <a:gd name="connsiteX11" fmla="*/ 5921 w 10023"/>
                <a:gd name="connsiteY11" fmla="*/ 4015 h 10000"/>
                <a:gd name="connsiteX12" fmla="*/ 5921 w 10023"/>
                <a:gd name="connsiteY12" fmla="*/ 3192 h 10000"/>
                <a:gd name="connsiteX13" fmla="*/ 6369 w 10023"/>
                <a:gd name="connsiteY13" fmla="*/ 2818 h 10000"/>
                <a:gd name="connsiteX14" fmla="*/ 6369 w 10023"/>
                <a:gd name="connsiteY14" fmla="*/ 2394 h 10000"/>
                <a:gd name="connsiteX15" fmla="*/ 6815 w 10023"/>
                <a:gd name="connsiteY15" fmla="*/ 2394 h 10000"/>
                <a:gd name="connsiteX16" fmla="*/ 7290 w 10023"/>
                <a:gd name="connsiteY16" fmla="*/ 1621 h 10000"/>
                <a:gd name="connsiteX17" fmla="*/ 7290 w 10023"/>
                <a:gd name="connsiteY17" fmla="*/ 798 h 10000"/>
                <a:gd name="connsiteX18" fmla="*/ 8186 w 10023"/>
                <a:gd name="connsiteY18" fmla="*/ 424 h 10000"/>
                <a:gd name="connsiteX19" fmla="*/ 9107 w 10023"/>
                <a:gd name="connsiteY19" fmla="*/ 0 h 10000"/>
                <a:gd name="connsiteX20" fmla="*/ 9554 w 10023"/>
                <a:gd name="connsiteY20" fmla="*/ 0 h 10000"/>
                <a:gd name="connsiteX21" fmla="*/ 8652 w 10023"/>
                <a:gd name="connsiteY21" fmla="*/ 800 h 10000"/>
                <a:gd name="connsiteX22" fmla="*/ 9554 w 10023"/>
                <a:gd name="connsiteY22" fmla="*/ 1621 h 10000"/>
                <a:gd name="connsiteX23" fmla="*/ 9107 w 10023"/>
                <a:gd name="connsiteY23" fmla="*/ 1995 h 10000"/>
                <a:gd name="connsiteX24" fmla="*/ 9554 w 10023"/>
                <a:gd name="connsiteY24" fmla="*/ 2394 h 10000"/>
                <a:gd name="connsiteX25" fmla="*/ 10023 w 10023"/>
                <a:gd name="connsiteY25" fmla="*/ 2850 h 10000"/>
                <a:gd name="connsiteX26" fmla="*/ 10000 w 10023"/>
                <a:gd name="connsiteY26" fmla="*/ 3591 h 10000"/>
                <a:gd name="connsiteX27" fmla="*/ 10000 w 10023"/>
                <a:gd name="connsiteY27" fmla="*/ 4389 h 10000"/>
                <a:gd name="connsiteX28" fmla="*/ 7738 w 10023"/>
                <a:gd name="connsiteY28" fmla="*/ 6783 h 10000"/>
                <a:gd name="connsiteX29" fmla="*/ 6815 w 10023"/>
                <a:gd name="connsiteY29" fmla="*/ 7182 h 10000"/>
                <a:gd name="connsiteX30" fmla="*/ 6369 w 10023"/>
                <a:gd name="connsiteY30" fmla="*/ 6783 h 10000"/>
                <a:gd name="connsiteX31" fmla="*/ 5921 w 10023"/>
                <a:gd name="connsiteY31" fmla="*/ 7182 h 10000"/>
                <a:gd name="connsiteX32" fmla="*/ 5921 w 10023"/>
                <a:gd name="connsiteY32" fmla="*/ 7980 h 10000"/>
                <a:gd name="connsiteX33" fmla="*/ 6369 w 10023"/>
                <a:gd name="connsiteY33" fmla="*/ 7980 h 10000"/>
                <a:gd name="connsiteX34" fmla="*/ 6369 w 10023"/>
                <a:gd name="connsiteY34" fmla="*/ 8379 h 10000"/>
                <a:gd name="connsiteX35" fmla="*/ 6815 w 10023"/>
                <a:gd name="connsiteY35" fmla="*/ 8379 h 10000"/>
                <a:gd name="connsiteX36" fmla="*/ 6815 w 10023"/>
                <a:gd name="connsiteY36" fmla="*/ 9177 h 10000"/>
                <a:gd name="connsiteX37" fmla="*/ 6815 w 10023"/>
                <a:gd name="connsiteY37" fmla="*/ 9576 h 10000"/>
                <a:gd name="connsiteX38" fmla="*/ 5448 w 10023"/>
                <a:gd name="connsiteY38" fmla="*/ 9576 h 10000"/>
                <a:gd name="connsiteX39" fmla="*/ 5002 w 10023"/>
                <a:gd name="connsiteY39" fmla="*/ 10000 h 10000"/>
                <a:gd name="connsiteX40" fmla="*/ 4553 w 10023"/>
                <a:gd name="connsiteY40" fmla="*/ 9576 h 10000"/>
                <a:gd name="connsiteX41" fmla="*/ 4105 w 10023"/>
                <a:gd name="connsiteY41" fmla="*/ 8803 h 10000"/>
                <a:gd name="connsiteX42" fmla="*/ 2736 w 10023"/>
                <a:gd name="connsiteY42" fmla="*/ 8803 h 10000"/>
                <a:gd name="connsiteX43" fmla="*/ 1817 w 10023"/>
                <a:gd name="connsiteY43" fmla="*/ 8803 h 10000"/>
                <a:gd name="connsiteX44" fmla="*/ 448 w 10023"/>
                <a:gd name="connsiteY44" fmla="*/ 8803 h 10000"/>
                <a:gd name="connsiteX0" fmla="*/ 448 w 10381"/>
                <a:gd name="connsiteY0" fmla="*/ 8803 h 10000"/>
                <a:gd name="connsiteX1" fmla="*/ 448 w 10381"/>
                <a:gd name="connsiteY1" fmla="*/ 8803 h 10000"/>
                <a:gd name="connsiteX2" fmla="*/ 448 w 10381"/>
                <a:gd name="connsiteY2" fmla="*/ 7980 h 10000"/>
                <a:gd name="connsiteX3" fmla="*/ 1369 w 10381"/>
                <a:gd name="connsiteY3" fmla="*/ 7606 h 10000"/>
                <a:gd name="connsiteX4" fmla="*/ 922 w 10381"/>
                <a:gd name="connsiteY4" fmla="*/ 6783 h 10000"/>
                <a:gd name="connsiteX5" fmla="*/ 448 w 10381"/>
                <a:gd name="connsiteY5" fmla="*/ 6409 h 10000"/>
                <a:gd name="connsiteX6" fmla="*/ 0 w 10381"/>
                <a:gd name="connsiteY6" fmla="*/ 5586 h 10000"/>
                <a:gd name="connsiteX7" fmla="*/ 922 w 10381"/>
                <a:gd name="connsiteY7" fmla="*/ 5985 h 10000"/>
                <a:gd name="connsiteX8" fmla="*/ 3632 w 10381"/>
                <a:gd name="connsiteY8" fmla="*/ 5586 h 10000"/>
                <a:gd name="connsiteX9" fmla="*/ 3632 w 10381"/>
                <a:gd name="connsiteY9" fmla="*/ 4788 h 10000"/>
                <a:gd name="connsiteX10" fmla="*/ 4105 w 10381"/>
                <a:gd name="connsiteY10" fmla="*/ 4389 h 10000"/>
                <a:gd name="connsiteX11" fmla="*/ 5921 w 10381"/>
                <a:gd name="connsiteY11" fmla="*/ 4015 h 10000"/>
                <a:gd name="connsiteX12" fmla="*/ 5921 w 10381"/>
                <a:gd name="connsiteY12" fmla="*/ 3192 h 10000"/>
                <a:gd name="connsiteX13" fmla="*/ 6369 w 10381"/>
                <a:gd name="connsiteY13" fmla="*/ 2818 h 10000"/>
                <a:gd name="connsiteX14" fmla="*/ 6369 w 10381"/>
                <a:gd name="connsiteY14" fmla="*/ 2394 h 10000"/>
                <a:gd name="connsiteX15" fmla="*/ 6815 w 10381"/>
                <a:gd name="connsiteY15" fmla="*/ 2394 h 10000"/>
                <a:gd name="connsiteX16" fmla="*/ 7290 w 10381"/>
                <a:gd name="connsiteY16" fmla="*/ 1621 h 10000"/>
                <a:gd name="connsiteX17" fmla="*/ 7290 w 10381"/>
                <a:gd name="connsiteY17" fmla="*/ 798 h 10000"/>
                <a:gd name="connsiteX18" fmla="*/ 8186 w 10381"/>
                <a:gd name="connsiteY18" fmla="*/ 424 h 10000"/>
                <a:gd name="connsiteX19" fmla="*/ 9107 w 10381"/>
                <a:gd name="connsiteY19" fmla="*/ 0 h 10000"/>
                <a:gd name="connsiteX20" fmla="*/ 9554 w 10381"/>
                <a:gd name="connsiteY20" fmla="*/ 0 h 10000"/>
                <a:gd name="connsiteX21" fmla="*/ 8652 w 10381"/>
                <a:gd name="connsiteY21" fmla="*/ 800 h 10000"/>
                <a:gd name="connsiteX22" fmla="*/ 9554 w 10381"/>
                <a:gd name="connsiteY22" fmla="*/ 1621 h 10000"/>
                <a:gd name="connsiteX23" fmla="*/ 9107 w 10381"/>
                <a:gd name="connsiteY23" fmla="*/ 1995 h 10000"/>
                <a:gd name="connsiteX24" fmla="*/ 9554 w 10381"/>
                <a:gd name="connsiteY24" fmla="*/ 2394 h 10000"/>
                <a:gd name="connsiteX25" fmla="*/ 10023 w 10381"/>
                <a:gd name="connsiteY25" fmla="*/ 2850 h 10000"/>
                <a:gd name="connsiteX26" fmla="*/ 10000 w 10381"/>
                <a:gd name="connsiteY26" fmla="*/ 4389 h 10000"/>
                <a:gd name="connsiteX27" fmla="*/ 7738 w 10381"/>
                <a:gd name="connsiteY27" fmla="*/ 6783 h 10000"/>
                <a:gd name="connsiteX28" fmla="*/ 6815 w 10381"/>
                <a:gd name="connsiteY28" fmla="*/ 7182 h 10000"/>
                <a:gd name="connsiteX29" fmla="*/ 6369 w 10381"/>
                <a:gd name="connsiteY29" fmla="*/ 6783 h 10000"/>
                <a:gd name="connsiteX30" fmla="*/ 5921 w 10381"/>
                <a:gd name="connsiteY30" fmla="*/ 7182 h 10000"/>
                <a:gd name="connsiteX31" fmla="*/ 5921 w 10381"/>
                <a:gd name="connsiteY31" fmla="*/ 7980 h 10000"/>
                <a:gd name="connsiteX32" fmla="*/ 6369 w 10381"/>
                <a:gd name="connsiteY32" fmla="*/ 7980 h 10000"/>
                <a:gd name="connsiteX33" fmla="*/ 6369 w 10381"/>
                <a:gd name="connsiteY33" fmla="*/ 8379 h 10000"/>
                <a:gd name="connsiteX34" fmla="*/ 6815 w 10381"/>
                <a:gd name="connsiteY34" fmla="*/ 8379 h 10000"/>
                <a:gd name="connsiteX35" fmla="*/ 6815 w 10381"/>
                <a:gd name="connsiteY35" fmla="*/ 9177 h 10000"/>
                <a:gd name="connsiteX36" fmla="*/ 6815 w 10381"/>
                <a:gd name="connsiteY36" fmla="*/ 9576 h 10000"/>
                <a:gd name="connsiteX37" fmla="*/ 5448 w 10381"/>
                <a:gd name="connsiteY37" fmla="*/ 9576 h 10000"/>
                <a:gd name="connsiteX38" fmla="*/ 5002 w 10381"/>
                <a:gd name="connsiteY38" fmla="*/ 10000 h 10000"/>
                <a:gd name="connsiteX39" fmla="*/ 4553 w 10381"/>
                <a:gd name="connsiteY39" fmla="*/ 9576 h 10000"/>
                <a:gd name="connsiteX40" fmla="*/ 4105 w 10381"/>
                <a:gd name="connsiteY40" fmla="*/ 8803 h 10000"/>
                <a:gd name="connsiteX41" fmla="*/ 2736 w 10381"/>
                <a:gd name="connsiteY41" fmla="*/ 8803 h 10000"/>
                <a:gd name="connsiteX42" fmla="*/ 1817 w 10381"/>
                <a:gd name="connsiteY42" fmla="*/ 8803 h 10000"/>
                <a:gd name="connsiteX43" fmla="*/ 448 w 10381"/>
                <a:gd name="connsiteY43" fmla="*/ 8803 h 10000"/>
                <a:gd name="connsiteX0" fmla="*/ 448 w 10403"/>
                <a:gd name="connsiteY0" fmla="*/ 8803 h 10000"/>
                <a:gd name="connsiteX1" fmla="*/ 448 w 10403"/>
                <a:gd name="connsiteY1" fmla="*/ 8803 h 10000"/>
                <a:gd name="connsiteX2" fmla="*/ 448 w 10403"/>
                <a:gd name="connsiteY2" fmla="*/ 7980 h 10000"/>
                <a:gd name="connsiteX3" fmla="*/ 1369 w 10403"/>
                <a:gd name="connsiteY3" fmla="*/ 7606 h 10000"/>
                <a:gd name="connsiteX4" fmla="*/ 922 w 10403"/>
                <a:gd name="connsiteY4" fmla="*/ 6783 h 10000"/>
                <a:gd name="connsiteX5" fmla="*/ 448 w 10403"/>
                <a:gd name="connsiteY5" fmla="*/ 6409 h 10000"/>
                <a:gd name="connsiteX6" fmla="*/ 0 w 10403"/>
                <a:gd name="connsiteY6" fmla="*/ 5586 h 10000"/>
                <a:gd name="connsiteX7" fmla="*/ 922 w 10403"/>
                <a:gd name="connsiteY7" fmla="*/ 5985 h 10000"/>
                <a:gd name="connsiteX8" fmla="*/ 3632 w 10403"/>
                <a:gd name="connsiteY8" fmla="*/ 5586 h 10000"/>
                <a:gd name="connsiteX9" fmla="*/ 3632 w 10403"/>
                <a:gd name="connsiteY9" fmla="*/ 4788 h 10000"/>
                <a:gd name="connsiteX10" fmla="*/ 4105 w 10403"/>
                <a:gd name="connsiteY10" fmla="*/ 4389 h 10000"/>
                <a:gd name="connsiteX11" fmla="*/ 5921 w 10403"/>
                <a:gd name="connsiteY11" fmla="*/ 4015 h 10000"/>
                <a:gd name="connsiteX12" fmla="*/ 5921 w 10403"/>
                <a:gd name="connsiteY12" fmla="*/ 3192 h 10000"/>
                <a:gd name="connsiteX13" fmla="*/ 6369 w 10403"/>
                <a:gd name="connsiteY13" fmla="*/ 2818 h 10000"/>
                <a:gd name="connsiteX14" fmla="*/ 6369 w 10403"/>
                <a:gd name="connsiteY14" fmla="*/ 2394 h 10000"/>
                <a:gd name="connsiteX15" fmla="*/ 6815 w 10403"/>
                <a:gd name="connsiteY15" fmla="*/ 2394 h 10000"/>
                <a:gd name="connsiteX16" fmla="*/ 7290 w 10403"/>
                <a:gd name="connsiteY16" fmla="*/ 1621 h 10000"/>
                <a:gd name="connsiteX17" fmla="*/ 7290 w 10403"/>
                <a:gd name="connsiteY17" fmla="*/ 798 h 10000"/>
                <a:gd name="connsiteX18" fmla="*/ 8186 w 10403"/>
                <a:gd name="connsiteY18" fmla="*/ 424 h 10000"/>
                <a:gd name="connsiteX19" fmla="*/ 9107 w 10403"/>
                <a:gd name="connsiteY19" fmla="*/ 0 h 10000"/>
                <a:gd name="connsiteX20" fmla="*/ 9554 w 10403"/>
                <a:gd name="connsiteY20" fmla="*/ 0 h 10000"/>
                <a:gd name="connsiteX21" fmla="*/ 8652 w 10403"/>
                <a:gd name="connsiteY21" fmla="*/ 800 h 10000"/>
                <a:gd name="connsiteX22" fmla="*/ 9554 w 10403"/>
                <a:gd name="connsiteY22" fmla="*/ 1621 h 10000"/>
                <a:gd name="connsiteX23" fmla="*/ 9107 w 10403"/>
                <a:gd name="connsiteY23" fmla="*/ 1995 h 10000"/>
                <a:gd name="connsiteX24" fmla="*/ 9554 w 10403"/>
                <a:gd name="connsiteY24" fmla="*/ 2394 h 10000"/>
                <a:gd name="connsiteX25" fmla="*/ 10023 w 10403"/>
                <a:gd name="connsiteY25" fmla="*/ 2850 h 10000"/>
                <a:gd name="connsiteX26" fmla="*/ 10381 w 10403"/>
                <a:gd name="connsiteY26" fmla="*/ 3200 h 10000"/>
                <a:gd name="connsiteX27" fmla="*/ 10000 w 10403"/>
                <a:gd name="connsiteY27" fmla="*/ 4389 h 10000"/>
                <a:gd name="connsiteX28" fmla="*/ 7738 w 10403"/>
                <a:gd name="connsiteY28" fmla="*/ 6783 h 10000"/>
                <a:gd name="connsiteX29" fmla="*/ 6815 w 10403"/>
                <a:gd name="connsiteY29" fmla="*/ 7182 h 10000"/>
                <a:gd name="connsiteX30" fmla="*/ 6369 w 10403"/>
                <a:gd name="connsiteY30" fmla="*/ 6783 h 10000"/>
                <a:gd name="connsiteX31" fmla="*/ 5921 w 10403"/>
                <a:gd name="connsiteY31" fmla="*/ 7182 h 10000"/>
                <a:gd name="connsiteX32" fmla="*/ 5921 w 10403"/>
                <a:gd name="connsiteY32" fmla="*/ 7980 h 10000"/>
                <a:gd name="connsiteX33" fmla="*/ 6369 w 10403"/>
                <a:gd name="connsiteY33" fmla="*/ 7980 h 10000"/>
                <a:gd name="connsiteX34" fmla="*/ 6369 w 10403"/>
                <a:gd name="connsiteY34" fmla="*/ 8379 h 10000"/>
                <a:gd name="connsiteX35" fmla="*/ 6815 w 10403"/>
                <a:gd name="connsiteY35" fmla="*/ 8379 h 10000"/>
                <a:gd name="connsiteX36" fmla="*/ 6815 w 10403"/>
                <a:gd name="connsiteY36" fmla="*/ 9177 h 10000"/>
                <a:gd name="connsiteX37" fmla="*/ 6815 w 10403"/>
                <a:gd name="connsiteY37" fmla="*/ 9576 h 10000"/>
                <a:gd name="connsiteX38" fmla="*/ 5448 w 10403"/>
                <a:gd name="connsiteY38" fmla="*/ 9576 h 10000"/>
                <a:gd name="connsiteX39" fmla="*/ 5002 w 10403"/>
                <a:gd name="connsiteY39" fmla="*/ 10000 h 10000"/>
                <a:gd name="connsiteX40" fmla="*/ 4553 w 10403"/>
                <a:gd name="connsiteY40" fmla="*/ 9576 h 10000"/>
                <a:gd name="connsiteX41" fmla="*/ 4105 w 10403"/>
                <a:gd name="connsiteY41" fmla="*/ 8803 h 10000"/>
                <a:gd name="connsiteX42" fmla="*/ 2736 w 10403"/>
                <a:gd name="connsiteY42" fmla="*/ 8803 h 10000"/>
                <a:gd name="connsiteX43" fmla="*/ 1817 w 10403"/>
                <a:gd name="connsiteY43" fmla="*/ 8803 h 10000"/>
                <a:gd name="connsiteX44" fmla="*/ 448 w 10403"/>
                <a:gd name="connsiteY44" fmla="*/ 8803 h 10000"/>
                <a:gd name="connsiteX0" fmla="*/ 448 w 10403"/>
                <a:gd name="connsiteY0" fmla="*/ 8803 h 10000"/>
                <a:gd name="connsiteX1" fmla="*/ 448 w 10403"/>
                <a:gd name="connsiteY1" fmla="*/ 8803 h 10000"/>
                <a:gd name="connsiteX2" fmla="*/ 448 w 10403"/>
                <a:gd name="connsiteY2" fmla="*/ 7980 h 10000"/>
                <a:gd name="connsiteX3" fmla="*/ 1369 w 10403"/>
                <a:gd name="connsiteY3" fmla="*/ 7606 h 10000"/>
                <a:gd name="connsiteX4" fmla="*/ 922 w 10403"/>
                <a:gd name="connsiteY4" fmla="*/ 6783 h 10000"/>
                <a:gd name="connsiteX5" fmla="*/ 448 w 10403"/>
                <a:gd name="connsiteY5" fmla="*/ 6409 h 10000"/>
                <a:gd name="connsiteX6" fmla="*/ 0 w 10403"/>
                <a:gd name="connsiteY6" fmla="*/ 5586 h 10000"/>
                <a:gd name="connsiteX7" fmla="*/ 922 w 10403"/>
                <a:gd name="connsiteY7" fmla="*/ 5985 h 10000"/>
                <a:gd name="connsiteX8" fmla="*/ 3632 w 10403"/>
                <a:gd name="connsiteY8" fmla="*/ 5586 h 10000"/>
                <a:gd name="connsiteX9" fmla="*/ 3632 w 10403"/>
                <a:gd name="connsiteY9" fmla="*/ 4788 h 10000"/>
                <a:gd name="connsiteX10" fmla="*/ 4105 w 10403"/>
                <a:gd name="connsiteY10" fmla="*/ 4389 h 10000"/>
                <a:gd name="connsiteX11" fmla="*/ 5921 w 10403"/>
                <a:gd name="connsiteY11" fmla="*/ 4015 h 10000"/>
                <a:gd name="connsiteX12" fmla="*/ 5921 w 10403"/>
                <a:gd name="connsiteY12" fmla="*/ 3192 h 10000"/>
                <a:gd name="connsiteX13" fmla="*/ 6369 w 10403"/>
                <a:gd name="connsiteY13" fmla="*/ 2818 h 10000"/>
                <a:gd name="connsiteX14" fmla="*/ 6369 w 10403"/>
                <a:gd name="connsiteY14" fmla="*/ 2394 h 10000"/>
                <a:gd name="connsiteX15" fmla="*/ 6815 w 10403"/>
                <a:gd name="connsiteY15" fmla="*/ 2394 h 10000"/>
                <a:gd name="connsiteX16" fmla="*/ 7290 w 10403"/>
                <a:gd name="connsiteY16" fmla="*/ 1621 h 10000"/>
                <a:gd name="connsiteX17" fmla="*/ 7290 w 10403"/>
                <a:gd name="connsiteY17" fmla="*/ 798 h 10000"/>
                <a:gd name="connsiteX18" fmla="*/ 8186 w 10403"/>
                <a:gd name="connsiteY18" fmla="*/ 424 h 10000"/>
                <a:gd name="connsiteX19" fmla="*/ 9107 w 10403"/>
                <a:gd name="connsiteY19" fmla="*/ 0 h 10000"/>
                <a:gd name="connsiteX20" fmla="*/ 9554 w 10403"/>
                <a:gd name="connsiteY20" fmla="*/ 0 h 10000"/>
                <a:gd name="connsiteX21" fmla="*/ 9074 w 10403"/>
                <a:gd name="connsiteY21" fmla="*/ 800 h 10000"/>
                <a:gd name="connsiteX22" fmla="*/ 9554 w 10403"/>
                <a:gd name="connsiteY22" fmla="*/ 1621 h 10000"/>
                <a:gd name="connsiteX23" fmla="*/ 9107 w 10403"/>
                <a:gd name="connsiteY23" fmla="*/ 1995 h 10000"/>
                <a:gd name="connsiteX24" fmla="*/ 9554 w 10403"/>
                <a:gd name="connsiteY24" fmla="*/ 2394 h 10000"/>
                <a:gd name="connsiteX25" fmla="*/ 10023 w 10403"/>
                <a:gd name="connsiteY25" fmla="*/ 2850 h 10000"/>
                <a:gd name="connsiteX26" fmla="*/ 10381 w 10403"/>
                <a:gd name="connsiteY26" fmla="*/ 3200 h 10000"/>
                <a:gd name="connsiteX27" fmla="*/ 10000 w 10403"/>
                <a:gd name="connsiteY27" fmla="*/ 4389 h 10000"/>
                <a:gd name="connsiteX28" fmla="*/ 7738 w 10403"/>
                <a:gd name="connsiteY28" fmla="*/ 6783 h 10000"/>
                <a:gd name="connsiteX29" fmla="*/ 6815 w 10403"/>
                <a:gd name="connsiteY29" fmla="*/ 7182 h 10000"/>
                <a:gd name="connsiteX30" fmla="*/ 6369 w 10403"/>
                <a:gd name="connsiteY30" fmla="*/ 6783 h 10000"/>
                <a:gd name="connsiteX31" fmla="*/ 5921 w 10403"/>
                <a:gd name="connsiteY31" fmla="*/ 7182 h 10000"/>
                <a:gd name="connsiteX32" fmla="*/ 5921 w 10403"/>
                <a:gd name="connsiteY32" fmla="*/ 7980 h 10000"/>
                <a:gd name="connsiteX33" fmla="*/ 6369 w 10403"/>
                <a:gd name="connsiteY33" fmla="*/ 7980 h 10000"/>
                <a:gd name="connsiteX34" fmla="*/ 6369 w 10403"/>
                <a:gd name="connsiteY34" fmla="*/ 8379 h 10000"/>
                <a:gd name="connsiteX35" fmla="*/ 6815 w 10403"/>
                <a:gd name="connsiteY35" fmla="*/ 8379 h 10000"/>
                <a:gd name="connsiteX36" fmla="*/ 6815 w 10403"/>
                <a:gd name="connsiteY36" fmla="*/ 9177 h 10000"/>
                <a:gd name="connsiteX37" fmla="*/ 6815 w 10403"/>
                <a:gd name="connsiteY37" fmla="*/ 9576 h 10000"/>
                <a:gd name="connsiteX38" fmla="*/ 5448 w 10403"/>
                <a:gd name="connsiteY38" fmla="*/ 9576 h 10000"/>
                <a:gd name="connsiteX39" fmla="*/ 5002 w 10403"/>
                <a:gd name="connsiteY39" fmla="*/ 10000 h 10000"/>
                <a:gd name="connsiteX40" fmla="*/ 4553 w 10403"/>
                <a:gd name="connsiteY40" fmla="*/ 9576 h 10000"/>
                <a:gd name="connsiteX41" fmla="*/ 4105 w 10403"/>
                <a:gd name="connsiteY41" fmla="*/ 8803 h 10000"/>
                <a:gd name="connsiteX42" fmla="*/ 2736 w 10403"/>
                <a:gd name="connsiteY42" fmla="*/ 8803 h 10000"/>
                <a:gd name="connsiteX43" fmla="*/ 1817 w 10403"/>
                <a:gd name="connsiteY43" fmla="*/ 8803 h 10000"/>
                <a:gd name="connsiteX44" fmla="*/ 448 w 10403"/>
                <a:gd name="connsiteY44" fmla="*/ 8803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0403" h="10000">
                  <a:moveTo>
                    <a:pt x="448" y="8803"/>
                  </a:moveTo>
                  <a:lnTo>
                    <a:pt x="448" y="8803"/>
                  </a:lnTo>
                  <a:lnTo>
                    <a:pt x="448" y="7980"/>
                  </a:lnTo>
                  <a:lnTo>
                    <a:pt x="1369" y="7606"/>
                  </a:lnTo>
                  <a:lnTo>
                    <a:pt x="922" y="6783"/>
                  </a:lnTo>
                  <a:lnTo>
                    <a:pt x="448" y="6409"/>
                  </a:lnTo>
                  <a:lnTo>
                    <a:pt x="0" y="5586"/>
                  </a:lnTo>
                  <a:lnTo>
                    <a:pt x="922" y="5985"/>
                  </a:lnTo>
                  <a:lnTo>
                    <a:pt x="3632" y="5586"/>
                  </a:lnTo>
                  <a:lnTo>
                    <a:pt x="3632" y="4788"/>
                  </a:lnTo>
                  <a:lnTo>
                    <a:pt x="4105" y="4389"/>
                  </a:lnTo>
                  <a:lnTo>
                    <a:pt x="5921" y="4015"/>
                  </a:lnTo>
                  <a:lnTo>
                    <a:pt x="5921" y="3192"/>
                  </a:lnTo>
                  <a:lnTo>
                    <a:pt x="6369" y="2818"/>
                  </a:lnTo>
                  <a:lnTo>
                    <a:pt x="6369" y="2394"/>
                  </a:lnTo>
                  <a:lnTo>
                    <a:pt x="6815" y="2394"/>
                  </a:lnTo>
                  <a:lnTo>
                    <a:pt x="7290" y="1621"/>
                  </a:lnTo>
                  <a:lnTo>
                    <a:pt x="7290" y="798"/>
                  </a:lnTo>
                  <a:lnTo>
                    <a:pt x="8186" y="424"/>
                  </a:lnTo>
                  <a:lnTo>
                    <a:pt x="9107" y="0"/>
                  </a:lnTo>
                  <a:lnTo>
                    <a:pt x="9554" y="0"/>
                  </a:lnTo>
                  <a:cubicBezTo>
                    <a:pt x="9570" y="225"/>
                    <a:pt x="9058" y="575"/>
                    <a:pt x="9074" y="800"/>
                  </a:cubicBezTo>
                  <a:cubicBezTo>
                    <a:pt x="9058" y="1115"/>
                    <a:pt x="9570" y="1306"/>
                    <a:pt x="9554" y="1621"/>
                  </a:cubicBezTo>
                  <a:lnTo>
                    <a:pt x="9107" y="1995"/>
                  </a:lnTo>
                  <a:lnTo>
                    <a:pt x="9554" y="2394"/>
                  </a:lnTo>
                  <a:lnTo>
                    <a:pt x="10023" y="2850"/>
                  </a:lnTo>
                  <a:cubicBezTo>
                    <a:pt x="10123" y="3101"/>
                    <a:pt x="10385" y="2944"/>
                    <a:pt x="10381" y="3200"/>
                  </a:cubicBezTo>
                  <a:cubicBezTo>
                    <a:pt x="10377" y="3456"/>
                    <a:pt x="10403" y="3909"/>
                    <a:pt x="10000" y="4389"/>
                  </a:cubicBezTo>
                  <a:lnTo>
                    <a:pt x="7738" y="6783"/>
                  </a:lnTo>
                  <a:lnTo>
                    <a:pt x="6815" y="7182"/>
                  </a:lnTo>
                  <a:lnTo>
                    <a:pt x="6369" y="6783"/>
                  </a:lnTo>
                  <a:lnTo>
                    <a:pt x="5921" y="7182"/>
                  </a:lnTo>
                  <a:lnTo>
                    <a:pt x="5921" y="7980"/>
                  </a:lnTo>
                  <a:lnTo>
                    <a:pt x="6369" y="7980"/>
                  </a:lnTo>
                  <a:lnTo>
                    <a:pt x="6369" y="8379"/>
                  </a:lnTo>
                  <a:lnTo>
                    <a:pt x="6815" y="8379"/>
                  </a:lnTo>
                  <a:lnTo>
                    <a:pt x="6815" y="9177"/>
                  </a:lnTo>
                  <a:lnTo>
                    <a:pt x="6815" y="9576"/>
                  </a:lnTo>
                  <a:lnTo>
                    <a:pt x="5448" y="9576"/>
                  </a:lnTo>
                  <a:lnTo>
                    <a:pt x="5002" y="10000"/>
                  </a:lnTo>
                  <a:lnTo>
                    <a:pt x="4553" y="9576"/>
                  </a:lnTo>
                  <a:lnTo>
                    <a:pt x="4105" y="8803"/>
                  </a:lnTo>
                  <a:lnTo>
                    <a:pt x="2736" y="8803"/>
                  </a:lnTo>
                  <a:lnTo>
                    <a:pt x="1817" y="8803"/>
                  </a:lnTo>
                  <a:lnTo>
                    <a:pt x="448" y="8803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00" name="Freeform 193">
              <a:extLst>
                <a:ext uri="{FF2B5EF4-FFF2-40B4-BE49-F238E27FC236}">
                  <a16:creationId xmlns:a16="http://schemas.microsoft.com/office/drawing/2014/main" id="{B6A1FBA8-73B6-B826-087D-D9EB3DFF87D5}"/>
                </a:ext>
              </a:extLst>
            </p:cNvPr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6302430" y="3908492"/>
              <a:ext cx="392285" cy="358274"/>
            </a:xfrm>
            <a:custGeom>
              <a:avLst/>
              <a:gdLst>
                <a:gd name="T0" fmla="*/ 96044 w 520"/>
                <a:gd name="T1" fmla="*/ 88702 h 449"/>
                <a:gd name="T2" fmla="*/ 96044 w 520"/>
                <a:gd name="T3" fmla="*/ 88702 h 449"/>
                <a:gd name="T4" fmla="*/ 72231 w 520"/>
                <a:gd name="T5" fmla="*/ 85534 h 449"/>
                <a:gd name="T6" fmla="*/ 68262 w 520"/>
                <a:gd name="T7" fmla="*/ 79198 h 449"/>
                <a:gd name="T8" fmla="*/ 57944 w 520"/>
                <a:gd name="T9" fmla="*/ 82366 h 449"/>
                <a:gd name="T10" fmla="*/ 51594 w 520"/>
                <a:gd name="T11" fmla="*/ 82366 h 449"/>
                <a:gd name="T12" fmla="*/ 40481 w 520"/>
                <a:gd name="T13" fmla="*/ 72862 h 449"/>
                <a:gd name="T14" fmla="*/ 34131 w 520"/>
                <a:gd name="T15" fmla="*/ 63359 h 449"/>
                <a:gd name="T16" fmla="*/ 26987 w 520"/>
                <a:gd name="T17" fmla="*/ 60191 h 449"/>
                <a:gd name="T18" fmla="*/ 23812 w 520"/>
                <a:gd name="T19" fmla="*/ 60191 h 449"/>
                <a:gd name="T20" fmla="*/ 19844 w 520"/>
                <a:gd name="T21" fmla="*/ 57023 h 449"/>
                <a:gd name="T22" fmla="*/ 16669 w 520"/>
                <a:gd name="T23" fmla="*/ 47519 h 449"/>
                <a:gd name="T24" fmla="*/ 10319 w 520"/>
                <a:gd name="T25" fmla="*/ 44351 h 449"/>
                <a:gd name="T26" fmla="*/ 6350 w 520"/>
                <a:gd name="T27" fmla="*/ 38015 h 449"/>
                <a:gd name="T28" fmla="*/ 10319 w 520"/>
                <a:gd name="T29" fmla="*/ 31679 h 449"/>
                <a:gd name="T30" fmla="*/ 10319 w 520"/>
                <a:gd name="T31" fmla="*/ 25343 h 449"/>
                <a:gd name="T32" fmla="*/ 6350 w 520"/>
                <a:gd name="T33" fmla="*/ 25343 h 449"/>
                <a:gd name="T34" fmla="*/ 3175 w 520"/>
                <a:gd name="T35" fmla="*/ 19008 h 449"/>
                <a:gd name="T36" fmla="*/ 0 w 520"/>
                <a:gd name="T37" fmla="*/ 3168 h 449"/>
                <a:gd name="T38" fmla="*/ 3175 w 520"/>
                <a:gd name="T39" fmla="*/ 0 h 449"/>
                <a:gd name="T40" fmla="*/ 6350 w 520"/>
                <a:gd name="T41" fmla="*/ 6336 h 449"/>
                <a:gd name="T42" fmla="*/ 10319 w 520"/>
                <a:gd name="T43" fmla="*/ 6336 h 449"/>
                <a:gd name="T44" fmla="*/ 13494 w 520"/>
                <a:gd name="T45" fmla="*/ 6336 h 449"/>
                <a:gd name="T46" fmla="*/ 19844 w 520"/>
                <a:gd name="T47" fmla="*/ 3168 h 449"/>
                <a:gd name="T48" fmla="*/ 23812 w 520"/>
                <a:gd name="T49" fmla="*/ 3168 h 449"/>
                <a:gd name="T50" fmla="*/ 19844 w 520"/>
                <a:gd name="T51" fmla="*/ 6336 h 449"/>
                <a:gd name="T52" fmla="*/ 26987 w 520"/>
                <a:gd name="T53" fmla="*/ 9504 h 449"/>
                <a:gd name="T54" fmla="*/ 26987 w 520"/>
                <a:gd name="T55" fmla="*/ 15840 h 449"/>
                <a:gd name="T56" fmla="*/ 40481 w 520"/>
                <a:gd name="T57" fmla="*/ 22176 h 449"/>
                <a:gd name="T58" fmla="*/ 54769 w 520"/>
                <a:gd name="T59" fmla="*/ 22176 h 449"/>
                <a:gd name="T60" fmla="*/ 54769 w 520"/>
                <a:gd name="T61" fmla="*/ 15840 h 449"/>
                <a:gd name="T62" fmla="*/ 61119 w 520"/>
                <a:gd name="T63" fmla="*/ 12672 h 449"/>
                <a:gd name="T64" fmla="*/ 72231 w 520"/>
                <a:gd name="T65" fmla="*/ 12672 h 449"/>
                <a:gd name="T66" fmla="*/ 92869 w 520"/>
                <a:gd name="T67" fmla="*/ 22176 h 449"/>
                <a:gd name="T68" fmla="*/ 92869 w 520"/>
                <a:gd name="T69" fmla="*/ 25343 h 449"/>
                <a:gd name="T70" fmla="*/ 92869 w 520"/>
                <a:gd name="T71" fmla="*/ 28511 h 449"/>
                <a:gd name="T72" fmla="*/ 92869 w 520"/>
                <a:gd name="T73" fmla="*/ 31679 h 449"/>
                <a:gd name="T74" fmla="*/ 88900 w 520"/>
                <a:gd name="T75" fmla="*/ 38015 h 449"/>
                <a:gd name="T76" fmla="*/ 88900 w 520"/>
                <a:gd name="T77" fmla="*/ 50687 h 449"/>
                <a:gd name="T78" fmla="*/ 96044 w 520"/>
                <a:gd name="T79" fmla="*/ 53855 h 449"/>
                <a:gd name="T80" fmla="*/ 96044 w 520"/>
                <a:gd name="T81" fmla="*/ 57023 h 449"/>
                <a:gd name="T82" fmla="*/ 92869 w 520"/>
                <a:gd name="T83" fmla="*/ 63359 h 449"/>
                <a:gd name="T84" fmla="*/ 96044 w 520"/>
                <a:gd name="T85" fmla="*/ 69694 h 449"/>
                <a:gd name="T86" fmla="*/ 99219 w 520"/>
                <a:gd name="T87" fmla="*/ 72862 h 449"/>
                <a:gd name="T88" fmla="*/ 103188 w 520"/>
                <a:gd name="T89" fmla="*/ 79198 h 449"/>
                <a:gd name="T90" fmla="*/ 96044 w 520"/>
                <a:gd name="T91" fmla="*/ 82366 h 449"/>
                <a:gd name="T92" fmla="*/ 96044 w 520"/>
                <a:gd name="T93" fmla="*/ 88702 h 449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0"/>
                <a:gd name="T142" fmla="*/ 0 h 449"/>
                <a:gd name="T143" fmla="*/ 520 w 520"/>
                <a:gd name="T144" fmla="*/ 449 h 449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0" h="449">
                  <a:moveTo>
                    <a:pt x="485" y="449"/>
                  </a:moveTo>
                  <a:lnTo>
                    <a:pt x="485" y="449"/>
                  </a:lnTo>
                  <a:lnTo>
                    <a:pt x="364" y="432"/>
                  </a:lnTo>
                  <a:lnTo>
                    <a:pt x="345" y="401"/>
                  </a:lnTo>
                  <a:lnTo>
                    <a:pt x="293" y="416"/>
                  </a:lnTo>
                  <a:lnTo>
                    <a:pt x="259" y="416"/>
                  </a:lnTo>
                  <a:lnTo>
                    <a:pt x="207" y="368"/>
                  </a:lnTo>
                  <a:lnTo>
                    <a:pt x="172" y="320"/>
                  </a:lnTo>
                  <a:lnTo>
                    <a:pt x="138" y="305"/>
                  </a:lnTo>
                  <a:lnTo>
                    <a:pt x="121" y="305"/>
                  </a:lnTo>
                  <a:lnTo>
                    <a:pt x="103" y="288"/>
                  </a:lnTo>
                  <a:lnTo>
                    <a:pt x="86" y="240"/>
                  </a:lnTo>
                  <a:lnTo>
                    <a:pt x="52" y="224"/>
                  </a:lnTo>
                  <a:lnTo>
                    <a:pt x="34" y="192"/>
                  </a:lnTo>
                  <a:lnTo>
                    <a:pt x="52" y="161"/>
                  </a:lnTo>
                  <a:lnTo>
                    <a:pt x="52" y="128"/>
                  </a:lnTo>
                  <a:lnTo>
                    <a:pt x="34" y="128"/>
                  </a:lnTo>
                  <a:lnTo>
                    <a:pt x="17" y="96"/>
                  </a:lnTo>
                  <a:lnTo>
                    <a:pt x="0" y="17"/>
                  </a:lnTo>
                  <a:lnTo>
                    <a:pt x="17" y="0"/>
                  </a:lnTo>
                  <a:lnTo>
                    <a:pt x="34" y="33"/>
                  </a:lnTo>
                  <a:lnTo>
                    <a:pt x="52" y="33"/>
                  </a:lnTo>
                  <a:lnTo>
                    <a:pt x="69" y="33"/>
                  </a:lnTo>
                  <a:lnTo>
                    <a:pt x="103" y="17"/>
                  </a:lnTo>
                  <a:lnTo>
                    <a:pt x="121" y="17"/>
                  </a:lnTo>
                  <a:lnTo>
                    <a:pt x="103" y="33"/>
                  </a:lnTo>
                  <a:lnTo>
                    <a:pt x="138" y="48"/>
                  </a:lnTo>
                  <a:lnTo>
                    <a:pt x="138" y="80"/>
                  </a:lnTo>
                  <a:lnTo>
                    <a:pt x="207" y="113"/>
                  </a:lnTo>
                  <a:lnTo>
                    <a:pt x="276" y="113"/>
                  </a:lnTo>
                  <a:lnTo>
                    <a:pt x="276" y="80"/>
                  </a:lnTo>
                  <a:lnTo>
                    <a:pt x="311" y="65"/>
                  </a:lnTo>
                  <a:lnTo>
                    <a:pt x="364" y="65"/>
                  </a:lnTo>
                  <a:lnTo>
                    <a:pt x="468" y="113"/>
                  </a:lnTo>
                  <a:lnTo>
                    <a:pt x="468" y="128"/>
                  </a:lnTo>
                  <a:lnTo>
                    <a:pt x="468" y="144"/>
                  </a:lnTo>
                  <a:lnTo>
                    <a:pt x="468" y="161"/>
                  </a:lnTo>
                  <a:lnTo>
                    <a:pt x="451" y="192"/>
                  </a:lnTo>
                  <a:lnTo>
                    <a:pt x="451" y="257"/>
                  </a:lnTo>
                  <a:lnTo>
                    <a:pt x="485" y="272"/>
                  </a:lnTo>
                  <a:lnTo>
                    <a:pt x="485" y="288"/>
                  </a:lnTo>
                  <a:lnTo>
                    <a:pt x="468" y="320"/>
                  </a:lnTo>
                  <a:lnTo>
                    <a:pt x="485" y="353"/>
                  </a:lnTo>
                  <a:lnTo>
                    <a:pt x="503" y="368"/>
                  </a:lnTo>
                  <a:lnTo>
                    <a:pt x="520" y="401"/>
                  </a:lnTo>
                  <a:lnTo>
                    <a:pt x="485" y="416"/>
                  </a:lnTo>
                  <a:lnTo>
                    <a:pt x="485" y="449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01" name="Freeform 194">
              <a:extLst>
                <a:ext uri="{FF2B5EF4-FFF2-40B4-BE49-F238E27FC236}">
                  <a16:creationId xmlns:a16="http://schemas.microsoft.com/office/drawing/2014/main" id="{D9815805-0A1C-5BFB-BFF0-24948D740B62}"/>
                </a:ext>
              </a:extLst>
            </p:cNvPr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6209478" y="3818506"/>
              <a:ext cx="144941" cy="51658"/>
            </a:xfrm>
            <a:custGeom>
              <a:avLst/>
              <a:gdLst>
                <a:gd name="T0" fmla="*/ 10319 w 192"/>
                <a:gd name="T1" fmla="*/ 12902 h 63"/>
                <a:gd name="T2" fmla="*/ 10319 w 192"/>
                <a:gd name="T3" fmla="*/ 12902 h 63"/>
                <a:gd name="T4" fmla="*/ 10319 w 192"/>
                <a:gd name="T5" fmla="*/ 9676 h 63"/>
                <a:gd name="T6" fmla="*/ 10319 w 192"/>
                <a:gd name="T7" fmla="*/ 6451 h 63"/>
                <a:gd name="T8" fmla="*/ 0 w 192"/>
                <a:gd name="T9" fmla="*/ 0 h 63"/>
                <a:gd name="T10" fmla="*/ 17463 w 192"/>
                <a:gd name="T11" fmla="*/ 0 h 63"/>
                <a:gd name="T12" fmla="*/ 23812 w 192"/>
                <a:gd name="T13" fmla="*/ 3225 h 63"/>
                <a:gd name="T14" fmla="*/ 31750 w 192"/>
                <a:gd name="T15" fmla="*/ 3225 h 63"/>
                <a:gd name="T16" fmla="*/ 38100 w 192"/>
                <a:gd name="T17" fmla="*/ 9676 h 63"/>
                <a:gd name="T18" fmla="*/ 34925 w 192"/>
                <a:gd name="T19" fmla="*/ 9676 h 63"/>
                <a:gd name="T20" fmla="*/ 38100 w 192"/>
                <a:gd name="T21" fmla="*/ 12902 h 63"/>
                <a:gd name="T22" fmla="*/ 31750 w 192"/>
                <a:gd name="T23" fmla="*/ 12902 h 63"/>
                <a:gd name="T24" fmla="*/ 27781 w 192"/>
                <a:gd name="T25" fmla="*/ 12902 h 63"/>
                <a:gd name="T26" fmla="*/ 20637 w 192"/>
                <a:gd name="T27" fmla="*/ 12902 h 63"/>
                <a:gd name="T28" fmla="*/ 10319 w 192"/>
                <a:gd name="T29" fmla="*/ 12902 h 6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92"/>
                <a:gd name="T46" fmla="*/ 0 h 63"/>
                <a:gd name="T47" fmla="*/ 192 w 192"/>
                <a:gd name="T48" fmla="*/ 63 h 6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92" h="63">
                  <a:moveTo>
                    <a:pt x="54" y="63"/>
                  </a:moveTo>
                  <a:lnTo>
                    <a:pt x="54" y="63"/>
                  </a:lnTo>
                  <a:lnTo>
                    <a:pt x="54" y="48"/>
                  </a:lnTo>
                  <a:lnTo>
                    <a:pt x="54" y="32"/>
                  </a:lnTo>
                  <a:lnTo>
                    <a:pt x="0" y="0"/>
                  </a:lnTo>
                  <a:lnTo>
                    <a:pt x="88" y="0"/>
                  </a:lnTo>
                  <a:lnTo>
                    <a:pt x="123" y="15"/>
                  </a:lnTo>
                  <a:lnTo>
                    <a:pt x="157" y="15"/>
                  </a:lnTo>
                  <a:lnTo>
                    <a:pt x="192" y="48"/>
                  </a:lnTo>
                  <a:lnTo>
                    <a:pt x="175" y="48"/>
                  </a:lnTo>
                  <a:lnTo>
                    <a:pt x="192" y="63"/>
                  </a:lnTo>
                  <a:lnTo>
                    <a:pt x="157" y="63"/>
                  </a:lnTo>
                  <a:lnTo>
                    <a:pt x="140" y="63"/>
                  </a:lnTo>
                  <a:lnTo>
                    <a:pt x="105" y="63"/>
                  </a:lnTo>
                  <a:lnTo>
                    <a:pt x="54" y="63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02" name="Freeform 195">
              <a:extLst>
                <a:ext uri="{FF2B5EF4-FFF2-40B4-BE49-F238E27FC236}">
                  <a16:creationId xmlns:a16="http://schemas.microsoft.com/office/drawing/2014/main" id="{19FC8763-324D-986A-E591-7C3C6EF790E2}"/>
                </a:ext>
              </a:extLst>
            </p:cNvPr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6289827" y="3870164"/>
              <a:ext cx="64593" cy="63323"/>
            </a:xfrm>
            <a:custGeom>
              <a:avLst/>
              <a:gdLst>
                <a:gd name="T0" fmla="*/ 16477 w 87"/>
                <a:gd name="T1" fmla="*/ 15679 h 81"/>
                <a:gd name="T2" fmla="*/ 16477 w 87"/>
                <a:gd name="T3" fmla="*/ 15679 h 81"/>
                <a:gd name="T4" fmla="*/ 16477 w 87"/>
                <a:gd name="T5" fmla="*/ 12543 h 81"/>
                <a:gd name="T6" fmla="*/ 13339 w 87"/>
                <a:gd name="T7" fmla="*/ 9407 h 81"/>
                <a:gd name="T8" fmla="*/ 13339 w 87"/>
                <a:gd name="T9" fmla="*/ 6272 h 81"/>
                <a:gd name="T10" fmla="*/ 6277 w 87"/>
                <a:gd name="T11" fmla="*/ 0 h 81"/>
                <a:gd name="T12" fmla="*/ 0 w 87"/>
                <a:gd name="T13" fmla="*/ 0 h 81"/>
                <a:gd name="T14" fmla="*/ 3139 w 87"/>
                <a:gd name="T15" fmla="*/ 9407 h 81"/>
                <a:gd name="T16" fmla="*/ 6277 w 87"/>
                <a:gd name="T17" fmla="*/ 9407 h 81"/>
                <a:gd name="T18" fmla="*/ 13339 w 87"/>
                <a:gd name="T19" fmla="*/ 12543 h 81"/>
                <a:gd name="T20" fmla="*/ 13339 w 87"/>
                <a:gd name="T21" fmla="*/ 15679 h 81"/>
                <a:gd name="T22" fmla="*/ 16477 w 87"/>
                <a:gd name="T23" fmla="*/ 15679 h 8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7"/>
                <a:gd name="T37" fmla="*/ 0 h 81"/>
                <a:gd name="T38" fmla="*/ 87 w 87"/>
                <a:gd name="T39" fmla="*/ 81 h 8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7" h="81">
                  <a:moveTo>
                    <a:pt x="87" y="81"/>
                  </a:moveTo>
                  <a:lnTo>
                    <a:pt x="87" y="81"/>
                  </a:lnTo>
                  <a:lnTo>
                    <a:pt x="87" y="65"/>
                  </a:lnTo>
                  <a:lnTo>
                    <a:pt x="70" y="48"/>
                  </a:lnTo>
                  <a:lnTo>
                    <a:pt x="70" y="33"/>
                  </a:lnTo>
                  <a:lnTo>
                    <a:pt x="35" y="0"/>
                  </a:lnTo>
                  <a:lnTo>
                    <a:pt x="0" y="0"/>
                  </a:lnTo>
                  <a:lnTo>
                    <a:pt x="18" y="48"/>
                  </a:lnTo>
                  <a:lnTo>
                    <a:pt x="35" y="48"/>
                  </a:lnTo>
                  <a:lnTo>
                    <a:pt x="70" y="65"/>
                  </a:lnTo>
                  <a:lnTo>
                    <a:pt x="70" y="81"/>
                  </a:lnTo>
                  <a:lnTo>
                    <a:pt x="87" y="81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03" name="Freeform 196">
              <a:extLst>
                <a:ext uri="{FF2B5EF4-FFF2-40B4-BE49-F238E27FC236}">
                  <a16:creationId xmlns:a16="http://schemas.microsoft.com/office/drawing/2014/main" id="{D111081E-EAB2-609B-3F80-A745F6EF9E10}"/>
                </a:ext>
              </a:extLst>
            </p:cNvPr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6315034" y="3856833"/>
              <a:ext cx="119734" cy="89985"/>
            </a:xfrm>
            <a:custGeom>
              <a:avLst/>
              <a:gdLst>
                <a:gd name="T0" fmla="*/ 10385 w 157"/>
                <a:gd name="T1" fmla="*/ 19222 h 111"/>
                <a:gd name="T2" fmla="*/ 10385 w 157"/>
                <a:gd name="T3" fmla="*/ 19222 h 111"/>
                <a:gd name="T4" fmla="*/ 17574 w 157"/>
                <a:gd name="T5" fmla="*/ 16018 h 111"/>
                <a:gd name="T6" fmla="*/ 20769 w 157"/>
                <a:gd name="T7" fmla="*/ 16018 h 111"/>
                <a:gd name="T8" fmla="*/ 17574 w 157"/>
                <a:gd name="T9" fmla="*/ 19222 h 111"/>
                <a:gd name="T10" fmla="*/ 24763 w 157"/>
                <a:gd name="T11" fmla="*/ 22425 h 111"/>
                <a:gd name="T12" fmla="*/ 20769 w 157"/>
                <a:gd name="T13" fmla="*/ 19222 h 111"/>
                <a:gd name="T14" fmla="*/ 24763 w 157"/>
                <a:gd name="T15" fmla="*/ 19222 h 111"/>
                <a:gd name="T16" fmla="*/ 24763 w 157"/>
                <a:gd name="T17" fmla="*/ 12814 h 111"/>
                <a:gd name="T18" fmla="*/ 31952 w 157"/>
                <a:gd name="T19" fmla="*/ 9611 h 111"/>
                <a:gd name="T20" fmla="*/ 24763 w 157"/>
                <a:gd name="T21" fmla="*/ 6407 h 111"/>
                <a:gd name="T22" fmla="*/ 20769 w 157"/>
                <a:gd name="T23" fmla="*/ 0 h 111"/>
                <a:gd name="T24" fmla="*/ 17574 w 157"/>
                <a:gd name="T25" fmla="*/ 3204 h 111"/>
                <a:gd name="T26" fmla="*/ 14379 w 157"/>
                <a:gd name="T27" fmla="*/ 3204 h 111"/>
                <a:gd name="T28" fmla="*/ 10385 w 157"/>
                <a:gd name="T29" fmla="*/ 0 h 111"/>
                <a:gd name="T30" fmla="*/ 7189 w 157"/>
                <a:gd name="T31" fmla="*/ 0 h 111"/>
                <a:gd name="T32" fmla="*/ 10385 w 157"/>
                <a:gd name="T33" fmla="*/ 3204 h 111"/>
                <a:gd name="T34" fmla="*/ 3994 w 157"/>
                <a:gd name="T35" fmla="*/ 3204 h 111"/>
                <a:gd name="T36" fmla="*/ 0 w 157"/>
                <a:gd name="T37" fmla="*/ 3204 h 111"/>
                <a:gd name="T38" fmla="*/ 7189 w 157"/>
                <a:gd name="T39" fmla="*/ 9611 h 111"/>
                <a:gd name="T40" fmla="*/ 7189 w 157"/>
                <a:gd name="T41" fmla="*/ 12814 h 111"/>
                <a:gd name="T42" fmla="*/ 10385 w 157"/>
                <a:gd name="T43" fmla="*/ 16018 h 111"/>
                <a:gd name="T44" fmla="*/ 10385 w 157"/>
                <a:gd name="T45" fmla="*/ 19222 h 11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57"/>
                <a:gd name="T70" fmla="*/ 0 h 111"/>
                <a:gd name="T71" fmla="*/ 157 w 157"/>
                <a:gd name="T72" fmla="*/ 111 h 11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57" h="111">
                  <a:moveTo>
                    <a:pt x="52" y="96"/>
                  </a:moveTo>
                  <a:lnTo>
                    <a:pt x="52" y="96"/>
                  </a:lnTo>
                  <a:lnTo>
                    <a:pt x="86" y="80"/>
                  </a:lnTo>
                  <a:lnTo>
                    <a:pt x="104" y="80"/>
                  </a:lnTo>
                  <a:lnTo>
                    <a:pt x="86" y="96"/>
                  </a:lnTo>
                  <a:lnTo>
                    <a:pt x="121" y="111"/>
                  </a:lnTo>
                  <a:lnTo>
                    <a:pt x="104" y="96"/>
                  </a:lnTo>
                  <a:lnTo>
                    <a:pt x="121" y="96"/>
                  </a:lnTo>
                  <a:lnTo>
                    <a:pt x="121" y="63"/>
                  </a:lnTo>
                  <a:lnTo>
                    <a:pt x="157" y="48"/>
                  </a:lnTo>
                  <a:lnTo>
                    <a:pt x="121" y="32"/>
                  </a:lnTo>
                  <a:lnTo>
                    <a:pt x="104" y="0"/>
                  </a:lnTo>
                  <a:lnTo>
                    <a:pt x="86" y="15"/>
                  </a:lnTo>
                  <a:lnTo>
                    <a:pt x="69" y="15"/>
                  </a:lnTo>
                  <a:lnTo>
                    <a:pt x="52" y="0"/>
                  </a:lnTo>
                  <a:lnTo>
                    <a:pt x="35" y="0"/>
                  </a:lnTo>
                  <a:lnTo>
                    <a:pt x="52" y="15"/>
                  </a:lnTo>
                  <a:lnTo>
                    <a:pt x="17" y="15"/>
                  </a:lnTo>
                  <a:lnTo>
                    <a:pt x="0" y="15"/>
                  </a:lnTo>
                  <a:lnTo>
                    <a:pt x="35" y="48"/>
                  </a:lnTo>
                  <a:lnTo>
                    <a:pt x="35" y="63"/>
                  </a:lnTo>
                  <a:lnTo>
                    <a:pt x="52" y="80"/>
                  </a:lnTo>
                  <a:lnTo>
                    <a:pt x="52" y="96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04" name="Freeform 197">
              <a:extLst>
                <a:ext uri="{FF2B5EF4-FFF2-40B4-BE49-F238E27FC236}">
                  <a16:creationId xmlns:a16="http://schemas.microsoft.com/office/drawing/2014/main" id="{255D527C-5A4B-847B-F5B6-29C092E30771}"/>
                </a:ext>
              </a:extLst>
            </p:cNvPr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6313458" y="4163449"/>
              <a:ext cx="39387" cy="26662"/>
            </a:xfrm>
            <a:custGeom>
              <a:avLst/>
              <a:gdLst>
                <a:gd name="T0" fmla="*/ 0 w 52"/>
                <a:gd name="T1" fmla="*/ 3079 h 33"/>
                <a:gd name="T2" fmla="*/ 0 w 52"/>
                <a:gd name="T3" fmla="*/ 3079 h 33"/>
                <a:gd name="T4" fmla="*/ 3969 w 52"/>
                <a:gd name="T5" fmla="*/ 0 h 33"/>
                <a:gd name="T6" fmla="*/ 10319 w 52"/>
                <a:gd name="T7" fmla="*/ 3079 h 33"/>
                <a:gd name="T8" fmla="*/ 3969 w 52"/>
                <a:gd name="T9" fmla="*/ 6158 h 33"/>
                <a:gd name="T10" fmla="*/ 0 w 52"/>
                <a:gd name="T11" fmla="*/ 3079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"/>
                <a:gd name="T19" fmla="*/ 0 h 33"/>
                <a:gd name="T20" fmla="*/ 52 w 52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" h="33">
                  <a:moveTo>
                    <a:pt x="0" y="16"/>
                  </a:moveTo>
                  <a:lnTo>
                    <a:pt x="0" y="16"/>
                  </a:lnTo>
                  <a:lnTo>
                    <a:pt x="17" y="0"/>
                  </a:lnTo>
                  <a:lnTo>
                    <a:pt x="52" y="16"/>
                  </a:lnTo>
                  <a:lnTo>
                    <a:pt x="17" y="33"/>
                  </a:lnTo>
                  <a:lnTo>
                    <a:pt x="0" y="16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05" name="Freeform 198">
              <a:extLst>
                <a:ext uri="{FF2B5EF4-FFF2-40B4-BE49-F238E27FC236}">
                  <a16:creationId xmlns:a16="http://schemas.microsoft.com/office/drawing/2014/main" id="{2B7A828A-6BBB-810C-AB98-36638ADF238C}"/>
                </a:ext>
              </a:extLst>
            </p:cNvPr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6107075" y="4100126"/>
              <a:ext cx="456879" cy="409933"/>
            </a:xfrm>
            <a:custGeom>
              <a:avLst/>
              <a:gdLst>
                <a:gd name="T0" fmla="*/ 99219 w 604"/>
                <a:gd name="T1" fmla="*/ 82550 h 512"/>
                <a:gd name="T2" fmla="*/ 99219 w 604"/>
                <a:gd name="T3" fmla="*/ 82550 h 512"/>
                <a:gd name="T4" fmla="*/ 103188 w 604"/>
                <a:gd name="T5" fmla="*/ 79375 h 512"/>
                <a:gd name="T6" fmla="*/ 106363 w 604"/>
                <a:gd name="T7" fmla="*/ 76200 h 512"/>
                <a:gd name="T8" fmla="*/ 109538 w 604"/>
                <a:gd name="T9" fmla="*/ 73025 h 512"/>
                <a:gd name="T10" fmla="*/ 113506 w 604"/>
                <a:gd name="T11" fmla="*/ 69850 h 512"/>
                <a:gd name="T12" fmla="*/ 116681 w 604"/>
                <a:gd name="T13" fmla="*/ 66675 h 512"/>
                <a:gd name="T14" fmla="*/ 119856 w 604"/>
                <a:gd name="T15" fmla="*/ 66675 h 512"/>
                <a:gd name="T16" fmla="*/ 119856 w 604"/>
                <a:gd name="T17" fmla="*/ 63500 h 512"/>
                <a:gd name="T18" fmla="*/ 119856 w 604"/>
                <a:gd name="T19" fmla="*/ 60325 h 512"/>
                <a:gd name="T20" fmla="*/ 119856 w 604"/>
                <a:gd name="T21" fmla="*/ 57150 h 512"/>
                <a:gd name="T22" fmla="*/ 116681 w 604"/>
                <a:gd name="T23" fmla="*/ 53975 h 512"/>
                <a:gd name="T24" fmla="*/ 113506 w 604"/>
                <a:gd name="T25" fmla="*/ 50800 h 512"/>
                <a:gd name="T26" fmla="*/ 109538 w 604"/>
                <a:gd name="T27" fmla="*/ 50800 h 512"/>
                <a:gd name="T28" fmla="*/ 106363 w 604"/>
                <a:gd name="T29" fmla="*/ 50800 h 512"/>
                <a:gd name="T30" fmla="*/ 106363 w 604"/>
                <a:gd name="T31" fmla="*/ 53975 h 512"/>
                <a:gd name="T32" fmla="*/ 103188 w 604"/>
                <a:gd name="T33" fmla="*/ 53975 h 512"/>
                <a:gd name="T34" fmla="*/ 99219 w 604"/>
                <a:gd name="T35" fmla="*/ 53975 h 512"/>
                <a:gd name="T36" fmla="*/ 95250 w 604"/>
                <a:gd name="T37" fmla="*/ 53975 h 512"/>
                <a:gd name="T38" fmla="*/ 92075 w 604"/>
                <a:gd name="T39" fmla="*/ 53975 h 512"/>
                <a:gd name="T40" fmla="*/ 88900 w 604"/>
                <a:gd name="T41" fmla="*/ 53975 h 512"/>
                <a:gd name="T42" fmla="*/ 84931 w 604"/>
                <a:gd name="T43" fmla="*/ 50800 h 512"/>
                <a:gd name="T44" fmla="*/ 88900 w 604"/>
                <a:gd name="T45" fmla="*/ 47625 h 512"/>
                <a:gd name="T46" fmla="*/ 84931 w 604"/>
                <a:gd name="T47" fmla="*/ 41275 h 512"/>
                <a:gd name="T48" fmla="*/ 84931 w 604"/>
                <a:gd name="T49" fmla="*/ 31750 h 512"/>
                <a:gd name="T50" fmla="*/ 75406 w 604"/>
                <a:gd name="T51" fmla="*/ 22225 h 512"/>
                <a:gd name="T52" fmla="*/ 65087 w 604"/>
                <a:gd name="T53" fmla="*/ 19050 h 512"/>
                <a:gd name="T54" fmla="*/ 58738 w 604"/>
                <a:gd name="T55" fmla="*/ 22225 h 512"/>
                <a:gd name="T56" fmla="*/ 54769 w 604"/>
                <a:gd name="T57" fmla="*/ 19050 h 512"/>
                <a:gd name="T58" fmla="*/ 47625 w 604"/>
                <a:gd name="T59" fmla="*/ 15875 h 512"/>
                <a:gd name="T60" fmla="*/ 47625 w 604"/>
                <a:gd name="T61" fmla="*/ 12700 h 512"/>
                <a:gd name="T62" fmla="*/ 44450 w 604"/>
                <a:gd name="T63" fmla="*/ 9525 h 512"/>
                <a:gd name="T64" fmla="*/ 34131 w 604"/>
                <a:gd name="T65" fmla="*/ 3175 h 512"/>
                <a:gd name="T66" fmla="*/ 23812 w 604"/>
                <a:gd name="T67" fmla="*/ 0 h 512"/>
                <a:gd name="T68" fmla="*/ 14288 w 604"/>
                <a:gd name="T69" fmla="*/ 6350 h 512"/>
                <a:gd name="T70" fmla="*/ 16669 w 604"/>
                <a:gd name="T71" fmla="*/ 9525 h 512"/>
                <a:gd name="T72" fmla="*/ 14288 w 604"/>
                <a:gd name="T73" fmla="*/ 15875 h 512"/>
                <a:gd name="T74" fmla="*/ 9525 w 604"/>
                <a:gd name="T75" fmla="*/ 15875 h 512"/>
                <a:gd name="T76" fmla="*/ 7144 w 604"/>
                <a:gd name="T77" fmla="*/ 19050 h 512"/>
                <a:gd name="T78" fmla="*/ 0 w 604"/>
                <a:gd name="T79" fmla="*/ 19050 h 512"/>
                <a:gd name="T80" fmla="*/ 0 w 604"/>
                <a:gd name="T81" fmla="*/ 25400 h 512"/>
                <a:gd name="T82" fmla="*/ 3969 w 604"/>
                <a:gd name="T83" fmla="*/ 25400 h 512"/>
                <a:gd name="T84" fmla="*/ 16669 w 604"/>
                <a:gd name="T85" fmla="*/ 44450 h 512"/>
                <a:gd name="T86" fmla="*/ 19844 w 604"/>
                <a:gd name="T87" fmla="*/ 47625 h 512"/>
                <a:gd name="T88" fmla="*/ 23812 w 604"/>
                <a:gd name="T89" fmla="*/ 53975 h 512"/>
                <a:gd name="T90" fmla="*/ 23812 w 604"/>
                <a:gd name="T91" fmla="*/ 63500 h 512"/>
                <a:gd name="T92" fmla="*/ 34131 w 604"/>
                <a:gd name="T93" fmla="*/ 69850 h 512"/>
                <a:gd name="T94" fmla="*/ 40481 w 604"/>
                <a:gd name="T95" fmla="*/ 85725 h 512"/>
                <a:gd name="T96" fmla="*/ 44450 w 604"/>
                <a:gd name="T97" fmla="*/ 88900 h 512"/>
                <a:gd name="T98" fmla="*/ 47625 w 604"/>
                <a:gd name="T99" fmla="*/ 85725 h 512"/>
                <a:gd name="T100" fmla="*/ 58738 w 604"/>
                <a:gd name="T101" fmla="*/ 94456 h 512"/>
                <a:gd name="T102" fmla="*/ 61119 w 604"/>
                <a:gd name="T103" fmla="*/ 101600 h 512"/>
                <a:gd name="T104" fmla="*/ 84931 w 604"/>
                <a:gd name="T105" fmla="*/ 85725 h 512"/>
                <a:gd name="T106" fmla="*/ 99219 w 604"/>
                <a:gd name="T107" fmla="*/ 82550 h 5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04"/>
                <a:gd name="T163" fmla="*/ 0 h 512"/>
                <a:gd name="T164" fmla="*/ 604 w 604"/>
                <a:gd name="T165" fmla="*/ 512 h 51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04" h="512">
                  <a:moveTo>
                    <a:pt x="501" y="416"/>
                  </a:moveTo>
                  <a:lnTo>
                    <a:pt x="501" y="416"/>
                  </a:lnTo>
                  <a:lnTo>
                    <a:pt x="518" y="401"/>
                  </a:lnTo>
                  <a:lnTo>
                    <a:pt x="535" y="384"/>
                  </a:lnTo>
                  <a:lnTo>
                    <a:pt x="552" y="368"/>
                  </a:lnTo>
                  <a:lnTo>
                    <a:pt x="570" y="353"/>
                  </a:lnTo>
                  <a:lnTo>
                    <a:pt x="587" y="336"/>
                  </a:lnTo>
                  <a:lnTo>
                    <a:pt x="604" y="336"/>
                  </a:lnTo>
                  <a:lnTo>
                    <a:pt x="604" y="320"/>
                  </a:lnTo>
                  <a:lnTo>
                    <a:pt x="604" y="305"/>
                  </a:lnTo>
                  <a:lnTo>
                    <a:pt x="604" y="288"/>
                  </a:lnTo>
                  <a:lnTo>
                    <a:pt x="587" y="272"/>
                  </a:lnTo>
                  <a:lnTo>
                    <a:pt x="570" y="257"/>
                  </a:lnTo>
                  <a:lnTo>
                    <a:pt x="552" y="257"/>
                  </a:lnTo>
                  <a:lnTo>
                    <a:pt x="535" y="257"/>
                  </a:lnTo>
                  <a:lnTo>
                    <a:pt x="535" y="272"/>
                  </a:lnTo>
                  <a:lnTo>
                    <a:pt x="518" y="272"/>
                  </a:lnTo>
                  <a:lnTo>
                    <a:pt x="501" y="272"/>
                  </a:lnTo>
                  <a:lnTo>
                    <a:pt x="483" y="272"/>
                  </a:lnTo>
                  <a:lnTo>
                    <a:pt x="466" y="272"/>
                  </a:lnTo>
                  <a:lnTo>
                    <a:pt x="449" y="272"/>
                  </a:lnTo>
                  <a:lnTo>
                    <a:pt x="431" y="257"/>
                  </a:lnTo>
                  <a:lnTo>
                    <a:pt x="449" y="240"/>
                  </a:lnTo>
                  <a:lnTo>
                    <a:pt x="431" y="209"/>
                  </a:lnTo>
                  <a:lnTo>
                    <a:pt x="431" y="161"/>
                  </a:lnTo>
                  <a:lnTo>
                    <a:pt x="380" y="113"/>
                  </a:lnTo>
                  <a:lnTo>
                    <a:pt x="328" y="96"/>
                  </a:lnTo>
                  <a:lnTo>
                    <a:pt x="293" y="113"/>
                  </a:lnTo>
                  <a:lnTo>
                    <a:pt x="276" y="96"/>
                  </a:lnTo>
                  <a:lnTo>
                    <a:pt x="241" y="80"/>
                  </a:lnTo>
                  <a:lnTo>
                    <a:pt x="241" y="65"/>
                  </a:lnTo>
                  <a:lnTo>
                    <a:pt x="224" y="48"/>
                  </a:lnTo>
                  <a:lnTo>
                    <a:pt x="172" y="17"/>
                  </a:lnTo>
                  <a:lnTo>
                    <a:pt x="120" y="0"/>
                  </a:lnTo>
                  <a:lnTo>
                    <a:pt x="69" y="32"/>
                  </a:lnTo>
                  <a:lnTo>
                    <a:pt x="86" y="48"/>
                  </a:lnTo>
                  <a:lnTo>
                    <a:pt x="69" y="80"/>
                  </a:lnTo>
                  <a:lnTo>
                    <a:pt x="51" y="80"/>
                  </a:lnTo>
                  <a:lnTo>
                    <a:pt x="34" y="96"/>
                  </a:lnTo>
                  <a:lnTo>
                    <a:pt x="0" y="96"/>
                  </a:lnTo>
                  <a:lnTo>
                    <a:pt x="0" y="128"/>
                  </a:lnTo>
                  <a:lnTo>
                    <a:pt x="17" y="128"/>
                  </a:lnTo>
                  <a:lnTo>
                    <a:pt x="86" y="224"/>
                  </a:lnTo>
                  <a:lnTo>
                    <a:pt x="103" y="240"/>
                  </a:lnTo>
                  <a:lnTo>
                    <a:pt x="120" y="272"/>
                  </a:lnTo>
                  <a:lnTo>
                    <a:pt x="120" y="320"/>
                  </a:lnTo>
                  <a:lnTo>
                    <a:pt x="172" y="353"/>
                  </a:lnTo>
                  <a:lnTo>
                    <a:pt x="207" y="432"/>
                  </a:lnTo>
                  <a:lnTo>
                    <a:pt x="224" y="449"/>
                  </a:lnTo>
                  <a:lnTo>
                    <a:pt x="241" y="432"/>
                  </a:lnTo>
                  <a:lnTo>
                    <a:pt x="293" y="479"/>
                  </a:lnTo>
                  <a:lnTo>
                    <a:pt x="311" y="512"/>
                  </a:lnTo>
                  <a:lnTo>
                    <a:pt x="431" y="432"/>
                  </a:lnTo>
                  <a:lnTo>
                    <a:pt x="501" y="416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06" name="Freeform 199">
              <a:extLst>
                <a:ext uri="{FF2B5EF4-FFF2-40B4-BE49-F238E27FC236}">
                  <a16:creationId xmlns:a16="http://schemas.microsoft.com/office/drawing/2014/main" id="{2D40161A-F671-3624-EDA1-50EFEDDED381}"/>
                </a:ext>
              </a:extLst>
            </p:cNvPr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6433192" y="4253434"/>
              <a:ext cx="25207" cy="38328"/>
            </a:xfrm>
            <a:custGeom>
              <a:avLst/>
              <a:gdLst>
                <a:gd name="T0" fmla="*/ 3084 w 35"/>
                <a:gd name="T1" fmla="*/ 9525 h 48"/>
                <a:gd name="T2" fmla="*/ 3084 w 35"/>
                <a:gd name="T3" fmla="*/ 9525 h 48"/>
                <a:gd name="T4" fmla="*/ 0 w 35"/>
                <a:gd name="T5" fmla="*/ 3969 h 48"/>
                <a:gd name="T6" fmla="*/ 3084 w 35"/>
                <a:gd name="T7" fmla="*/ 0 h 48"/>
                <a:gd name="T8" fmla="*/ 6169 w 35"/>
                <a:gd name="T9" fmla="*/ 0 h 48"/>
                <a:gd name="T10" fmla="*/ 3084 w 35"/>
                <a:gd name="T11" fmla="*/ 9525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5"/>
                <a:gd name="T19" fmla="*/ 0 h 48"/>
                <a:gd name="T20" fmla="*/ 35 w 35"/>
                <a:gd name="T21" fmla="*/ 48 h 4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5" h="48">
                  <a:moveTo>
                    <a:pt x="18" y="48"/>
                  </a:moveTo>
                  <a:lnTo>
                    <a:pt x="18" y="48"/>
                  </a:lnTo>
                  <a:lnTo>
                    <a:pt x="0" y="17"/>
                  </a:lnTo>
                  <a:lnTo>
                    <a:pt x="18" y="0"/>
                  </a:lnTo>
                  <a:lnTo>
                    <a:pt x="35" y="0"/>
                  </a:lnTo>
                  <a:lnTo>
                    <a:pt x="18" y="48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07" name="Freeform 200">
              <a:extLst>
                <a:ext uri="{FF2B5EF4-FFF2-40B4-BE49-F238E27FC236}">
                  <a16:creationId xmlns:a16="http://schemas.microsoft.com/office/drawing/2014/main" id="{0CF81E6E-B9E3-38E1-97DA-0F5D4A37D7DF}"/>
                </a:ext>
              </a:extLst>
            </p:cNvPr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6485182" y="4278431"/>
              <a:ext cx="143365" cy="166639"/>
            </a:xfrm>
            <a:custGeom>
              <a:avLst/>
              <a:gdLst>
                <a:gd name="T0" fmla="*/ 0 w 190"/>
                <a:gd name="T1" fmla="*/ 41275 h 208"/>
                <a:gd name="T2" fmla="*/ 0 w 190"/>
                <a:gd name="T3" fmla="*/ 41275 h 208"/>
                <a:gd name="T4" fmla="*/ 9525 w 190"/>
                <a:gd name="T5" fmla="*/ 41275 h 208"/>
                <a:gd name="T6" fmla="*/ 14288 w 190"/>
                <a:gd name="T7" fmla="*/ 38100 h 208"/>
                <a:gd name="T8" fmla="*/ 17463 w 190"/>
                <a:gd name="T9" fmla="*/ 35719 h 208"/>
                <a:gd name="T10" fmla="*/ 23813 w 190"/>
                <a:gd name="T11" fmla="*/ 31750 h 208"/>
                <a:gd name="T12" fmla="*/ 27781 w 190"/>
                <a:gd name="T13" fmla="*/ 28575 h 208"/>
                <a:gd name="T14" fmla="*/ 27781 w 190"/>
                <a:gd name="T15" fmla="*/ 26194 h 208"/>
                <a:gd name="T16" fmla="*/ 34131 w 190"/>
                <a:gd name="T17" fmla="*/ 16669 h 208"/>
                <a:gd name="T18" fmla="*/ 38100 w 190"/>
                <a:gd name="T19" fmla="*/ 12700 h 208"/>
                <a:gd name="T20" fmla="*/ 30956 w 190"/>
                <a:gd name="T21" fmla="*/ 7144 h 208"/>
                <a:gd name="T22" fmla="*/ 23813 w 190"/>
                <a:gd name="T23" fmla="*/ 3175 h 208"/>
                <a:gd name="T24" fmla="*/ 19844 w 190"/>
                <a:gd name="T25" fmla="*/ 0 h 208"/>
                <a:gd name="T26" fmla="*/ 14288 w 190"/>
                <a:gd name="T27" fmla="*/ 7144 h 208"/>
                <a:gd name="T28" fmla="*/ 17463 w 190"/>
                <a:gd name="T29" fmla="*/ 9525 h 208"/>
                <a:gd name="T30" fmla="*/ 19844 w 190"/>
                <a:gd name="T31" fmla="*/ 12700 h 208"/>
                <a:gd name="T32" fmla="*/ 19844 w 190"/>
                <a:gd name="T33" fmla="*/ 16669 h 208"/>
                <a:gd name="T34" fmla="*/ 19844 w 190"/>
                <a:gd name="T35" fmla="*/ 19050 h 208"/>
                <a:gd name="T36" fmla="*/ 19844 w 190"/>
                <a:gd name="T37" fmla="*/ 22225 h 208"/>
                <a:gd name="T38" fmla="*/ 17463 w 190"/>
                <a:gd name="T39" fmla="*/ 22225 h 208"/>
                <a:gd name="T40" fmla="*/ 14288 w 190"/>
                <a:gd name="T41" fmla="*/ 26194 h 208"/>
                <a:gd name="T42" fmla="*/ 9525 w 190"/>
                <a:gd name="T43" fmla="*/ 28575 h 208"/>
                <a:gd name="T44" fmla="*/ 7144 w 190"/>
                <a:gd name="T45" fmla="*/ 31750 h 208"/>
                <a:gd name="T46" fmla="*/ 3969 w 190"/>
                <a:gd name="T47" fmla="*/ 35719 h 208"/>
                <a:gd name="T48" fmla="*/ 0 w 190"/>
                <a:gd name="T49" fmla="*/ 38100 h 208"/>
                <a:gd name="T50" fmla="*/ 0 w 190"/>
                <a:gd name="T51" fmla="*/ 41275 h 20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90"/>
                <a:gd name="T79" fmla="*/ 0 h 208"/>
                <a:gd name="T80" fmla="*/ 190 w 190"/>
                <a:gd name="T81" fmla="*/ 208 h 208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90" h="208">
                  <a:moveTo>
                    <a:pt x="0" y="208"/>
                  </a:moveTo>
                  <a:lnTo>
                    <a:pt x="0" y="208"/>
                  </a:lnTo>
                  <a:lnTo>
                    <a:pt x="51" y="208"/>
                  </a:lnTo>
                  <a:lnTo>
                    <a:pt x="69" y="192"/>
                  </a:lnTo>
                  <a:lnTo>
                    <a:pt x="86" y="177"/>
                  </a:lnTo>
                  <a:lnTo>
                    <a:pt x="121" y="160"/>
                  </a:lnTo>
                  <a:lnTo>
                    <a:pt x="138" y="144"/>
                  </a:lnTo>
                  <a:lnTo>
                    <a:pt x="138" y="129"/>
                  </a:lnTo>
                  <a:lnTo>
                    <a:pt x="172" y="81"/>
                  </a:lnTo>
                  <a:lnTo>
                    <a:pt x="190" y="64"/>
                  </a:lnTo>
                  <a:lnTo>
                    <a:pt x="155" y="33"/>
                  </a:lnTo>
                  <a:lnTo>
                    <a:pt x="121" y="16"/>
                  </a:lnTo>
                  <a:lnTo>
                    <a:pt x="103" y="0"/>
                  </a:lnTo>
                  <a:lnTo>
                    <a:pt x="69" y="33"/>
                  </a:lnTo>
                  <a:lnTo>
                    <a:pt x="86" y="48"/>
                  </a:lnTo>
                  <a:lnTo>
                    <a:pt x="103" y="64"/>
                  </a:lnTo>
                  <a:lnTo>
                    <a:pt x="103" y="81"/>
                  </a:lnTo>
                  <a:lnTo>
                    <a:pt x="103" y="96"/>
                  </a:lnTo>
                  <a:lnTo>
                    <a:pt x="103" y="112"/>
                  </a:lnTo>
                  <a:lnTo>
                    <a:pt x="86" y="112"/>
                  </a:lnTo>
                  <a:lnTo>
                    <a:pt x="69" y="129"/>
                  </a:lnTo>
                  <a:lnTo>
                    <a:pt x="51" y="144"/>
                  </a:lnTo>
                  <a:lnTo>
                    <a:pt x="34" y="160"/>
                  </a:lnTo>
                  <a:lnTo>
                    <a:pt x="17" y="177"/>
                  </a:lnTo>
                  <a:lnTo>
                    <a:pt x="0" y="192"/>
                  </a:lnTo>
                  <a:lnTo>
                    <a:pt x="0" y="208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08" name="Freeform 201">
              <a:extLst>
                <a:ext uri="{FF2B5EF4-FFF2-40B4-BE49-F238E27FC236}">
                  <a16:creationId xmlns:a16="http://schemas.microsoft.com/office/drawing/2014/main" id="{C363702B-5283-7942-C438-1E13CE1C8E3E}"/>
                </a:ext>
              </a:extLst>
            </p:cNvPr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6641150" y="3946818"/>
              <a:ext cx="302486" cy="229962"/>
            </a:xfrm>
            <a:custGeom>
              <a:avLst/>
              <a:gdLst>
                <a:gd name="T0" fmla="*/ 76391 w 399"/>
                <a:gd name="T1" fmla="*/ 9525 h 288"/>
                <a:gd name="T2" fmla="*/ 76391 w 399"/>
                <a:gd name="T3" fmla="*/ 9525 h 288"/>
                <a:gd name="T4" fmla="*/ 73208 w 399"/>
                <a:gd name="T5" fmla="*/ 9525 h 288"/>
                <a:gd name="T6" fmla="*/ 66046 w 399"/>
                <a:gd name="T7" fmla="*/ 13494 h 288"/>
                <a:gd name="T8" fmla="*/ 58885 w 399"/>
                <a:gd name="T9" fmla="*/ 15875 h 288"/>
                <a:gd name="T10" fmla="*/ 58885 w 399"/>
                <a:gd name="T11" fmla="*/ 22225 h 288"/>
                <a:gd name="T12" fmla="*/ 55702 w 399"/>
                <a:gd name="T13" fmla="*/ 28575 h 288"/>
                <a:gd name="T14" fmla="*/ 52519 w 399"/>
                <a:gd name="T15" fmla="*/ 28575 h 288"/>
                <a:gd name="T16" fmla="*/ 52519 w 399"/>
                <a:gd name="T17" fmla="*/ 31750 h 288"/>
                <a:gd name="T18" fmla="*/ 48540 w 399"/>
                <a:gd name="T19" fmla="*/ 34925 h 288"/>
                <a:gd name="T20" fmla="*/ 48540 w 399"/>
                <a:gd name="T21" fmla="*/ 41275 h 288"/>
                <a:gd name="T22" fmla="*/ 35013 w 399"/>
                <a:gd name="T23" fmla="*/ 44450 h 288"/>
                <a:gd name="T24" fmla="*/ 31830 w 399"/>
                <a:gd name="T25" fmla="*/ 47625 h 288"/>
                <a:gd name="T26" fmla="*/ 31830 w 399"/>
                <a:gd name="T27" fmla="*/ 53975 h 288"/>
                <a:gd name="T28" fmla="*/ 11140 w 399"/>
                <a:gd name="T29" fmla="*/ 57150 h 288"/>
                <a:gd name="T30" fmla="*/ 3979 w 399"/>
                <a:gd name="T31" fmla="*/ 53975 h 288"/>
                <a:gd name="T32" fmla="*/ 7162 w 399"/>
                <a:gd name="T33" fmla="*/ 47625 h 288"/>
                <a:gd name="T34" fmla="*/ 7162 w 399"/>
                <a:gd name="T35" fmla="*/ 44450 h 288"/>
                <a:gd name="T36" fmla="*/ 0 w 399"/>
                <a:gd name="T37" fmla="*/ 41275 h 288"/>
                <a:gd name="T38" fmla="*/ 0 w 399"/>
                <a:gd name="T39" fmla="*/ 28575 h 288"/>
                <a:gd name="T40" fmla="*/ 3979 w 399"/>
                <a:gd name="T41" fmla="*/ 22225 h 288"/>
                <a:gd name="T42" fmla="*/ 3979 w 399"/>
                <a:gd name="T43" fmla="*/ 19050 h 288"/>
                <a:gd name="T44" fmla="*/ 14323 w 399"/>
                <a:gd name="T45" fmla="*/ 19050 h 288"/>
                <a:gd name="T46" fmla="*/ 14323 w 399"/>
                <a:gd name="T47" fmla="*/ 15875 h 288"/>
                <a:gd name="T48" fmla="*/ 21485 w 399"/>
                <a:gd name="T49" fmla="*/ 15875 h 288"/>
                <a:gd name="T50" fmla="*/ 24668 w 399"/>
                <a:gd name="T51" fmla="*/ 9525 h 288"/>
                <a:gd name="T52" fmla="*/ 27851 w 399"/>
                <a:gd name="T53" fmla="*/ 9525 h 288"/>
                <a:gd name="T54" fmla="*/ 27851 w 399"/>
                <a:gd name="T55" fmla="*/ 6350 h 288"/>
                <a:gd name="T56" fmla="*/ 42174 w 399"/>
                <a:gd name="T57" fmla="*/ 9525 h 288"/>
                <a:gd name="T58" fmla="*/ 48540 w 399"/>
                <a:gd name="T59" fmla="*/ 9525 h 288"/>
                <a:gd name="T60" fmla="*/ 48540 w 399"/>
                <a:gd name="T61" fmla="*/ 6350 h 288"/>
                <a:gd name="T62" fmla="*/ 52519 w 399"/>
                <a:gd name="T63" fmla="*/ 6350 h 288"/>
                <a:gd name="T64" fmla="*/ 55702 w 399"/>
                <a:gd name="T65" fmla="*/ 0 h 288"/>
                <a:gd name="T66" fmla="*/ 58885 w 399"/>
                <a:gd name="T67" fmla="*/ 3969 h 288"/>
                <a:gd name="T68" fmla="*/ 62863 w 399"/>
                <a:gd name="T69" fmla="*/ 13494 h 288"/>
                <a:gd name="T70" fmla="*/ 69229 w 399"/>
                <a:gd name="T71" fmla="*/ 6350 h 288"/>
                <a:gd name="T72" fmla="*/ 79574 w 399"/>
                <a:gd name="T73" fmla="*/ 9525 h 288"/>
                <a:gd name="T74" fmla="*/ 76391 w 399"/>
                <a:gd name="T75" fmla="*/ 9525 h 28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99"/>
                <a:gd name="T115" fmla="*/ 0 h 288"/>
                <a:gd name="T116" fmla="*/ 399 w 399"/>
                <a:gd name="T117" fmla="*/ 288 h 28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99" h="288">
                  <a:moveTo>
                    <a:pt x="382" y="48"/>
                  </a:moveTo>
                  <a:lnTo>
                    <a:pt x="382" y="48"/>
                  </a:lnTo>
                  <a:lnTo>
                    <a:pt x="365" y="48"/>
                  </a:lnTo>
                  <a:lnTo>
                    <a:pt x="330" y="65"/>
                  </a:lnTo>
                  <a:lnTo>
                    <a:pt x="296" y="80"/>
                  </a:lnTo>
                  <a:lnTo>
                    <a:pt x="296" y="113"/>
                  </a:lnTo>
                  <a:lnTo>
                    <a:pt x="278" y="144"/>
                  </a:lnTo>
                  <a:lnTo>
                    <a:pt x="261" y="144"/>
                  </a:lnTo>
                  <a:lnTo>
                    <a:pt x="261" y="161"/>
                  </a:lnTo>
                  <a:lnTo>
                    <a:pt x="244" y="176"/>
                  </a:lnTo>
                  <a:lnTo>
                    <a:pt x="244" y="209"/>
                  </a:lnTo>
                  <a:lnTo>
                    <a:pt x="175" y="224"/>
                  </a:lnTo>
                  <a:lnTo>
                    <a:pt x="157" y="240"/>
                  </a:lnTo>
                  <a:lnTo>
                    <a:pt x="157" y="272"/>
                  </a:lnTo>
                  <a:lnTo>
                    <a:pt x="54" y="288"/>
                  </a:lnTo>
                  <a:lnTo>
                    <a:pt x="19" y="272"/>
                  </a:lnTo>
                  <a:lnTo>
                    <a:pt x="36" y="240"/>
                  </a:lnTo>
                  <a:lnTo>
                    <a:pt x="36" y="224"/>
                  </a:lnTo>
                  <a:lnTo>
                    <a:pt x="0" y="209"/>
                  </a:lnTo>
                  <a:lnTo>
                    <a:pt x="0" y="144"/>
                  </a:lnTo>
                  <a:lnTo>
                    <a:pt x="19" y="113"/>
                  </a:lnTo>
                  <a:lnTo>
                    <a:pt x="19" y="96"/>
                  </a:lnTo>
                  <a:lnTo>
                    <a:pt x="71" y="96"/>
                  </a:lnTo>
                  <a:lnTo>
                    <a:pt x="71" y="80"/>
                  </a:lnTo>
                  <a:lnTo>
                    <a:pt x="105" y="80"/>
                  </a:lnTo>
                  <a:lnTo>
                    <a:pt x="123" y="48"/>
                  </a:lnTo>
                  <a:lnTo>
                    <a:pt x="140" y="48"/>
                  </a:lnTo>
                  <a:lnTo>
                    <a:pt x="140" y="32"/>
                  </a:lnTo>
                  <a:lnTo>
                    <a:pt x="209" y="48"/>
                  </a:lnTo>
                  <a:lnTo>
                    <a:pt x="244" y="48"/>
                  </a:lnTo>
                  <a:lnTo>
                    <a:pt x="244" y="32"/>
                  </a:lnTo>
                  <a:lnTo>
                    <a:pt x="261" y="32"/>
                  </a:lnTo>
                  <a:lnTo>
                    <a:pt x="278" y="0"/>
                  </a:lnTo>
                  <a:lnTo>
                    <a:pt x="296" y="17"/>
                  </a:lnTo>
                  <a:lnTo>
                    <a:pt x="313" y="65"/>
                  </a:lnTo>
                  <a:lnTo>
                    <a:pt x="347" y="32"/>
                  </a:lnTo>
                  <a:lnTo>
                    <a:pt x="399" y="48"/>
                  </a:lnTo>
                  <a:lnTo>
                    <a:pt x="382" y="48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09" name="Freeform 202">
              <a:extLst>
                <a:ext uri="{FF2B5EF4-FFF2-40B4-BE49-F238E27FC236}">
                  <a16:creationId xmlns:a16="http://schemas.microsoft.com/office/drawing/2014/main" id="{650820B4-6465-E8A1-6D90-363529E47258}"/>
                </a:ext>
              </a:extLst>
            </p:cNvPr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6209478" y="3818506"/>
              <a:ext cx="144941" cy="51658"/>
            </a:xfrm>
            <a:custGeom>
              <a:avLst/>
              <a:gdLst>
                <a:gd name="T0" fmla="*/ 10319 w 192"/>
                <a:gd name="T1" fmla="*/ 12902 h 63"/>
                <a:gd name="T2" fmla="*/ 10319 w 192"/>
                <a:gd name="T3" fmla="*/ 12902 h 63"/>
                <a:gd name="T4" fmla="*/ 10319 w 192"/>
                <a:gd name="T5" fmla="*/ 9676 h 63"/>
                <a:gd name="T6" fmla="*/ 10319 w 192"/>
                <a:gd name="T7" fmla="*/ 6451 h 63"/>
                <a:gd name="T8" fmla="*/ 0 w 192"/>
                <a:gd name="T9" fmla="*/ 0 h 63"/>
                <a:gd name="T10" fmla="*/ 17463 w 192"/>
                <a:gd name="T11" fmla="*/ 0 h 63"/>
                <a:gd name="T12" fmla="*/ 23812 w 192"/>
                <a:gd name="T13" fmla="*/ 3225 h 63"/>
                <a:gd name="T14" fmla="*/ 31750 w 192"/>
                <a:gd name="T15" fmla="*/ 3225 h 63"/>
                <a:gd name="T16" fmla="*/ 38100 w 192"/>
                <a:gd name="T17" fmla="*/ 9676 h 63"/>
                <a:gd name="T18" fmla="*/ 34925 w 192"/>
                <a:gd name="T19" fmla="*/ 9676 h 63"/>
                <a:gd name="T20" fmla="*/ 38100 w 192"/>
                <a:gd name="T21" fmla="*/ 12902 h 63"/>
                <a:gd name="T22" fmla="*/ 31750 w 192"/>
                <a:gd name="T23" fmla="*/ 12902 h 63"/>
                <a:gd name="T24" fmla="*/ 27781 w 192"/>
                <a:gd name="T25" fmla="*/ 12902 h 63"/>
                <a:gd name="T26" fmla="*/ 20637 w 192"/>
                <a:gd name="T27" fmla="*/ 12902 h 63"/>
                <a:gd name="T28" fmla="*/ 10319 w 192"/>
                <a:gd name="T29" fmla="*/ 12902 h 6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92"/>
                <a:gd name="T46" fmla="*/ 0 h 63"/>
                <a:gd name="T47" fmla="*/ 192 w 192"/>
                <a:gd name="T48" fmla="*/ 63 h 6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92" h="63">
                  <a:moveTo>
                    <a:pt x="54" y="63"/>
                  </a:moveTo>
                  <a:lnTo>
                    <a:pt x="54" y="63"/>
                  </a:lnTo>
                  <a:lnTo>
                    <a:pt x="54" y="48"/>
                  </a:lnTo>
                  <a:lnTo>
                    <a:pt x="54" y="32"/>
                  </a:lnTo>
                  <a:lnTo>
                    <a:pt x="0" y="0"/>
                  </a:lnTo>
                  <a:lnTo>
                    <a:pt x="88" y="0"/>
                  </a:lnTo>
                  <a:lnTo>
                    <a:pt x="123" y="15"/>
                  </a:lnTo>
                  <a:lnTo>
                    <a:pt x="157" y="15"/>
                  </a:lnTo>
                  <a:lnTo>
                    <a:pt x="192" y="48"/>
                  </a:lnTo>
                  <a:lnTo>
                    <a:pt x="175" y="48"/>
                  </a:lnTo>
                  <a:lnTo>
                    <a:pt x="192" y="63"/>
                  </a:lnTo>
                  <a:lnTo>
                    <a:pt x="157" y="63"/>
                  </a:lnTo>
                  <a:lnTo>
                    <a:pt x="140" y="63"/>
                  </a:lnTo>
                  <a:lnTo>
                    <a:pt x="105" y="63"/>
                  </a:lnTo>
                  <a:lnTo>
                    <a:pt x="54" y="63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10" name="Freeform 204">
              <a:extLst>
                <a:ext uri="{FF2B5EF4-FFF2-40B4-BE49-F238E27FC236}">
                  <a16:creationId xmlns:a16="http://schemas.microsoft.com/office/drawing/2014/main" id="{40C8EA41-192B-2A40-7B45-F1716A969F11}"/>
                </a:ext>
              </a:extLst>
            </p:cNvPr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6107075" y="4076797"/>
              <a:ext cx="89800" cy="99984"/>
            </a:xfrm>
            <a:custGeom>
              <a:avLst/>
              <a:gdLst>
                <a:gd name="T0" fmla="*/ 22825 w 119"/>
                <a:gd name="T1" fmla="*/ 5513 h 127"/>
                <a:gd name="T2" fmla="*/ 22825 w 119"/>
                <a:gd name="T3" fmla="*/ 5513 h 127"/>
                <a:gd name="T4" fmla="*/ 22825 w 119"/>
                <a:gd name="T5" fmla="*/ 0 h 127"/>
                <a:gd name="T6" fmla="*/ 19677 w 119"/>
                <a:gd name="T7" fmla="*/ 0 h 127"/>
                <a:gd name="T8" fmla="*/ 9445 w 119"/>
                <a:gd name="T9" fmla="*/ 5513 h 127"/>
                <a:gd name="T10" fmla="*/ 2361 w 119"/>
                <a:gd name="T11" fmla="*/ 5513 h 127"/>
                <a:gd name="T12" fmla="*/ 2361 w 119"/>
                <a:gd name="T13" fmla="*/ 9450 h 127"/>
                <a:gd name="T14" fmla="*/ 2361 w 119"/>
                <a:gd name="T15" fmla="*/ 14963 h 127"/>
                <a:gd name="T16" fmla="*/ 0 w 119"/>
                <a:gd name="T17" fmla="*/ 24413 h 127"/>
                <a:gd name="T18" fmla="*/ 6297 w 119"/>
                <a:gd name="T19" fmla="*/ 24413 h 127"/>
                <a:gd name="T20" fmla="*/ 9445 w 119"/>
                <a:gd name="T21" fmla="*/ 21263 h 127"/>
                <a:gd name="T22" fmla="*/ 12593 w 119"/>
                <a:gd name="T23" fmla="*/ 21263 h 127"/>
                <a:gd name="T24" fmla="*/ 16529 w 119"/>
                <a:gd name="T25" fmla="*/ 14963 h 127"/>
                <a:gd name="T26" fmla="*/ 12593 w 119"/>
                <a:gd name="T27" fmla="*/ 11813 h 127"/>
                <a:gd name="T28" fmla="*/ 22825 w 119"/>
                <a:gd name="T29" fmla="*/ 5513 h 12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19"/>
                <a:gd name="T46" fmla="*/ 0 h 127"/>
                <a:gd name="T47" fmla="*/ 119 w 119"/>
                <a:gd name="T48" fmla="*/ 127 h 12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19" h="127">
                  <a:moveTo>
                    <a:pt x="119" y="31"/>
                  </a:moveTo>
                  <a:lnTo>
                    <a:pt x="119" y="31"/>
                  </a:lnTo>
                  <a:lnTo>
                    <a:pt x="119" y="0"/>
                  </a:lnTo>
                  <a:lnTo>
                    <a:pt x="101" y="0"/>
                  </a:lnTo>
                  <a:lnTo>
                    <a:pt x="49" y="31"/>
                  </a:lnTo>
                  <a:lnTo>
                    <a:pt x="15" y="31"/>
                  </a:lnTo>
                  <a:lnTo>
                    <a:pt x="15" y="48"/>
                  </a:lnTo>
                  <a:lnTo>
                    <a:pt x="15" y="79"/>
                  </a:lnTo>
                  <a:lnTo>
                    <a:pt x="0" y="127"/>
                  </a:lnTo>
                  <a:lnTo>
                    <a:pt x="32" y="127"/>
                  </a:lnTo>
                  <a:lnTo>
                    <a:pt x="49" y="111"/>
                  </a:lnTo>
                  <a:lnTo>
                    <a:pt x="67" y="111"/>
                  </a:lnTo>
                  <a:lnTo>
                    <a:pt x="84" y="79"/>
                  </a:lnTo>
                  <a:lnTo>
                    <a:pt x="67" y="63"/>
                  </a:lnTo>
                  <a:lnTo>
                    <a:pt x="119" y="31"/>
                  </a:lnTo>
                  <a:close/>
                </a:path>
              </a:pathLst>
            </a:custGeom>
            <a:solidFill>
              <a:srgbClr val="FFC000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11" name="Freeform 205">
              <a:extLst>
                <a:ext uri="{FF2B5EF4-FFF2-40B4-BE49-F238E27FC236}">
                  <a16:creationId xmlns:a16="http://schemas.microsoft.com/office/drawing/2014/main" id="{B302DE16-5718-5400-0D1B-3A1B666B5781}"/>
                </a:ext>
              </a:extLst>
            </p:cNvPr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6433192" y="4253434"/>
              <a:ext cx="130762" cy="64990"/>
            </a:xfrm>
            <a:custGeom>
              <a:avLst/>
              <a:gdLst>
                <a:gd name="T0" fmla="*/ 26832 w 173"/>
                <a:gd name="T1" fmla="*/ 13494 h 80"/>
                <a:gd name="T2" fmla="*/ 26832 w 173"/>
                <a:gd name="T3" fmla="*/ 13494 h 80"/>
                <a:gd name="T4" fmla="*/ 33934 w 173"/>
                <a:gd name="T5" fmla="*/ 6350 h 80"/>
                <a:gd name="T6" fmla="*/ 33934 w 173"/>
                <a:gd name="T7" fmla="*/ 3969 h 80"/>
                <a:gd name="T8" fmla="*/ 30777 w 173"/>
                <a:gd name="T9" fmla="*/ 0 h 80"/>
                <a:gd name="T10" fmla="*/ 20518 w 173"/>
                <a:gd name="T11" fmla="*/ 9525 h 80"/>
                <a:gd name="T12" fmla="*/ 10259 w 173"/>
                <a:gd name="T13" fmla="*/ 9525 h 80"/>
                <a:gd name="T14" fmla="*/ 3157 w 173"/>
                <a:gd name="T15" fmla="*/ 9525 h 80"/>
                <a:gd name="T16" fmla="*/ 0 w 173"/>
                <a:gd name="T17" fmla="*/ 13494 h 80"/>
                <a:gd name="T18" fmla="*/ 3157 w 173"/>
                <a:gd name="T19" fmla="*/ 15875 h 80"/>
                <a:gd name="T20" fmla="*/ 6313 w 173"/>
                <a:gd name="T21" fmla="*/ 15875 h 80"/>
                <a:gd name="T22" fmla="*/ 10259 w 173"/>
                <a:gd name="T23" fmla="*/ 15875 h 80"/>
                <a:gd name="T24" fmla="*/ 13416 w 173"/>
                <a:gd name="T25" fmla="*/ 15875 h 80"/>
                <a:gd name="T26" fmla="*/ 16572 w 173"/>
                <a:gd name="T27" fmla="*/ 15875 h 80"/>
                <a:gd name="T28" fmla="*/ 20518 w 173"/>
                <a:gd name="T29" fmla="*/ 15875 h 80"/>
                <a:gd name="T30" fmla="*/ 20518 w 173"/>
                <a:gd name="T31" fmla="*/ 13494 h 80"/>
                <a:gd name="T32" fmla="*/ 23675 w 173"/>
                <a:gd name="T33" fmla="*/ 13494 h 80"/>
                <a:gd name="T34" fmla="*/ 26832 w 173"/>
                <a:gd name="T35" fmla="*/ 13494 h 8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73"/>
                <a:gd name="T55" fmla="*/ 0 h 80"/>
                <a:gd name="T56" fmla="*/ 173 w 173"/>
                <a:gd name="T57" fmla="*/ 80 h 8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73" h="80">
                  <a:moveTo>
                    <a:pt x="139" y="65"/>
                  </a:moveTo>
                  <a:lnTo>
                    <a:pt x="139" y="65"/>
                  </a:lnTo>
                  <a:lnTo>
                    <a:pt x="173" y="32"/>
                  </a:lnTo>
                  <a:lnTo>
                    <a:pt x="173" y="17"/>
                  </a:lnTo>
                  <a:lnTo>
                    <a:pt x="156" y="0"/>
                  </a:lnTo>
                  <a:lnTo>
                    <a:pt x="104" y="48"/>
                  </a:lnTo>
                  <a:lnTo>
                    <a:pt x="52" y="48"/>
                  </a:lnTo>
                  <a:lnTo>
                    <a:pt x="18" y="48"/>
                  </a:lnTo>
                  <a:lnTo>
                    <a:pt x="0" y="65"/>
                  </a:lnTo>
                  <a:lnTo>
                    <a:pt x="18" y="80"/>
                  </a:lnTo>
                  <a:lnTo>
                    <a:pt x="35" y="80"/>
                  </a:lnTo>
                  <a:lnTo>
                    <a:pt x="52" y="80"/>
                  </a:lnTo>
                  <a:lnTo>
                    <a:pt x="70" y="80"/>
                  </a:lnTo>
                  <a:lnTo>
                    <a:pt x="87" y="80"/>
                  </a:lnTo>
                  <a:lnTo>
                    <a:pt x="104" y="80"/>
                  </a:lnTo>
                  <a:lnTo>
                    <a:pt x="104" y="65"/>
                  </a:lnTo>
                  <a:lnTo>
                    <a:pt x="121" y="65"/>
                  </a:lnTo>
                  <a:lnTo>
                    <a:pt x="139" y="65"/>
                  </a:lnTo>
                  <a:close/>
                </a:path>
              </a:pathLst>
            </a:custGeom>
            <a:solidFill>
              <a:srgbClr val="FFC000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12" name="Freeform 206">
              <a:extLst>
                <a:ext uri="{FF2B5EF4-FFF2-40B4-BE49-F238E27FC236}">
                  <a16:creationId xmlns:a16="http://schemas.microsoft.com/office/drawing/2014/main" id="{686B546B-AA5B-DDB9-8D37-5F6FE4D86FA8}"/>
                </a:ext>
              </a:extLst>
            </p:cNvPr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6549775" y="4240103"/>
              <a:ext cx="14180" cy="26662"/>
            </a:xfrm>
            <a:custGeom>
              <a:avLst/>
              <a:gdLst>
                <a:gd name="T0" fmla="*/ 4202 w 17"/>
                <a:gd name="T1" fmla="*/ 6158 h 33"/>
                <a:gd name="T2" fmla="*/ 4202 w 17"/>
                <a:gd name="T3" fmla="*/ 6158 h 33"/>
                <a:gd name="T4" fmla="*/ 0 w 17"/>
                <a:gd name="T5" fmla="*/ 3079 h 33"/>
                <a:gd name="T6" fmla="*/ 0 w 17"/>
                <a:gd name="T7" fmla="*/ 0 h 33"/>
                <a:gd name="T8" fmla="*/ 4202 w 17"/>
                <a:gd name="T9" fmla="*/ 0 h 33"/>
                <a:gd name="T10" fmla="*/ 4202 w 17"/>
                <a:gd name="T11" fmla="*/ 6158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33"/>
                <a:gd name="T20" fmla="*/ 17 w 17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33">
                  <a:moveTo>
                    <a:pt x="17" y="33"/>
                  </a:moveTo>
                  <a:lnTo>
                    <a:pt x="17" y="33"/>
                  </a:lnTo>
                  <a:lnTo>
                    <a:pt x="0" y="16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33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13" name="Freeform 207">
              <a:extLst>
                <a:ext uri="{FF2B5EF4-FFF2-40B4-BE49-F238E27FC236}">
                  <a16:creationId xmlns:a16="http://schemas.microsoft.com/office/drawing/2014/main" id="{D59541B3-DC2F-2A6B-6437-C1F4B4B3A524}"/>
                </a:ext>
              </a:extLst>
            </p:cNvPr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6274072" y="4433405"/>
              <a:ext cx="211110" cy="101650"/>
            </a:xfrm>
            <a:custGeom>
              <a:avLst/>
              <a:gdLst>
                <a:gd name="T0" fmla="*/ 0 w 279"/>
                <a:gd name="T1" fmla="*/ 6301 h 129"/>
                <a:gd name="T2" fmla="*/ 0 w 279"/>
                <a:gd name="T3" fmla="*/ 6301 h 129"/>
                <a:gd name="T4" fmla="*/ 3164 w 279"/>
                <a:gd name="T5" fmla="*/ 3150 h 129"/>
                <a:gd name="T6" fmla="*/ 13445 w 279"/>
                <a:gd name="T7" fmla="*/ 11814 h 129"/>
                <a:gd name="T8" fmla="*/ 16609 w 279"/>
                <a:gd name="T9" fmla="*/ 18902 h 129"/>
                <a:gd name="T10" fmla="*/ 41127 w 279"/>
                <a:gd name="T11" fmla="*/ 3150 h 129"/>
                <a:gd name="T12" fmla="*/ 54573 w 279"/>
                <a:gd name="T13" fmla="*/ 0 h 129"/>
                <a:gd name="T14" fmla="*/ 54573 w 279"/>
                <a:gd name="T15" fmla="*/ 3150 h 129"/>
                <a:gd name="T16" fmla="*/ 51409 w 279"/>
                <a:gd name="T17" fmla="*/ 6301 h 129"/>
                <a:gd name="T18" fmla="*/ 51409 w 279"/>
                <a:gd name="T19" fmla="*/ 9451 h 129"/>
                <a:gd name="T20" fmla="*/ 37964 w 279"/>
                <a:gd name="T21" fmla="*/ 11814 h 129"/>
                <a:gd name="T22" fmla="*/ 23727 w 279"/>
                <a:gd name="T23" fmla="*/ 21265 h 129"/>
                <a:gd name="T24" fmla="*/ 16609 w 279"/>
                <a:gd name="T25" fmla="*/ 21265 h 129"/>
                <a:gd name="T26" fmla="*/ 10282 w 279"/>
                <a:gd name="T27" fmla="*/ 25203 h 129"/>
                <a:gd name="T28" fmla="*/ 3164 w 279"/>
                <a:gd name="T29" fmla="*/ 25203 h 129"/>
                <a:gd name="T30" fmla="*/ 0 w 279"/>
                <a:gd name="T31" fmla="*/ 6301 h 12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79"/>
                <a:gd name="T49" fmla="*/ 0 h 129"/>
                <a:gd name="T50" fmla="*/ 279 w 279"/>
                <a:gd name="T51" fmla="*/ 129 h 12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79" h="129">
                  <a:moveTo>
                    <a:pt x="0" y="33"/>
                  </a:moveTo>
                  <a:lnTo>
                    <a:pt x="0" y="33"/>
                  </a:lnTo>
                  <a:lnTo>
                    <a:pt x="17" y="16"/>
                  </a:lnTo>
                  <a:lnTo>
                    <a:pt x="69" y="63"/>
                  </a:lnTo>
                  <a:lnTo>
                    <a:pt x="87" y="96"/>
                  </a:lnTo>
                  <a:lnTo>
                    <a:pt x="209" y="16"/>
                  </a:lnTo>
                  <a:lnTo>
                    <a:pt x="279" y="0"/>
                  </a:lnTo>
                  <a:lnTo>
                    <a:pt x="279" y="16"/>
                  </a:lnTo>
                  <a:lnTo>
                    <a:pt x="261" y="33"/>
                  </a:lnTo>
                  <a:lnTo>
                    <a:pt x="261" y="48"/>
                  </a:lnTo>
                  <a:lnTo>
                    <a:pt x="192" y="63"/>
                  </a:lnTo>
                  <a:lnTo>
                    <a:pt x="123" y="111"/>
                  </a:lnTo>
                  <a:lnTo>
                    <a:pt x="87" y="111"/>
                  </a:lnTo>
                  <a:lnTo>
                    <a:pt x="52" y="129"/>
                  </a:lnTo>
                  <a:lnTo>
                    <a:pt x="17" y="129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14" name="Freeform 208">
              <a:extLst>
                <a:ext uri="{FF2B5EF4-FFF2-40B4-BE49-F238E27FC236}">
                  <a16:creationId xmlns:a16="http://schemas.microsoft.com/office/drawing/2014/main" id="{728FE2C5-F532-6B79-E21F-FE03C93671C2}"/>
                </a:ext>
              </a:extLst>
            </p:cNvPr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5568273" y="3831838"/>
              <a:ext cx="11028" cy="53325"/>
            </a:xfrm>
            <a:custGeom>
              <a:avLst/>
              <a:gdLst>
                <a:gd name="T0" fmla="*/ 0 w 18"/>
                <a:gd name="T1" fmla="*/ 4030 h 65"/>
                <a:gd name="T2" fmla="*/ 0 w 18"/>
                <a:gd name="T3" fmla="*/ 4030 h 65"/>
                <a:gd name="T4" fmla="*/ 0 w 18"/>
                <a:gd name="T5" fmla="*/ 9672 h 65"/>
                <a:gd name="T6" fmla="*/ 2822 w 18"/>
                <a:gd name="T7" fmla="*/ 13701 h 65"/>
                <a:gd name="T8" fmla="*/ 2822 w 18"/>
                <a:gd name="T9" fmla="*/ 0 h 65"/>
                <a:gd name="T10" fmla="*/ 0 w 18"/>
                <a:gd name="T11" fmla="*/ 4030 h 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8"/>
                <a:gd name="T19" fmla="*/ 0 h 65"/>
                <a:gd name="T20" fmla="*/ 18 w 18"/>
                <a:gd name="T21" fmla="*/ 65 h 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8" h="65">
                  <a:moveTo>
                    <a:pt x="0" y="17"/>
                  </a:moveTo>
                  <a:lnTo>
                    <a:pt x="0" y="17"/>
                  </a:lnTo>
                  <a:lnTo>
                    <a:pt x="0" y="48"/>
                  </a:lnTo>
                  <a:lnTo>
                    <a:pt x="18" y="65"/>
                  </a:lnTo>
                  <a:lnTo>
                    <a:pt x="18" y="0"/>
                  </a:lnTo>
                  <a:lnTo>
                    <a:pt x="0" y="17"/>
                  </a:lnTo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15" name="Freeform 209">
              <a:extLst>
                <a:ext uri="{FF2B5EF4-FFF2-40B4-BE49-F238E27FC236}">
                  <a16:creationId xmlns:a16="http://schemas.microsoft.com/office/drawing/2014/main" id="{63036CE5-74C5-13A6-7470-E3D32D8F7DD6}"/>
                </a:ext>
              </a:extLst>
            </p:cNvPr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5554093" y="3885162"/>
              <a:ext cx="39387" cy="61656"/>
            </a:xfrm>
            <a:custGeom>
              <a:avLst/>
              <a:gdLst>
                <a:gd name="T0" fmla="*/ 0 w 52"/>
                <a:gd name="T1" fmla="*/ 0 h 79"/>
                <a:gd name="T2" fmla="*/ 0 w 52"/>
                <a:gd name="T3" fmla="*/ 0 h 79"/>
                <a:gd name="T4" fmla="*/ 3969 w 52"/>
                <a:gd name="T5" fmla="*/ 12539 h 79"/>
                <a:gd name="T6" fmla="*/ 3969 w 52"/>
                <a:gd name="T7" fmla="*/ 14890 h 79"/>
                <a:gd name="T8" fmla="*/ 7144 w 52"/>
                <a:gd name="T9" fmla="*/ 12539 h 79"/>
                <a:gd name="T10" fmla="*/ 10319 w 52"/>
                <a:gd name="T11" fmla="*/ 3135 h 79"/>
                <a:gd name="T12" fmla="*/ 7144 w 52"/>
                <a:gd name="T13" fmla="*/ 0 h 79"/>
                <a:gd name="T14" fmla="*/ 0 w 52"/>
                <a:gd name="T15" fmla="*/ 0 h 7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2"/>
                <a:gd name="T25" fmla="*/ 0 h 79"/>
                <a:gd name="T26" fmla="*/ 52 w 52"/>
                <a:gd name="T27" fmla="*/ 79 h 7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2" h="79">
                  <a:moveTo>
                    <a:pt x="0" y="0"/>
                  </a:moveTo>
                  <a:lnTo>
                    <a:pt x="0" y="0"/>
                  </a:lnTo>
                  <a:lnTo>
                    <a:pt x="17" y="64"/>
                  </a:lnTo>
                  <a:lnTo>
                    <a:pt x="17" y="79"/>
                  </a:lnTo>
                  <a:lnTo>
                    <a:pt x="35" y="64"/>
                  </a:lnTo>
                  <a:lnTo>
                    <a:pt x="52" y="16"/>
                  </a:lnTo>
                  <a:lnTo>
                    <a:pt x="35" y="0"/>
                  </a:lnTo>
                  <a:lnTo>
                    <a:pt x="0" y="0"/>
                  </a:lnTo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16" name="Freeform 210">
              <a:extLst>
                <a:ext uri="{FF2B5EF4-FFF2-40B4-BE49-F238E27FC236}">
                  <a16:creationId xmlns:a16="http://schemas.microsoft.com/office/drawing/2014/main" id="{43292FB2-A005-5AFA-EECD-4F3B0F20A973}"/>
                </a:ext>
              </a:extLst>
            </p:cNvPr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5647045" y="3961816"/>
              <a:ext cx="67744" cy="38326"/>
            </a:xfrm>
            <a:custGeom>
              <a:avLst/>
              <a:gdLst>
                <a:gd name="T0" fmla="*/ 0 w 88"/>
                <a:gd name="T1" fmla="*/ 0 h 48"/>
                <a:gd name="T2" fmla="*/ 0 w 88"/>
                <a:gd name="T3" fmla="*/ 0 h 48"/>
                <a:gd name="T4" fmla="*/ 0 w 88"/>
                <a:gd name="T5" fmla="*/ 2381 h 48"/>
                <a:gd name="T6" fmla="*/ 14612 w 88"/>
                <a:gd name="T7" fmla="*/ 9525 h 48"/>
                <a:gd name="T8" fmla="*/ 18671 w 88"/>
                <a:gd name="T9" fmla="*/ 0 h 48"/>
                <a:gd name="T10" fmla="*/ 11365 w 88"/>
                <a:gd name="T11" fmla="*/ 0 h 48"/>
                <a:gd name="T12" fmla="*/ 4059 w 88"/>
                <a:gd name="T13" fmla="*/ 0 h 48"/>
                <a:gd name="T14" fmla="*/ 0 w 88"/>
                <a:gd name="T15" fmla="*/ 0 h 4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8"/>
                <a:gd name="T25" fmla="*/ 0 h 48"/>
                <a:gd name="T26" fmla="*/ 88 w 88"/>
                <a:gd name="T27" fmla="*/ 48 h 4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8" h="48">
                  <a:moveTo>
                    <a:pt x="0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69" y="48"/>
                  </a:lnTo>
                  <a:lnTo>
                    <a:pt x="88" y="0"/>
                  </a:lnTo>
                  <a:lnTo>
                    <a:pt x="52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17" name="Freeform 211">
              <a:extLst>
                <a:ext uri="{FF2B5EF4-FFF2-40B4-BE49-F238E27FC236}">
                  <a16:creationId xmlns:a16="http://schemas.microsoft.com/office/drawing/2014/main" id="{3FE76BD7-9C11-35A6-EEB6-EF027E2870F7}"/>
                </a:ext>
              </a:extLst>
            </p:cNvPr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5831372" y="3961816"/>
              <a:ext cx="37811" cy="38326"/>
            </a:xfrm>
            <a:custGeom>
              <a:avLst/>
              <a:gdLst>
                <a:gd name="T0" fmla="*/ 0 w 52"/>
                <a:gd name="T1" fmla="*/ 2381 h 48"/>
                <a:gd name="T2" fmla="*/ 0 w 52"/>
                <a:gd name="T3" fmla="*/ 2381 h 48"/>
                <a:gd name="T4" fmla="*/ 3969 w 52"/>
                <a:gd name="T5" fmla="*/ 2381 h 48"/>
                <a:gd name="T6" fmla="*/ 3969 w 52"/>
                <a:gd name="T7" fmla="*/ 9525 h 48"/>
                <a:gd name="T8" fmla="*/ 7144 w 52"/>
                <a:gd name="T9" fmla="*/ 9525 h 48"/>
                <a:gd name="T10" fmla="*/ 10319 w 52"/>
                <a:gd name="T11" fmla="*/ 9525 h 48"/>
                <a:gd name="T12" fmla="*/ 7144 w 52"/>
                <a:gd name="T13" fmla="*/ 2381 h 48"/>
                <a:gd name="T14" fmla="*/ 10319 w 52"/>
                <a:gd name="T15" fmla="*/ 5556 h 48"/>
                <a:gd name="T16" fmla="*/ 10319 w 52"/>
                <a:gd name="T17" fmla="*/ 2381 h 48"/>
                <a:gd name="T18" fmla="*/ 3969 w 52"/>
                <a:gd name="T19" fmla="*/ 0 h 48"/>
                <a:gd name="T20" fmla="*/ 0 w 52"/>
                <a:gd name="T21" fmla="*/ 2381 h 4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2"/>
                <a:gd name="T34" fmla="*/ 0 h 48"/>
                <a:gd name="T35" fmla="*/ 52 w 52"/>
                <a:gd name="T36" fmla="*/ 48 h 4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2" h="48">
                  <a:moveTo>
                    <a:pt x="0" y="15"/>
                  </a:moveTo>
                  <a:lnTo>
                    <a:pt x="0" y="15"/>
                  </a:lnTo>
                  <a:lnTo>
                    <a:pt x="17" y="15"/>
                  </a:lnTo>
                  <a:lnTo>
                    <a:pt x="17" y="48"/>
                  </a:lnTo>
                  <a:lnTo>
                    <a:pt x="34" y="48"/>
                  </a:lnTo>
                  <a:lnTo>
                    <a:pt x="52" y="48"/>
                  </a:lnTo>
                  <a:lnTo>
                    <a:pt x="34" y="15"/>
                  </a:lnTo>
                  <a:lnTo>
                    <a:pt x="52" y="31"/>
                  </a:lnTo>
                  <a:lnTo>
                    <a:pt x="52" y="15"/>
                  </a:lnTo>
                  <a:lnTo>
                    <a:pt x="17" y="0"/>
                  </a:lnTo>
                  <a:lnTo>
                    <a:pt x="0" y="15"/>
                  </a:lnTo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18" name="Freeform 212">
              <a:extLst>
                <a:ext uri="{FF2B5EF4-FFF2-40B4-BE49-F238E27FC236}">
                  <a16:creationId xmlns:a16="http://schemas.microsoft.com/office/drawing/2014/main" id="{EABB1ED1-0569-F698-DA3F-703058C7021D}"/>
                </a:ext>
              </a:extLst>
            </p:cNvPr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5881786" y="4023472"/>
              <a:ext cx="53565" cy="14998"/>
            </a:xfrm>
            <a:custGeom>
              <a:avLst/>
              <a:gdLst>
                <a:gd name="T0" fmla="*/ 0 w 71"/>
                <a:gd name="T1" fmla="*/ 4202 h 17"/>
                <a:gd name="T2" fmla="*/ 0 w 71"/>
                <a:gd name="T3" fmla="*/ 4202 h 17"/>
                <a:gd name="T4" fmla="*/ 7043 w 71"/>
                <a:gd name="T5" fmla="*/ 4202 h 17"/>
                <a:gd name="T6" fmla="*/ 13304 w 71"/>
                <a:gd name="T7" fmla="*/ 4202 h 17"/>
                <a:gd name="T8" fmla="*/ 10174 w 71"/>
                <a:gd name="T9" fmla="*/ 4202 h 17"/>
                <a:gd name="T10" fmla="*/ 0 w 71"/>
                <a:gd name="T11" fmla="*/ 0 h 17"/>
                <a:gd name="T12" fmla="*/ 0 w 71"/>
                <a:gd name="T13" fmla="*/ 4202 h 1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1"/>
                <a:gd name="T22" fmla="*/ 0 h 17"/>
                <a:gd name="T23" fmla="*/ 71 w 71"/>
                <a:gd name="T24" fmla="*/ 17 h 1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1" h="17">
                  <a:moveTo>
                    <a:pt x="0" y="17"/>
                  </a:moveTo>
                  <a:lnTo>
                    <a:pt x="0" y="17"/>
                  </a:lnTo>
                  <a:lnTo>
                    <a:pt x="36" y="17"/>
                  </a:lnTo>
                  <a:lnTo>
                    <a:pt x="71" y="17"/>
                  </a:lnTo>
                  <a:lnTo>
                    <a:pt x="54" y="17"/>
                  </a:lnTo>
                  <a:lnTo>
                    <a:pt x="0" y="0"/>
                  </a:lnTo>
                  <a:lnTo>
                    <a:pt x="0" y="17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19" name="Freeform 213">
              <a:extLst>
                <a:ext uri="{FF2B5EF4-FFF2-40B4-BE49-F238E27FC236}">
                  <a16:creationId xmlns:a16="http://schemas.microsoft.com/office/drawing/2014/main" id="{000E001C-FFB8-9FCF-3988-28D33223FB66}"/>
                </a:ext>
              </a:extLst>
            </p:cNvPr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6053510" y="4023472"/>
              <a:ext cx="51989" cy="24996"/>
            </a:xfrm>
            <a:custGeom>
              <a:avLst/>
              <a:gdLst>
                <a:gd name="T0" fmla="*/ 0 w 70"/>
                <a:gd name="T1" fmla="*/ 3175 h 32"/>
                <a:gd name="T2" fmla="*/ 0 w 70"/>
                <a:gd name="T3" fmla="*/ 3175 h 32"/>
                <a:gd name="T4" fmla="*/ 3175 w 70"/>
                <a:gd name="T5" fmla="*/ 6350 h 32"/>
                <a:gd name="T6" fmla="*/ 7144 w 70"/>
                <a:gd name="T7" fmla="*/ 6350 h 32"/>
                <a:gd name="T8" fmla="*/ 10319 w 70"/>
                <a:gd name="T9" fmla="*/ 3175 h 32"/>
                <a:gd name="T10" fmla="*/ 14288 w 70"/>
                <a:gd name="T11" fmla="*/ 0 h 32"/>
                <a:gd name="T12" fmla="*/ 0 w 70"/>
                <a:gd name="T13" fmla="*/ 3175 h 3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0"/>
                <a:gd name="T22" fmla="*/ 0 h 32"/>
                <a:gd name="T23" fmla="*/ 70 w 70"/>
                <a:gd name="T24" fmla="*/ 32 h 3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0" h="32">
                  <a:moveTo>
                    <a:pt x="0" y="17"/>
                  </a:moveTo>
                  <a:lnTo>
                    <a:pt x="0" y="17"/>
                  </a:lnTo>
                  <a:lnTo>
                    <a:pt x="18" y="32"/>
                  </a:lnTo>
                  <a:lnTo>
                    <a:pt x="35" y="32"/>
                  </a:lnTo>
                  <a:lnTo>
                    <a:pt x="52" y="17"/>
                  </a:lnTo>
                  <a:lnTo>
                    <a:pt x="70" y="0"/>
                  </a:lnTo>
                  <a:lnTo>
                    <a:pt x="0" y="17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20" name="Freeform 215">
              <a:extLst>
                <a:ext uri="{FF2B5EF4-FFF2-40B4-BE49-F238E27FC236}">
                  <a16:creationId xmlns:a16="http://schemas.microsoft.com/office/drawing/2014/main" id="{E3F17DAA-7597-9C40-1DDD-42464648DD08}"/>
                </a:ext>
              </a:extLst>
            </p:cNvPr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6315034" y="3908492"/>
              <a:ext cx="26782" cy="24995"/>
            </a:xfrm>
            <a:custGeom>
              <a:avLst/>
              <a:gdLst>
                <a:gd name="T0" fmla="*/ 6169 w 35"/>
                <a:gd name="T1" fmla="*/ 6158 h 33"/>
                <a:gd name="T2" fmla="*/ 6169 w 35"/>
                <a:gd name="T3" fmla="*/ 6158 h 33"/>
                <a:gd name="T4" fmla="*/ 3084 w 35"/>
                <a:gd name="T5" fmla="*/ 6158 h 33"/>
                <a:gd name="T6" fmla="*/ 0 w 35"/>
                <a:gd name="T7" fmla="*/ 0 h 33"/>
                <a:gd name="T8" fmla="*/ 6169 w 35"/>
                <a:gd name="T9" fmla="*/ 3079 h 33"/>
                <a:gd name="T10" fmla="*/ 6169 w 35"/>
                <a:gd name="T11" fmla="*/ 6158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5"/>
                <a:gd name="T19" fmla="*/ 0 h 33"/>
                <a:gd name="T20" fmla="*/ 35 w 35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5" h="33">
                  <a:moveTo>
                    <a:pt x="35" y="33"/>
                  </a:moveTo>
                  <a:lnTo>
                    <a:pt x="35" y="33"/>
                  </a:lnTo>
                  <a:lnTo>
                    <a:pt x="17" y="33"/>
                  </a:lnTo>
                  <a:lnTo>
                    <a:pt x="0" y="0"/>
                  </a:lnTo>
                  <a:lnTo>
                    <a:pt x="35" y="17"/>
                  </a:lnTo>
                  <a:lnTo>
                    <a:pt x="35" y="33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21" name="Freeform 216">
              <a:extLst>
                <a:ext uri="{FF2B5EF4-FFF2-40B4-BE49-F238E27FC236}">
                  <a16:creationId xmlns:a16="http://schemas.microsoft.com/office/drawing/2014/main" id="{180ABD5B-EFB7-266A-0335-DC0002433495}"/>
                </a:ext>
              </a:extLst>
            </p:cNvPr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6118103" y="3985146"/>
              <a:ext cx="155970" cy="114981"/>
            </a:xfrm>
            <a:custGeom>
              <a:avLst/>
              <a:gdLst>
                <a:gd name="T0" fmla="*/ 0 w 207"/>
                <a:gd name="T1" fmla="*/ 28575 h 144"/>
                <a:gd name="T2" fmla="*/ 0 w 207"/>
                <a:gd name="T3" fmla="*/ 28575 h 144"/>
                <a:gd name="T4" fmla="*/ 3988 w 207"/>
                <a:gd name="T5" fmla="*/ 25400 h 144"/>
                <a:gd name="T6" fmla="*/ 7178 w 207"/>
                <a:gd name="T7" fmla="*/ 19050 h 144"/>
                <a:gd name="T8" fmla="*/ 3988 w 207"/>
                <a:gd name="T9" fmla="*/ 15875 h 144"/>
                <a:gd name="T10" fmla="*/ 3988 w 207"/>
                <a:gd name="T11" fmla="*/ 6350 h 144"/>
                <a:gd name="T12" fmla="*/ 7178 w 207"/>
                <a:gd name="T13" fmla="*/ 6350 h 144"/>
                <a:gd name="T14" fmla="*/ 7178 w 207"/>
                <a:gd name="T15" fmla="*/ 3969 h 144"/>
                <a:gd name="T16" fmla="*/ 17547 w 207"/>
                <a:gd name="T17" fmla="*/ 0 h 144"/>
                <a:gd name="T18" fmla="*/ 20737 w 207"/>
                <a:gd name="T19" fmla="*/ 3969 h 144"/>
                <a:gd name="T20" fmla="*/ 31106 w 207"/>
                <a:gd name="T21" fmla="*/ 0 h 144"/>
                <a:gd name="T22" fmla="*/ 41474 w 207"/>
                <a:gd name="T23" fmla="*/ 0 h 144"/>
                <a:gd name="T24" fmla="*/ 35094 w 207"/>
                <a:gd name="T25" fmla="*/ 3969 h 144"/>
                <a:gd name="T26" fmla="*/ 31106 w 207"/>
                <a:gd name="T27" fmla="*/ 15875 h 144"/>
                <a:gd name="T28" fmla="*/ 20737 w 207"/>
                <a:gd name="T29" fmla="*/ 22225 h 144"/>
                <a:gd name="T30" fmla="*/ 17547 w 207"/>
                <a:gd name="T31" fmla="*/ 22225 h 144"/>
                <a:gd name="T32" fmla="*/ 7178 w 207"/>
                <a:gd name="T33" fmla="*/ 28575 h 144"/>
                <a:gd name="T34" fmla="*/ 0 w 207"/>
                <a:gd name="T35" fmla="*/ 28575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07"/>
                <a:gd name="T55" fmla="*/ 0 h 144"/>
                <a:gd name="T56" fmla="*/ 207 w 207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07" h="144">
                  <a:moveTo>
                    <a:pt x="0" y="144"/>
                  </a:moveTo>
                  <a:lnTo>
                    <a:pt x="0" y="144"/>
                  </a:lnTo>
                  <a:lnTo>
                    <a:pt x="17" y="128"/>
                  </a:lnTo>
                  <a:lnTo>
                    <a:pt x="34" y="96"/>
                  </a:lnTo>
                  <a:lnTo>
                    <a:pt x="17" y="80"/>
                  </a:lnTo>
                  <a:lnTo>
                    <a:pt x="17" y="32"/>
                  </a:lnTo>
                  <a:lnTo>
                    <a:pt x="34" y="32"/>
                  </a:lnTo>
                  <a:lnTo>
                    <a:pt x="34" y="17"/>
                  </a:lnTo>
                  <a:lnTo>
                    <a:pt x="86" y="0"/>
                  </a:lnTo>
                  <a:lnTo>
                    <a:pt x="104" y="17"/>
                  </a:lnTo>
                  <a:lnTo>
                    <a:pt x="155" y="0"/>
                  </a:lnTo>
                  <a:lnTo>
                    <a:pt x="207" y="0"/>
                  </a:lnTo>
                  <a:lnTo>
                    <a:pt x="173" y="17"/>
                  </a:lnTo>
                  <a:lnTo>
                    <a:pt x="155" y="80"/>
                  </a:lnTo>
                  <a:lnTo>
                    <a:pt x="104" y="113"/>
                  </a:lnTo>
                  <a:lnTo>
                    <a:pt x="86" y="113"/>
                  </a:lnTo>
                  <a:lnTo>
                    <a:pt x="34" y="14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22" name="Freeform 217">
              <a:extLst>
                <a:ext uri="{FF2B5EF4-FFF2-40B4-BE49-F238E27FC236}">
                  <a16:creationId xmlns:a16="http://schemas.microsoft.com/office/drawing/2014/main" id="{8BB40270-FA71-BBF2-B29E-186DBC0D300D}"/>
                </a:ext>
              </a:extLst>
            </p:cNvPr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6091321" y="4086795"/>
              <a:ext cx="39386" cy="89985"/>
            </a:xfrm>
            <a:custGeom>
              <a:avLst/>
              <a:gdLst>
                <a:gd name="T0" fmla="*/ 7144 w 52"/>
                <a:gd name="T1" fmla="*/ 3175 h 112"/>
                <a:gd name="T2" fmla="*/ 7144 w 52"/>
                <a:gd name="T3" fmla="*/ 3175 h 112"/>
                <a:gd name="T4" fmla="*/ 7144 w 52"/>
                <a:gd name="T5" fmla="*/ 7144 h 112"/>
                <a:gd name="T6" fmla="*/ 7144 w 52"/>
                <a:gd name="T7" fmla="*/ 12700 h 112"/>
                <a:gd name="T8" fmla="*/ 3969 w 52"/>
                <a:gd name="T9" fmla="*/ 22225 h 112"/>
                <a:gd name="T10" fmla="*/ 0 w 52"/>
                <a:gd name="T11" fmla="*/ 9525 h 112"/>
                <a:gd name="T12" fmla="*/ 3969 w 52"/>
                <a:gd name="T13" fmla="*/ 7144 h 112"/>
                <a:gd name="T14" fmla="*/ 7144 w 52"/>
                <a:gd name="T15" fmla="*/ 0 h 112"/>
                <a:gd name="T16" fmla="*/ 10319 w 52"/>
                <a:gd name="T17" fmla="*/ 0 h 112"/>
                <a:gd name="T18" fmla="*/ 7144 w 52"/>
                <a:gd name="T19" fmla="*/ 3175 h 1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2"/>
                <a:gd name="T31" fmla="*/ 0 h 112"/>
                <a:gd name="T32" fmla="*/ 52 w 52"/>
                <a:gd name="T33" fmla="*/ 112 h 1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2" h="112">
                  <a:moveTo>
                    <a:pt x="35" y="16"/>
                  </a:moveTo>
                  <a:lnTo>
                    <a:pt x="35" y="16"/>
                  </a:lnTo>
                  <a:lnTo>
                    <a:pt x="35" y="33"/>
                  </a:lnTo>
                  <a:lnTo>
                    <a:pt x="35" y="64"/>
                  </a:lnTo>
                  <a:lnTo>
                    <a:pt x="18" y="112"/>
                  </a:lnTo>
                  <a:lnTo>
                    <a:pt x="0" y="48"/>
                  </a:lnTo>
                  <a:lnTo>
                    <a:pt x="18" y="33"/>
                  </a:lnTo>
                  <a:lnTo>
                    <a:pt x="35" y="0"/>
                  </a:lnTo>
                  <a:lnTo>
                    <a:pt x="52" y="0"/>
                  </a:lnTo>
                  <a:lnTo>
                    <a:pt x="35" y="16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23" name="Freeform 218">
              <a:extLst>
                <a:ext uri="{FF2B5EF4-FFF2-40B4-BE49-F238E27FC236}">
                  <a16:creationId xmlns:a16="http://schemas.microsoft.com/office/drawing/2014/main" id="{0F7CBD78-716A-A39C-200D-D25C3EAA674C}"/>
                </a:ext>
              </a:extLst>
            </p:cNvPr>
            <p:cNvSpPr>
              <a:spLocks/>
            </p:cNvSpPr>
            <p:nvPr>
              <p:custDataLst>
                <p:tags r:id="rId209"/>
              </p:custDataLst>
            </p:nvPr>
          </p:nvSpPr>
          <p:spPr bwMode="auto">
            <a:xfrm>
              <a:off x="6196875" y="3971814"/>
              <a:ext cx="195355" cy="204966"/>
            </a:xfrm>
            <a:custGeom>
              <a:avLst/>
              <a:gdLst>
                <a:gd name="T0" fmla="*/ 31076 w 259"/>
                <a:gd name="T1" fmla="*/ 3175 h 256"/>
                <a:gd name="T2" fmla="*/ 31076 w 259"/>
                <a:gd name="T3" fmla="*/ 3175 h 256"/>
                <a:gd name="T4" fmla="*/ 34263 w 259"/>
                <a:gd name="T5" fmla="*/ 9525 h 256"/>
                <a:gd name="T6" fmla="*/ 38247 w 259"/>
                <a:gd name="T7" fmla="*/ 9525 h 256"/>
                <a:gd name="T8" fmla="*/ 38247 w 259"/>
                <a:gd name="T9" fmla="*/ 15875 h 256"/>
                <a:gd name="T10" fmla="*/ 34263 w 259"/>
                <a:gd name="T11" fmla="*/ 22225 h 256"/>
                <a:gd name="T12" fmla="*/ 38247 w 259"/>
                <a:gd name="T13" fmla="*/ 28575 h 256"/>
                <a:gd name="T14" fmla="*/ 44622 w 259"/>
                <a:gd name="T15" fmla="*/ 31750 h 256"/>
                <a:gd name="T16" fmla="*/ 48606 w 259"/>
                <a:gd name="T17" fmla="*/ 41275 h 256"/>
                <a:gd name="T18" fmla="*/ 51793 w 259"/>
                <a:gd name="T19" fmla="*/ 44450 h 256"/>
                <a:gd name="T20" fmla="*/ 51793 w 259"/>
                <a:gd name="T21" fmla="*/ 47625 h 256"/>
                <a:gd name="T22" fmla="*/ 44622 w 259"/>
                <a:gd name="T23" fmla="*/ 47625 h 256"/>
                <a:gd name="T24" fmla="*/ 41434 w 259"/>
                <a:gd name="T25" fmla="*/ 50800 h 256"/>
                <a:gd name="T26" fmla="*/ 34263 w 259"/>
                <a:gd name="T27" fmla="*/ 47625 h 256"/>
                <a:gd name="T28" fmla="*/ 31076 w 259"/>
                <a:gd name="T29" fmla="*/ 50800 h 256"/>
                <a:gd name="T30" fmla="*/ 23904 w 259"/>
                <a:gd name="T31" fmla="*/ 47625 h 256"/>
                <a:gd name="T32" fmla="*/ 23904 w 259"/>
                <a:gd name="T33" fmla="*/ 44450 h 256"/>
                <a:gd name="T34" fmla="*/ 20717 w 259"/>
                <a:gd name="T35" fmla="*/ 41275 h 256"/>
                <a:gd name="T36" fmla="*/ 10359 w 259"/>
                <a:gd name="T37" fmla="*/ 34925 h 256"/>
                <a:gd name="T38" fmla="*/ 0 w 259"/>
                <a:gd name="T39" fmla="*/ 31750 h 256"/>
                <a:gd name="T40" fmla="*/ 0 w 259"/>
                <a:gd name="T41" fmla="*/ 25400 h 256"/>
                <a:gd name="T42" fmla="*/ 10359 w 259"/>
                <a:gd name="T43" fmla="*/ 19050 h 256"/>
                <a:gd name="T44" fmla="*/ 14343 w 259"/>
                <a:gd name="T45" fmla="*/ 6350 h 256"/>
                <a:gd name="T46" fmla="*/ 20717 w 259"/>
                <a:gd name="T47" fmla="*/ 3175 h 256"/>
                <a:gd name="T48" fmla="*/ 20717 w 259"/>
                <a:gd name="T49" fmla="*/ 0 h 256"/>
                <a:gd name="T50" fmla="*/ 31076 w 259"/>
                <a:gd name="T51" fmla="*/ 3175 h 25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59"/>
                <a:gd name="T79" fmla="*/ 0 h 256"/>
                <a:gd name="T80" fmla="*/ 259 w 259"/>
                <a:gd name="T81" fmla="*/ 256 h 25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59" h="256">
                  <a:moveTo>
                    <a:pt x="155" y="16"/>
                  </a:moveTo>
                  <a:lnTo>
                    <a:pt x="155" y="16"/>
                  </a:lnTo>
                  <a:lnTo>
                    <a:pt x="172" y="48"/>
                  </a:lnTo>
                  <a:lnTo>
                    <a:pt x="190" y="48"/>
                  </a:lnTo>
                  <a:lnTo>
                    <a:pt x="190" y="81"/>
                  </a:lnTo>
                  <a:lnTo>
                    <a:pt x="172" y="112"/>
                  </a:lnTo>
                  <a:lnTo>
                    <a:pt x="190" y="144"/>
                  </a:lnTo>
                  <a:lnTo>
                    <a:pt x="224" y="160"/>
                  </a:lnTo>
                  <a:lnTo>
                    <a:pt x="241" y="208"/>
                  </a:lnTo>
                  <a:lnTo>
                    <a:pt x="259" y="225"/>
                  </a:lnTo>
                  <a:lnTo>
                    <a:pt x="259" y="240"/>
                  </a:lnTo>
                  <a:lnTo>
                    <a:pt x="224" y="240"/>
                  </a:lnTo>
                  <a:lnTo>
                    <a:pt x="207" y="256"/>
                  </a:lnTo>
                  <a:lnTo>
                    <a:pt x="172" y="240"/>
                  </a:lnTo>
                  <a:lnTo>
                    <a:pt x="155" y="256"/>
                  </a:lnTo>
                  <a:lnTo>
                    <a:pt x="120" y="240"/>
                  </a:lnTo>
                  <a:lnTo>
                    <a:pt x="120" y="225"/>
                  </a:lnTo>
                  <a:lnTo>
                    <a:pt x="103" y="208"/>
                  </a:lnTo>
                  <a:lnTo>
                    <a:pt x="51" y="177"/>
                  </a:lnTo>
                  <a:lnTo>
                    <a:pt x="0" y="160"/>
                  </a:lnTo>
                  <a:lnTo>
                    <a:pt x="0" y="129"/>
                  </a:lnTo>
                  <a:lnTo>
                    <a:pt x="51" y="96"/>
                  </a:lnTo>
                  <a:lnTo>
                    <a:pt x="69" y="33"/>
                  </a:lnTo>
                  <a:lnTo>
                    <a:pt x="103" y="16"/>
                  </a:lnTo>
                  <a:lnTo>
                    <a:pt x="103" y="0"/>
                  </a:lnTo>
                  <a:lnTo>
                    <a:pt x="155" y="16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24" name="Freeform 219">
              <a:extLst>
                <a:ext uri="{FF2B5EF4-FFF2-40B4-BE49-F238E27FC236}">
                  <a16:creationId xmlns:a16="http://schemas.microsoft.com/office/drawing/2014/main" id="{96FA7E88-3645-05B4-DFEE-6BBCB38C4326}"/>
                </a:ext>
              </a:extLst>
            </p:cNvPr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6118103" y="4048469"/>
              <a:ext cx="28358" cy="38326"/>
            </a:xfrm>
            <a:custGeom>
              <a:avLst/>
              <a:gdLst>
                <a:gd name="T0" fmla="*/ 4189 w 36"/>
                <a:gd name="T1" fmla="*/ 9525 h 48"/>
                <a:gd name="T2" fmla="*/ 4189 w 36"/>
                <a:gd name="T3" fmla="*/ 9525 h 48"/>
                <a:gd name="T4" fmla="*/ 0 w 36"/>
                <a:gd name="T5" fmla="*/ 9525 h 48"/>
                <a:gd name="T6" fmla="*/ 4189 w 36"/>
                <a:gd name="T7" fmla="*/ 0 h 48"/>
                <a:gd name="T8" fmla="*/ 8379 w 36"/>
                <a:gd name="T9" fmla="*/ 3175 h 48"/>
                <a:gd name="T10" fmla="*/ 4189 w 36"/>
                <a:gd name="T11" fmla="*/ 9525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6"/>
                <a:gd name="T19" fmla="*/ 0 h 48"/>
                <a:gd name="T20" fmla="*/ 36 w 36"/>
                <a:gd name="T21" fmla="*/ 48 h 4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6" h="48">
                  <a:moveTo>
                    <a:pt x="17" y="48"/>
                  </a:moveTo>
                  <a:lnTo>
                    <a:pt x="17" y="48"/>
                  </a:lnTo>
                  <a:lnTo>
                    <a:pt x="0" y="48"/>
                  </a:lnTo>
                  <a:lnTo>
                    <a:pt x="17" y="0"/>
                  </a:lnTo>
                  <a:lnTo>
                    <a:pt x="36" y="16"/>
                  </a:lnTo>
                  <a:lnTo>
                    <a:pt x="17" y="48"/>
                  </a:lnTo>
                </a:path>
              </a:pathLst>
            </a:custGeom>
            <a:solidFill>
              <a:srgbClr val="FFC000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25" name="Freeform 220">
              <a:extLst>
                <a:ext uri="{FF2B5EF4-FFF2-40B4-BE49-F238E27FC236}">
                  <a16:creationId xmlns:a16="http://schemas.microsoft.com/office/drawing/2014/main" id="{7A7895B8-E184-9347-6044-5147E1EA1E25}"/>
                </a:ext>
              </a:extLst>
            </p:cNvPr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6352844" y="4163449"/>
              <a:ext cx="39386" cy="26662"/>
            </a:xfrm>
            <a:custGeom>
              <a:avLst/>
              <a:gdLst>
                <a:gd name="T0" fmla="*/ 0 w 52"/>
                <a:gd name="T1" fmla="*/ 3079 h 33"/>
                <a:gd name="T2" fmla="*/ 0 w 52"/>
                <a:gd name="T3" fmla="*/ 3079 h 33"/>
                <a:gd name="T4" fmla="*/ 3969 w 52"/>
                <a:gd name="T5" fmla="*/ 0 h 33"/>
                <a:gd name="T6" fmla="*/ 10319 w 52"/>
                <a:gd name="T7" fmla="*/ 0 h 33"/>
                <a:gd name="T8" fmla="*/ 7144 w 52"/>
                <a:gd name="T9" fmla="*/ 3079 h 33"/>
                <a:gd name="T10" fmla="*/ 10319 w 52"/>
                <a:gd name="T11" fmla="*/ 6158 h 33"/>
                <a:gd name="T12" fmla="*/ 0 w 52"/>
                <a:gd name="T13" fmla="*/ 3079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"/>
                <a:gd name="T22" fmla="*/ 0 h 33"/>
                <a:gd name="T23" fmla="*/ 52 w 52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" h="33">
                  <a:moveTo>
                    <a:pt x="0" y="16"/>
                  </a:moveTo>
                  <a:lnTo>
                    <a:pt x="0" y="16"/>
                  </a:lnTo>
                  <a:lnTo>
                    <a:pt x="17" y="0"/>
                  </a:lnTo>
                  <a:lnTo>
                    <a:pt x="52" y="0"/>
                  </a:lnTo>
                  <a:lnTo>
                    <a:pt x="34" y="16"/>
                  </a:lnTo>
                  <a:lnTo>
                    <a:pt x="52" y="33"/>
                  </a:lnTo>
                  <a:lnTo>
                    <a:pt x="0" y="16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26" name="Freeform 221">
              <a:extLst>
                <a:ext uri="{FF2B5EF4-FFF2-40B4-BE49-F238E27FC236}">
                  <a16:creationId xmlns:a16="http://schemas.microsoft.com/office/drawing/2014/main" id="{7111C130-1A1C-758F-C904-A28BCF664AEE}"/>
                </a:ext>
              </a:extLst>
            </p:cNvPr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5872333" y="3410240"/>
              <a:ext cx="196931" cy="168306"/>
            </a:xfrm>
            <a:custGeom>
              <a:avLst/>
              <a:gdLst>
                <a:gd name="T0" fmla="*/ 48606 w 259"/>
                <a:gd name="T1" fmla="*/ 35890 h 209"/>
                <a:gd name="T2" fmla="*/ 48606 w 259"/>
                <a:gd name="T3" fmla="*/ 35890 h 209"/>
                <a:gd name="T4" fmla="*/ 44622 w 259"/>
                <a:gd name="T5" fmla="*/ 28712 h 209"/>
                <a:gd name="T6" fmla="*/ 44622 w 259"/>
                <a:gd name="T7" fmla="*/ 26319 h 209"/>
                <a:gd name="T8" fmla="*/ 48606 w 259"/>
                <a:gd name="T9" fmla="*/ 28712 h 209"/>
                <a:gd name="T10" fmla="*/ 51793 w 259"/>
                <a:gd name="T11" fmla="*/ 23129 h 209"/>
                <a:gd name="T12" fmla="*/ 48606 w 259"/>
                <a:gd name="T13" fmla="*/ 23129 h 209"/>
                <a:gd name="T14" fmla="*/ 41434 w 259"/>
                <a:gd name="T15" fmla="*/ 13558 h 209"/>
                <a:gd name="T16" fmla="*/ 41434 w 259"/>
                <a:gd name="T17" fmla="*/ 7178 h 209"/>
                <a:gd name="T18" fmla="*/ 38247 w 259"/>
                <a:gd name="T19" fmla="*/ 3988 h 209"/>
                <a:gd name="T20" fmla="*/ 27889 w 259"/>
                <a:gd name="T21" fmla="*/ 0 h 209"/>
                <a:gd name="T22" fmla="*/ 20717 w 259"/>
                <a:gd name="T23" fmla="*/ 7178 h 209"/>
                <a:gd name="T24" fmla="*/ 20717 w 259"/>
                <a:gd name="T25" fmla="*/ 9571 h 209"/>
                <a:gd name="T26" fmla="*/ 14343 w 259"/>
                <a:gd name="T27" fmla="*/ 13558 h 209"/>
                <a:gd name="T28" fmla="*/ 14343 w 259"/>
                <a:gd name="T29" fmla="*/ 19141 h 209"/>
                <a:gd name="T30" fmla="*/ 10359 w 259"/>
                <a:gd name="T31" fmla="*/ 19141 h 209"/>
                <a:gd name="T32" fmla="*/ 3984 w 259"/>
                <a:gd name="T33" fmla="*/ 23129 h 209"/>
                <a:gd name="T34" fmla="*/ 0 w 259"/>
                <a:gd name="T35" fmla="*/ 23129 h 209"/>
                <a:gd name="T36" fmla="*/ 3984 w 259"/>
                <a:gd name="T37" fmla="*/ 28712 h 209"/>
                <a:gd name="T38" fmla="*/ 0 w 259"/>
                <a:gd name="T39" fmla="*/ 35890 h 209"/>
                <a:gd name="T40" fmla="*/ 0 w 259"/>
                <a:gd name="T41" fmla="*/ 42270 h 209"/>
                <a:gd name="T42" fmla="*/ 7171 w 259"/>
                <a:gd name="T43" fmla="*/ 38282 h 209"/>
                <a:gd name="T44" fmla="*/ 14343 w 259"/>
                <a:gd name="T45" fmla="*/ 38282 h 209"/>
                <a:gd name="T46" fmla="*/ 24701 w 259"/>
                <a:gd name="T47" fmla="*/ 42270 h 209"/>
                <a:gd name="T48" fmla="*/ 27889 w 259"/>
                <a:gd name="T49" fmla="*/ 42270 h 209"/>
                <a:gd name="T50" fmla="*/ 31076 w 259"/>
                <a:gd name="T51" fmla="*/ 42270 h 209"/>
                <a:gd name="T52" fmla="*/ 34263 w 259"/>
                <a:gd name="T53" fmla="*/ 42270 h 209"/>
                <a:gd name="T54" fmla="*/ 41434 w 259"/>
                <a:gd name="T55" fmla="*/ 42270 h 209"/>
                <a:gd name="T56" fmla="*/ 44622 w 259"/>
                <a:gd name="T57" fmla="*/ 35890 h 209"/>
                <a:gd name="T58" fmla="*/ 48606 w 259"/>
                <a:gd name="T59" fmla="*/ 35890 h 209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259"/>
                <a:gd name="T91" fmla="*/ 0 h 209"/>
                <a:gd name="T92" fmla="*/ 259 w 259"/>
                <a:gd name="T93" fmla="*/ 209 h 209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259" h="209">
                  <a:moveTo>
                    <a:pt x="241" y="177"/>
                  </a:moveTo>
                  <a:lnTo>
                    <a:pt x="241" y="177"/>
                  </a:lnTo>
                  <a:lnTo>
                    <a:pt x="224" y="144"/>
                  </a:lnTo>
                  <a:lnTo>
                    <a:pt x="224" y="129"/>
                  </a:lnTo>
                  <a:lnTo>
                    <a:pt x="241" y="144"/>
                  </a:lnTo>
                  <a:lnTo>
                    <a:pt x="259" y="113"/>
                  </a:lnTo>
                  <a:lnTo>
                    <a:pt x="241" y="113"/>
                  </a:lnTo>
                  <a:lnTo>
                    <a:pt x="207" y="66"/>
                  </a:lnTo>
                  <a:lnTo>
                    <a:pt x="207" y="33"/>
                  </a:lnTo>
                  <a:lnTo>
                    <a:pt x="190" y="18"/>
                  </a:lnTo>
                  <a:lnTo>
                    <a:pt x="138" y="0"/>
                  </a:lnTo>
                  <a:lnTo>
                    <a:pt x="103" y="33"/>
                  </a:lnTo>
                  <a:lnTo>
                    <a:pt x="103" y="48"/>
                  </a:lnTo>
                  <a:lnTo>
                    <a:pt x="69" y="66"/>
                  </a:lnTo>
                  <a:lnTo>
                    <a:pt x="69" y="96"/>
                  </a:lnTo>
                  <a:lnTo>
                    <a:pt x="51" y="96"/>
                  </a:lnTo>
                  <a:lnTo>
                    <a:pt x="17" y="113"/>
                  </a:lnTo>
                  <a:lnTo>
                    <a:pt x="0" y="113"/>
                  </a:lnTo>
                  <a:lnTo>
                    <a:pt x="17" y="144"/>
                  </a:lnTo>
                  <a:lnTo>
                    <a:pt x="0" y="177"/>
                  </a:lnTo>
                  <a:lnTo>
                    <a:pt x="0" y="209"/>
                  </a:lnTo>
                  <a:lnTo>
                    <a:pt x="34" y="192"/>
                  </a:lnTo>
                  <a:lnTo>
                    <a:pt x="69" y="192"/>
                  </a:lnTo>
                  <a:lnTo>
                    <a:pt x="121" y="209"/>
                  </a:lnTo>
                  <a:lnTo>
                    <a:pt x="138" y="209"/>
                  </a:lnTo>
                  <a:lnTo>
                    <a:pt x="155" y="209"/>
                  </a:lnTo>
                  <a:lnTo>
                    <a:pt x="172" y="209"/>
                  </a:lnTo>
                  <a:lnTo>
                    <a:pt x="207" y="209"/>
                  </a:lnTo>
                  <a:lnTo>
                    <a:pt x="224" y="177"/>
                  </a:lnTo>
                  <a:lnTo>
                    <a:pt x="241" y="177"/>
                  </a:lnTo>
                  <a:close/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27" name="Freeform 222">
              <a:extLst>
                <a:ext uri="{FF2B5EF4-FFF2-40B4-BE49-F238E27FC236}">
                  <a16:creationId xmlns:a16="http://schemas.microsoft.com/office/drawing/2014/main" id="{66516153-9AD6-DD92-D944-9551B1F91C67}"/>
                </a:ext>
              </a:extLst>
            </p:cNvPr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5843975" y="3550217"/>
              <a:ext cx="381258" cy="243293"/>
            </a:xfrm>
            <a:custGeom>
              <a:avLst/>
              <a:gdLst>
                <a:gd name="T0" fmla="*/ 42152 w 503"/>
                <a:gd name="T1" fmla="*/ 54153 h 303"/>
                <a:gd name="T2" fmla="*/ 42152 w 503"/>
                <a:gd name="T3" fmla="*/ 54153 h 303"/>
                <a:gd name="T4" fmla="*/ 34994 w 503"/>
                <a:gd name="T5" fmla="*/ 54153 h 303"/>
                <a:gd name="T6" fmla="*/ 34994 w 503"/>
                <a:gd name="T7" fmla="*/ 50968 h 303"/>
                <a:gd name="T8" fmla="*/ 38176 w 503"/>
                <a:gd name="T9" fmla="*/ 44597 h 303"/>
                <a:gd name="T10" fmla="*/ 45334 w 503"/>
                <a:gd name="T11" fmla="*/ 44597 h 303"/>
                <a:gd name="T12" fmla="*/ 45334 w 503"/>
                <a:gd name="T13" fmla="*/ 41411 h 303"/>
                <a:gd name="T14" fmla="*/ 42152 w 503"/>
                <a:gd name="T15" fmla="*/ 35040 h 303"/>
                <a:gd name="T16" fmla="*/ 42152 w 503"/>
                <a:gd name="T17" fmla="*/ 31855 h 303"/>
                <a:gd name="T18" fmla="*/ 31018 w 503"/>
                <a:gd name="T19" fmla="*/ 28669 h 303"/>
                <a:gd name="T20" fmla="*/ 24655 w 503"/>
                <a:gd name="T21" fmla="*/ 31855 h 303"/>
                <a:gd name="T22" fmla="*/ 17497 w 503"/>
                <a:gd name="T23" fmla="*/ 35040 h 303"/>
                <a:gd name="T24" fmla="*/ 14316 w 503"/>
                <a:gd name="T25" fmla="*/ 35040 h 303"/>
                <a:gd name="T26" fmla="*/ 3977 w 503"/>
                <a:gd name="T27" fmla="*/ 35040 h 303"/>
                <a:gd name="T28" fmla="*/ 0 w 503"/>
                <a:gd name="T29" fmla="*/ 31855 h 303"/>
                <a:gd name="T30" fmla="*/ 3977 w 503"/>
                <a:gd name="T31" fmla="*/ 25484 h 303"/>
                <a:gd name="T32" fmla="*/ 7158 w 503"/>
                <a:gd name="T33" fmla="*/ 19113 h 303"/>
                <a:gd name="T34" fmla="*/ 10339 w 503"/>
                <a:gd name="T35" fmla="*/ 15927 h 303"/>
                <a:gd name="T36" fmla="*/ 7158 w 503"/>
                <a:gd name="T37" fmla="*/ 6371 h 303"/>
                <a:gd name="T38" fmla="*/ 14316 w 503"/>
                <a:gd name="T39" fmla="*/ 3185 h 303"/>
                <a:gd name="T40" fmla="*/ 20679 w 503"/>
                <a:gd name="T41" fmla="*/ 3185 h 303"/>
                <a:gd name="T42" fmla="*/ 31018 w 503"/>
                <a:gd name="T43" fmla="*/ 6371 h 303"/>
                <a:gd name="T44" fmla="*/ 34994 w 503"/>
                <a:gd name="T45" fmla="*/ 6371 h 303"/>
                <a:gd name="T46" fmla="*/ 38176 w 503"/>
                <a:gd name="T47" fmla="*/ 6371 h 303"/>
                <a:gd name="T48" fmla="*/ 42152 w 503"/>
                <a:gd name="T49" fmla="*/ 6371 h 303"/>
                <a:gd name="T50" fmla="*/ 48515 w 503"/>
                <a:gd name="T51" fmla="*/ 6371 h 303"/>
                <a:gd name="T52" fmla="*/ 52492 w 503"/>
                <a:gd name="T53" fmla="*/ 0 h 303"/>
                <a:gd name="T54" fmla="*/ 55673 w 503"/>
                <a:gd name="T55" fmla="*/ 0 h 303"/>
                <a:gd name="T56" fmla="*/ 66012 w 503"/>
                <a:gd name="T57" fmla="*/ 0 h 303"/>
                <a:gd name="T58" fmla="*/ 69194 w 503"/>
                <a:gd name="T59" fmla="*/ 3185 h 303"/>
                <a:gd name="T60" fmla="*/ 66012 w 503"/>
                <a:gd name="T61" fmla="*/ 3185 h 303"/>
                <a:gd name="T62" fmla="*/ 69194 w 503"/>
                <a:gd name="T63" fmla="*/ 6371 h 303"/>
                <a:gd name="T64" fmla="*/ 73170 w 503"/>
                <a:gd name="T65" fmla="*/ 6371 h 303"/>
                <a:gd name="T66" fmla="*/ 76351 w 503"/>
                <a:gd name="T67" fmla="*/ 12742 h 303"/>
                <a:gd name="T68" fmla="*/ 79533 w 503"/>
                <a:gd name="T69" fmla="*/ 15927 h 303"/>
                <a:gd name="T70" fmla="*/ 83509 w 503"/>
                <a:gd name="T71" fmla="*/ 12742 h 303"/>
                <a:gd name="T72" fmla="*/ 100211 w 503"/>
                <a:gd name="T73" fmla="*/ 22298 h 303"/>
                <a:gd name="T74" fmla="*/ 97030 w 503"/>
                <a:gd name="T75" fmla="*/ 35040 h 303"/>
                <a:gd name="T76" fmla="*/ 93053 w 503"/>
                <a:gd name="T77" fmla="*/ 31855 h 303"/>
                <a:gd name="T78" fmla="*/ 89872 w 503"/>
                <a:gd name="T79" fmla="*/ 35040 h 303"/>
                <a:gd name="T80" fmla="*/ 89872 w 503"/>
                <a:gd name="T81" fmla="*/ 41411 h 303"/>
                <a:gd name="T82" fmla="*/ 86691 w 503"/>
                <a:gd name="T83" fmla="*/ 41411 h 303"/>
                <a:gd name="T84" fmla="*/ 69194 w 503"/>
                <a:gd name="T85" fmla="*/ 50968 h 303"/>
                <a:gd name="T86" fmla="*/ 76351 w 503"/>
                <a:gd name="T87" fmla="*/ 54153 h 303"/>
                <a:gd name="T88" fmla="*/ 79533 w 503"/>
                <a:gd name="T89" fmla="*/ 54153 h 303"/>
                <a:gd name="T90" fmla="*/ 76351 w 503"/>
                <a:gd name="T91" fmla="*/ 54153 h 303"/>
                <a:gd name="T92" fmla="*/ 66012 w 503"/>
                <a:gd name="T93" fmla="*/ 60524 h 303"/>
                <a:gd name="T94" fmla="*/ 62831 w 503"/>
                <a:gd name="T95" fmla="*/ 60524 h 303"/>
                <a:gd name="T96" fmla="*/ 62831 w 503"/>
                <a:gd name="T97" fmla="*/ 57339 h 303"/>
                <a:gd name="T98" fmla="*/ 58854 w 503"/>
                <a:gd name="T99" fmla="*/ 54153 h 303"/>
                <a:gd name="T100" fmla="*/ 66012 w 503"/>
                <a:gd name="T101" fmla="*/ 50968 h 303"/>
                <a:gd name="T102" fmla="*/ 55673 w 503"/>
                <a:gd name="T103" fmla="*/ 47782 h 303"/>
                <a:gd name="T104" fmla="*/ 55673 w 503"/>
                <a:gd name="T105" fmla="*/ 44597 h 303"/>
                <a:gd name="T106" fmla="*/ 48515 w 503"/>
                <a:gd name="T107" fmla="*/ 44597 h 303"/>
                <a:gd name="T108" fmla="*/ 45334 w 503"/>
                <a:gd name="T109" fmla="*/ 50968 h 303"/>
                <a:gd name="T110" fmla="*/ 42152 w 503"/>
                <a:gd name="T111" fmla="*/ 50968 h 303"/>
                <a:gd name="T112" fmla="*/ 42152 w 503"/>
                <a:gd name="T113" fmla="*/ 54153 h 30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503"/>
                <a:gd name="T172" fmla="*/ 0 h 303"/>
                <a:gd name="T173" fmla="*/ 503 w 503"/>
                <a:gd name="T174" fmla="*/ 303 h 30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503" h="303">
                  <a:moveTo>
                    <a:pt x="209" y="272"/>
                  </a:moveTo>
                  <a:lnTo>
                    <a:pt x="209" y="272"/>
                  </a:lnTo>
                  <a:lnTo>
                    <a:pt x="173" y="272"/>
                  </a:lnTo>
                  <a:lnTo>
                    <a:pt x="173" y="255"/>
                  </a:lnTo>
                  <a:lnTo>
                    <a:pt x="192" y="224"/>
                  </a:lnTo>
                  <a:lnTo>
                    <a:pt x="227" y="224"/>
                  </a:lnTo>
                  <a:lnTo>
                    <a:pt x="227" y="207"/>
                  </a:lnTo>
                  <a:lnTo>
                    <a:pt x="209" y="176"/>
                  </a:lnTo>
                  <a:lnTo>
                    <a:pt x="209" y="159"/>
                  </a:lnTo>
                  <a:lnTo>
                    <a:pt x="156" y="144"/>
                  </a:lnTo>
                  <a:lnTo>
                    <a:pt x="121" y="159"/>
                  </a:lnTo>
                  <a:lnTo>
                    <a:pt x="86" y="176"/>
                  </a:lnTo>
                  <a:lnTo>
                    <a:pt x="69" y="176"/>
                  </a:lnTo>
                  <a:lnTo>
                    <a:pt x="17" y="176"/>
                  </a:lnTo>
                  <a:lnTo>
                    <a:pt x="0" y="159"/>
                  </a:lnTo>
                  <a:lnTo>
                    <a:pt x="17" y="128"/>
                  </a:lnTo>
                  <a:lnTo>
                    <a:pt x="35" y="96"/>
                  </a:lnTo>
                  <a:lnTo>
                    <a:pt x="52" y="80"/>
                  </a:lnTo>
                  <a:lnTo>
                    <a:pt x="35" y="32"/>
                  </a:lnTo>
                  <a:lnTo>
                    <a:pt x="69" y="15"/>
                  </a:lnTo>
                  <a:lnTo>
                    <a:pt x="104" y="15"/>
                  </a:lnTo>
                  <a:lnTo>
                    <a:pt x="156" y="32"/>
                  </a:lnTo>
                  <a:lnTo>
                    <a:pt x="173" y="32"/>
                  </a:lnTo>
                  <a:lnTo>
                    <a:pt x="192" y="32"/>
                  </a:lnTo>
                  <a:lnTo>
                    <a:pt x="209" y="32"/>
                  </a:lnTo>
                  <a:lnTo>
                    <a:pt x="244" y="32"/>
                  </a:lnTo>
                  <a:lnTo>
                    <a:pt x="261" y="0"/>
                  </a:lnTo>
                  <a:lnTo>
                    <a:pt x="278" y="0"/>
                  </a:lnTo>
                  <a:lnTo>
                    <a:pt x="330" y="0"/>
                  </a:lnTo>
                  <a:lnTo>
                    <a:pt x="348" y="15"/>
                  </a:lnTo>
                  <a:lnTo>
                    <a:pt x="330" y="15"/>
                  </a:lnTo>
                  <a:lnTo>
                    <a:pt x="348" y="32"/>
                  </a:lnTo>
                  <a:lnTo>
                    <a:pt x="365" y="32"/>
                  </a:lnTo>
                  <a:lnTo>
                    <a:pt x="382" y="63"/>
                  </a:lnTo>
                  <a:lnTo>
                    <a:pt x="399" y="80"/>
                  </a:lnTo>
                  <a:lnTo>
                    <a:pt x="417" y="63"/>
                  </a:lnTo>
                  <a:lnTo>
                    <a:pt x="503" y="111"/>
                  </a:lnTo>
                  <a:lnTo>
                    <a:pt x="486" y="176"/>
                  </a:lnTo>
                  <a:lnTo>
                    <a:pt x="468" y="159"/>
                  </a:lnTo>
                  <a:lnTo>
                    <a:pt x="451" y="176"/>
                  </a:lnTo>
                  <a:lnTo>
                    <a:pt x="451" y="207"/>
                  </a:lnTo>
                  <a:lnTo>
                    <a:pt x="434" y="207"/>
                  </a:lnTo>
                  <a:lnTo>
                    <a:pt x="348" y="255"/>
                  </a:lnTo>
                  <a:lnTo>
                    <a:pt x="382" y="272"/>
                  </a:lnTo>
                  <a:lnTo>
                    <a:pt x="399" y="272"/>
                  </a:lnTo>
                  <a:lnTo>
                    <a:pt x="382" y="272"/>
                  </a:lnTo>
                  <a:lnTo>
                    <a:pt x="330" y="303"/>
                  </a:lnTo>
                  <a:lnTo>
                    <a:pt x="313" y="303"/>
                  </a:lnTo>
                  <a:lnTo>
                    <a:pt x="313" y="288"/>
                  </a:lnTo>
                  <a:lnTo>
                    <a:pt x="296" y="272"/>
                  </a:lnTo>
                  <a:lnTo>
                    <a:pt x="330" y="255"/>
                  </a:lnTo>
                  <a:lnTo>
                    <a:pt x="278" y="240"/>
                  </a:lnTo>
                  <a:lnTo>
                    <a:pt x="278" y="224"/>
                  </a:lnTo>
                  <a:lnTo>
                    <a:pt x="244" y="224"/>
                  </a:lnTo>
                  <a:lnTo>
                    <a:pt x="227" y="255"/>
                  </a:lnTo>
                  <a:lnTo>
                    <a:pt x="209" y="255"/>
                  </a:lnTo>
                  <a:lnTo>
                    <a:pt x="209" y="272"/>
                  </a:lnTo>
                  <a:close/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28" name="Freeform 223">
              <a:extLst>
                <a:ext uri="{FF2B5EF4-FFF2-40B4-BE49-F238E27FC236}">
                  <a16:creationId xmlns:a16="http://schemas.microsoft.com/office/drawing/2014/main" id="{39AA0216-EF57-C9C3-A520-83BE96930007}"/>
                </a:ext>
              </a:extLst>
            </p:cNvPr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5834522" y="3346917"/>
              <a:ext cx="144941" cy="88319"/>
            </a:xfrm>
            <a:custGeom>
              <a:avLst/>
              <a:gdLst>
                <a:gd name="T0" fmla="*/ 17463 w 190"/>
                <a:gd name="T1" fmla="*/ 0 h 111"/>
                <a:gd name="T2" fmla="*/ 17463 w 190"/>
                <a:gd name="T3" fmla="*/ 0 h 111"/>
                <a:gd name="T4" fmla="*/ 17463 w 190"/>
                <a:gd name="T5" fmla="*/ 9439 h 111"/>
                <a:gd name="T6" fmla="*/ 14288 w 190"/>
                <a:gd name="T7" fmla="*/ 9439 h 111"/>
                <a:gd name="T8" fmla="*/ 10319 w 190"/>
                <a:gd name="T9" fmla="*/ 9439 h 111"/>
                <a:gd name="T10" fmla="*/ 7144 w 190"/>
                <a:gd name="T11" fmla="*/ 2360 h 111"/>
                <a:gd name="T12" fmla="*/ 3969 w 190"/>
                <a:gd name="T13" fmla="*/ 5506 h 111"/>
                <a:gd name="T14" fmla="*/ 0 w 190"/>
                <a:gd name="T15" fmla="*/ 11799 h 111"/>
                <a:gd name="T16" fmla="*/ 0 w 190"/>
                <a:gd name="T17" fmla="*/ 18878 h 111"/>
                <a:gd name="T18" fmla="*/ 3969 w 190"/>
                <a:gd name="T19" fmla="*/ 14945 h 111"/>
                <a:gd name="T20" fmla="*/ 17463 w 190"/>
                <a:gd name="T21" fmla="*/ 14945 h 111"/>
                <a:gd name="T22" fmla="*/ 19844 w 190"/>
                <a:gd name="T23" fmla="*/ 14945 h 111"/>
                <a:gd name="T24" fmla="*/ 30956 w 190"/>
                <a:gd name="T25" fmla="*/ 21238 h 111"/>
                <a:gd name="T26" fmla="*/ 38100 w 190"/>
                <a:gd name="T27" fmla="*/ 14945 h 111"/>
                <a:gd name="T28" fmla="*/ 34925 w 190"/>
                <a:gd name="T29" fmla="*/ 9439 h 111"/>
                <a:gd name="T30" fmla="*/ 34925 w 190"/>
                <a:gd name="T31" fmla="*/ 5506 h 111"/>
                <a:gd name="T32" fmla="*/ 34925 w 190"/>
                <a:gd name="T33" fmla="*/ 2360 h 111"/>
                <a:gd name="T34" fmla="*/ 27781 w 190"/>
                <a:gd name="T35" fmla="*/ 2360 h 111"/>
                <a:gd name="T36" fmla="*/ 19844 w 190"/>
                <a:gd name="T37" fmla="*/ 0 h 111"/>
                <a:gd name="T38" fmla="*/ 17463 w 190"/>
                <a:gd name="T39" fmla="*/ 0 h 11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90"/>
                <a:gd name="T61" fmla="*/ 0 h 111"/>
                <a:gd name="T62" fmla="*/ 190 w 190"/>
                <a:gd name="T63" fmla="*/ 111 h 111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90" h="111">
                  <a:moveTo>
                    <a:pt x="86" y="0"/>
                  </a:moveTo>
                  <a:lnTo>
                    <a:pt x="86" y="0"/>
                  </a:lnTo>
                  <a:lnTo>
                    <a:pt x="86" y="48"/>
                  </a:lnTo>
                  <a:lnTo>
                    <a:pt x="69" y="48"/>
                  </a:lnTo>
                  <a:lnTo>
                    <a:pt x="52" y="48"/>
                  </a:lnTo>
                  <a:lnTo>
                    <a:pt x="34" y="15"/>
                  </a:lnTo>
                  <a:lnTo>
                    <a:pt x="17" y="30"/>
                  </a:lnTo>
                  <a:lnTo>
                    <a:pt x="0" y="63"/>
                  </a:lnTo>
                  <a:lnTo>
                    <a:pt x="0" y="96"/>
                  </a:lnTo>
                  <a:lnTo>
                    <a:pt x="17" y="78"/>
                  </a:lnTo>
                  <a:lnTo>
                    <a:pt x="86" y="78"/>
                  </a:lnTo>
                  <a:lnTo>
                    <a:pt x="103" y="78"/>
                  </a:lnTo>
                  <a:lnTo>
                    <a:pt x="155" y="111"/>
                  </a:lnTo>
                  <a:lnTo>
                    <a:pt x="190" y="78"/>
                  </a:lnTo>
                  <a:lnTo>
                    <a:pt x="173" y="48"/>
                  </a:lnTo>
                  <a:lnTo>
                    <a:pt x="173" y="30"/>
                  </a:lnTo>
                  <a:lnTo>
                    <a:pt x="173" y="15"/>
                  </a:lnTo>
                  <a:lnTo>
                    <a:pt x="138" y="15"/>
                  </a:lnTo>
                  <a:lnTo>
                    <a:pt x="103" y="0"/>
                  </a:lnTo>
                  <a:lnTo>
                    <a:pt x="86" y="0"/>
                  </a:lnTo>
                  <a:close/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29" name="Freeform 224">
              <a:extLst>
                <a:ext uri="{FF2B5EF4-FFF2-40B4-BE49-F238E27FC236}">
                  <a16:creationId xmlns:a16="http://schemas.microsoft.com/office/drawing/2014/main" id="{6C15985D-E7F3-9A4A-72B9-7AC576448FFD}"/>
                </a:ext>
              </a:extLst>
            </p:cNvPr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5832947" y="3410240"/>
              <a:ext cx="118158" cy="91652"/>
            </a:xfrm>
            <a:custGeom>
              <a:avLst/>
              <a:gdLst>
                <a:gd name="T0" fmla="*/ 0 w 155"/>
                <a:gd name="T1" fmla="*/ 9609 h 113"/>
                <a:gd name="T2" fmla="*/ 0 w 155"/>
                <a:gd name="T3" fmla="*/ 9609 h 113"/>
                <a:gd name="T4" fmla="*/ 0 w 155"/>
                <a:gd name="T5" fmla="*/ 7207 h 113"/>
                <a:gd name="T6" fmla="*/ 0 w 155"/>
                <a:gd name="T7" fmla="*/ 4004 h 113"/>
                <a:gd name="T8" fmla="*/ 3994 w 155"/>
                <a:gd name="T9" fmla="*/ 0 h 113"/>
                <a:gd name="T10" fmla="*/ 17575 w 155"/>
                <a:gd name="T11" fmla="*/ 0 h 113"/>
                <a:gd name="T12" fmla="*/ 20771 w 155"/>
                <a:gd name="T13" fmla="*/ 0 h 113"/>
                <a:gd name="T14" fmla="*/ 31156 w 155"/>
                <a:gd name="T15" fmla="*/ 7207 h 113"/>
                <a:gd name="T16" fmla="*/ 31156 w 155"/>
                <a:gd name="T17" fmla="*/ 9609 h 113"/>
                <a:gd name="T18" fmla="*/ 24765 w 155"/>
                <a:gd name="T19" fmla="*/ 13613 h 113"/>
                <a:gd name="T20" fmla="*/ 24765 w 155"/>
                <a:gd name="T21" fmla="*/ 19219 h 113"/>
                <a:gd name="T22" fmla="*/ 20771 w 155"/>
                <a:gd name="T23" fmla="*/ 19219 h 113"/>
                <a:gd name="T24" fmla="*/ 14380 w 155"/>
                <a:gd name="T25" fmla="*/ 23223 h 113"/>
                <a:gd name="T26" fmla="*/ 10385 w 155"/>
                <a:gd name="T27" fmla="*/ 23223 h 113"/>
                <a:gd name="T28" fmla="*/ 7190 w 155"/>
                <a:gd name="T29" fmla="*/ 19219 h 113"/>
                <a:gd name="T30" fmla="*/ 7190 w 155"/>
                <a:gd name="T31" fmla="*/ 9609 h 113"/>
                <a:gd name="T32" fmla="*/ 0 w 155"/>
                <a:gd name="T33" fmla="*/ 9609 h 11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55"/>
                <a:gd name="T52" fmla="*/ 0 h 113"/>
                <a:gd name="T53" fmla="*/ 155 w 155"/>
                <a:gd name="T54" fmla="*/ 113 h 113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55" h="113">
                  <a:moveTo>
                    <a:pt x="0" y="48"/>
                  </a:moveTo>
                  <a:lnTo>
                    <a:pt x="0" y="48"/>
                  </a:lnTo>
                  <a:lnTo>
                    <a:pt x="0" y="33"/>
                  </a:lnTo>
                  <a:lnTo>
                    <a:pt x="0" y="18"/>
                  </a:lnTo>
                  <a:lnTo>
                    <a:pt x="17" y="0"/>
                  </a:lnTo>
                  <a:lnTo>
                    <a:pt x="86" y="0"/>
                  </a:lnTo>
                  <a:lnTo>
                    <a:pt x="103" y="0"/>
                  </a:lnTo>
                  <a:lnTo>
                    <a:pt x="155" y="33"/>
                  </a:lnTo>
                  <a:lnTo>
                    <a:pt x="155" y="48"/>
                  </a:lnTo>
                  <a:lnTo>
                    <a:pt x="121" y="66"/>
                  </a:lnTo>
                  <a:lnTo>
                    <a:pt x="121" y="96"/>
                  </a:lnTo>
                  <a:lnTo>
                    <a:pt x="103" y="96"/>
                  </a:lnTo>
                  <a:lnTo>
                    <a:pt x="69" y="113"/>
                  </a:lnTo>
                  <a:lnTo>
                    <a:pt x="52" y="113"/>
                  </a:lnTo>
                  <a:lnTo>
                    <a:pt x="34" y="96"/>
                  </a:lnTo>
                  <a:lnTo>
                    <a:pt x="34" y="48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30" name="Freeform 225">
              <a:extLst>
                <a:ext uri="{FF2B5EF4-FFF2-40B4-BE49-F238E27FC236}">
                  <a16:creationId xmlns:a16="http://schemas.microsoft.com/office/drawing/2014/main" id="{96CA7E50-791E-1991-4539-0D045905EFC5}"/>
                </a:ext>
              </a:extLst>
            </p:cNvPr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5888088" y="3295259"/>
              <a:ext cx="91376" cy="63323"/>
            </a:xfrm>
            <a:custGeom>
              <a:avLst/>
              <a:gdLst>
                <a:gd name="T0" fmla="*/ 3149 w 121"/>
                <a:gd name="T1" fmla="*/ 12543 h 81"/>
                <a:gd name="T2" fmla="*/ 3149 w 121"/>
                <a:gd name="T3" fmla="*/ 12543 h 81"/>
                <a:gd name="T4" fmla="*/ 0 w 121"/>
                <a:gd name="T5" fmla="*/ 9407 h 81"/>
                <a:gd name="T6" fmla="*/ 0 w 121"/>
                <a:gd name="T7" fmla="*/ 3136 h 81"/>
                <a:gd name="T8" fmla="*/ 3149 w 121"/>
                <a:gd name="T9" fmla="*/ 0 h 81"/>
                <a:gd name="T10" fmla="*/ 10233 w 121"/>
                <a:gd name="T11" fmla="*/ 0 h 81"/>
                <a:gd name="T12" fmla="*/ 23616 w 121"/>
                <a:gd name="T13" fmla="*/ 0 h 81"/>
                <a:gd name="T14" fmla="*/ 20467 w 121"/>
                <a:gd name="T15" fmla="*/ 3136 h 81"/>
                <a:gd name="T16" fmla="*/ 16531 w 121"/>
                <a:gd name="T17" fmla="*/ 3136 h 81"/>
                <a:gd name="T18" fmla="*/ 20467 w 121"/>
                <a:gd name="T19" fmla="*/ 12543 h 81"/>
                <a:gd name="T20" fmla="*/ 20467 w 121"/>
                <a:gd name="T21" fmla="*/ 15679 h 81"/>
                <a:gd name="T22" fmla="*/ 13382 w 121"/>
                <a:gd name="T23" fmla="*/ 15679 h 81"/>
                <a:gd name="T24" fmla="*/ 6298 w 121"/>
                <a:gd name="T25" fmla="*/ 12543 h 81"/>
                <a:gd name="T26" fmla="*/ 3149 w 121"/>
                <a:gd name="T27" fmla="*/ 12543 h 8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21"/>
                <a:gd name="T43" fmla="*/ 0 h 81"/>
                <a:gd name="T44" fmla="*/ 121 w 121"/>
                <a:gd name="T45" fmla="*/ 81 h 8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21" h="81">
                  <a:moveTo>
                    <a:pt x="17" y="66"/>
                  </a:moveTo>
                  <a:lnTo>
                    <a:pt x="17" y="66"/>
                  </a:lnTo>
                  <a:lnTo>
                    <a:pt x="0" y="48"/>
                  </a:lnTo>
                  <a:lnTo>
                    <a:pt x="0" y="18"/>
                  </a:lnTo>
                  <a:lnTo>
                    <a:pt x="17" y="0"/>
                  </a:lnTo>
                  <a:lnTo>
                    <a:pt x="52" y="0"/>
                  </a:lnTo>
                  <a:lnTo>
                    <a:pt x="121" y="0"/>
                  </a:lnTo>
                  <a:lnTo>
                    <a:pt x="104" y="18"/>
                  </a:lnTo>
                  <a:lnTo>
                    <a:pt x="86" y="18"/>
                  </a:lnTo>
                  <a:lnTo>
                    <a:pt x="104" y="66"/>
                  </a:lnTo>
                  <a:lnTo>
                    <a:pt x="104" y="81"/>
                  </a:lnTo>
                  <a:lnTo>
                    <a:pt x="69" y="81"/>
                  </a:lnTo>
                  <a:lnTo>
                    <a:pt x="34" y="66"/>
                  </a:lnTo>
                  <a:lnTo>
                    <a:pt x="17" y="66"/>
                  </a:lnTo>
                  <a:close/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31" name="Freeform 226">
              <a:extLst>
                <a:ext uri="{FF2B5EF4-FFF2-40B4-BE49-F238E27FC236}">
                  <a16:creationId xmlns:a16="http://schemas.microsoft.com/office/drawing/2014/main" id="{89718B26-657E-0150-D050-76D63795A699}"/>
                </a:ext>
              </a:extLst>
            </p:cNvPr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5935351" y="3665198"/>
              <a:ext cx="78772" cy="89985"/>
            </a:xfrm>
            <a:custGeom>
              <a:avLst/>
              <a:gdLst>
                <a:gd name="T0" fmla="*/ 0 w 104"/>
                <a:gd name="T1" fmla="*/ 3204 h 111"/>
                <a:gd name="T2" fmla="*/ 0 w 104"/>
                <a:gd name="T3" fmla="*/ 3204 h 111"/>
                <a:gd name="T4" fmla="*/ 3969 w 104"/>
                <a:gd name="T5" fmla="*/ 3204 h 111"/>
                <a:gd name="T6" fmla="*/ 10319 w 104"/>
                <a:gd name="T7" fmla="*/ 12814 h 111"/>
                <a:gd name="T8" fmla="*/ 10319 w 104"/>
                <a:gd name="T9" fmla="*/ 22425 h 111"/>
                <a:gd name="T10" fmla="*/ 14288 w 104"/>
                <a:gd name="T11" fmla="*/ 16018 h 111"/>
                <a:gd name="T12" fmla="*/ 20638 w 104"/>
                <a:gd name="T13" fmla="*/ 16018 h 111"/>
                <a:gd name="T14" fmla="*/ 20638 w 104"/>
                <a:gd name="T15" fmla="*/ 12814 h 111"/>
                <a:gd name="T16" fmla="*/ 17463 w 104"/>
                <a:gd name="T17" fmla="*/ 6407 h 111"/>
                <a:gd name="T18" fmla="*/ 17463 w 104"/>
                <a:gd name="T19" fmla="*/ 3204 h 111"/>
                <a:gd name="T20" fmla="*/ 7144 w 104"/>
                <a:gd name="T21" fmla="*/ 0 h 111"/>
                <a:gd name="T22" fmla="*/ 0 w 104"/>
                <a:gd name="T23" fmla="*/ 3204 h 11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04"/>
                <a:gd name="T37" fmla="*/ 0 h 111"/>
                <a:gd name="T38" fmla="*/ 104 w 104"/>
                <a:gd name="T39" fmla="*/ 111 h 11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04" h="111">
                  <a:moveTo>
                    <a:pt x="0" y="15"/>
                  </a:moveTo>
                  <a:lnTo>
                    <a:pt x="0" y="15"/>
                  </a:lnTo>
                  <a:lnTo>
                    <a:pt x="17" y="15"/>
                  </a:lnTo>
                  <a:lnTo>
                    <a:pt x="52" y="63"/>
                  </a:lnTo>
                  <a:lnTo>
                    <a:pt x="52" y="111"/>
                  </a:lnTo>
                  <a:lnTo>
                    <a:pt x="69" y="80"/>
                  </a:lnTo>
                  <a:lnTo>
                    <a:pt x="104" y="80"/>
                  </a:lnTo>
                  <a:lnTo>
                    <a:pt x="104" y="63"/>
                  </a:lnTo>
                  <a:lnTo>
                    <a:pt x="86" y="32"/>
                  </a:lnTo>
                  <a:lnTo>
                    <a:pt x="86" y="15"/>
                  </a:lnTo>
                  <a:lnTo>
                    <a:pt x="35" y="0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32" name="Freeform 227">
              <a:extLst>
                <a:ext uri="{FF2B5EF4-FFF2-40B4-BE49-F238E27FC236}">
                  <a16:creationId xmlns:a16="http://schemas.microsoft.com/office/drawing/2014/main" id="{3227B7EF-921E-0D3C-D2DD-A9280B357348}"/>
                </a:ext>
              </a:extLst>
            </p:cNvPr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5803014" y="3678529"/>
              <a:ext cx="198506" cy="139977"/>
            </a:xfrm>
            <a:custGeom>
              <a:avLst/>
              <a:gdLst>
                <a:gd name="T0" fmla="*/ 7171 w 261"/>
                <a:gd name="T1" fmla="*/ 25257 h 177"/>
                <a:gd name="T2" fmla="*/ 7171 w 261"/>
                <a:gd name="T3" fmla="*/ 25257 h 177"/>
                <a:gd name="T4" fmla="*/ 14342 w 261"/>
                <a:gd name="T5" fmla="*/ 25257 h 177"/>
                <a:gd name="T6" fmla="*/ 14342 w 261"/>
                <a:gd name="T7" fmla="*/ 28414 h 177"/>
                <a:gd name="T8" fmla="*/ 17529 w 261"/>
                <a:gd name="T9" fmla="*/ 31571 h 177"/>
                <a:gd name="T10" fmla="*/ 20717 w 261"/>
                <a:gd name="T11" fmla="*/ 31571 h 177"/>
                <a:gd name="T12" fmla="*/ 31075 w 261"/>
                <a:gd name="T13" fmla="*/ 34728 h 177"/>
                <a:gd name="T14" fmla="*/ 38246 w 261"/>
                <a:gd name="T15" fmla="*/ 28414 h 177"/>
                <a:gd name="T16" fmla="*/ 48604 w 261"/>
                <a:gd name="T17" fmla="*/ 31571 h 177"/>
                <a:gd name="T18" fmla="*/ 48604 w 261"/>
                <a:gd name="T19" fmla="*/ 28414 h 177"/>
                <a:gd name="T20" fmla="*/ 52588 w 261"/>
                <a:gd name="T21" fmla="*/ 25257 h 177"/>
                <a:gd name="T22" fmla="*/ 52588 w 261"/>
                <a:gd name="T23" fmla="*/ 22099 h 177"/>
                <a:gd name="T24" fmla="*/ 45417 w 261"/>
                <a:gd name="T25" fmla="*/ 22099 h 177"/>
                <a:gd name="T26" fmla="*/ 45417 w 261"/>
                <a:gd name="T27" fmla="*/ 18942 h 177"/>
                <a:gd name="T28" fmla="*/ 45417 w 261"/>
                <a:gd name="T29" fmla="*/ 9471 h 177"/>
                <a:gd name="T30" fmla="*/ 38246 w 261"/>
                <a:gd name="T31" fmla="*/ 0 h 177"/>
                <a:gd name="T32" fmla="*/ 35059 w 261"/>
                <a:gd name="T33" fmla="*/ 0 h 177"/>
                <a:gd name="T34" fmla="*/ 27888 w 261"/>
                <a:gd name="T35" fmla="*/ 3157 h 177"/>
                <a:gd name="T36" fmla="*/ 24701 w 261"/>
                <a:gd name="T37" fmla="*/ 3157 h 177"/>
                <a:gd name="T38" fmla="*/ 14342 w 261"/>
                <a:gd name="T39" fmla="*/ 3157 h 177"/>
                <a:gd name="T40" fmla="*/ 10358 w 261"/>
                <a:gd name="T41" fmla="*/ 3157 h 177"/>
                <a:gd name="T42" fmla="*/ 7171 w 261"/>
                <a:gd name="T43" fmla="*/ 15785 h 177"/>
                <a:gd name="T44" fmla="*/ 0 w 261"/>
                <a:gd name="T45" fmla="*/ 15785 h 177"/>
                <a:gd name="T46" fmla="*/ 7171 w 261"/>
                <a:gd name="T47" fmla="*/ 25257 h 177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61"/>
                <a:gd name="T73" fmla="*/ 0 h 177"/>
                <a:gd name="T74" fmla="*/ 261 w 261"/>
                <a:gd name="T75" fmla="*/ 177 h 177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61" h="177">
                  <a:moveTo>
                    <a:pt x="35" y="129"/>
                  </a:moveTo>
                  <a:lnTo>
                    <a:pt x="35" y="129"/>
                  </a:lnTo>
                  <a:lnTo>
                    <a:pt x="69" y="129"/>
                  </a:lnTo>
                  <a:lnTo>
                    <a:pt x="69" y="144"/>
                  </a:lnTo>
                  <a:lnTo>
                    <a:pt x="87" y="161"/>
                  </a:lnTo>
                  <a:lnTo>
                    <a:pt x="104" y="161"/>
                  </a:lnTo>
                  <a:lnTo>
                    <a:pt x="156" y="177"/>
                  </a:lnTo>
                  <a:lnTo>
                    <a:pt x="190" y="144"/>
                  </a:lnTo>
                  <a:lnTo>
                    <a:pt x="244" y="161"/>
                  </a:lnTo>
                  <a:lnTo>
                    <a:pt x="244" y="144"/>
                  </a:lnTo>
                  <a:lnTo>
                    <a:pt x="261" y="129"/>
                  </a:lnTo>
                  <a:lnTo>
                    <a:pt x="261" y="113"/>
                  </a:lnTo>
                  <a:lnTo>
                    <a:pt x="227" y="113"/>
                  </a:lnTo>
                  <a:lnTo>
                    <a:pt x="227" y="96"/>
                  </a:lnTo>
                  <a:lnTo>
                    <a:pt x="227" y="48"/>
                  </a:lnTo>
                  <a:lnTo>
                    <a:pt x="190" y="0"/>
                  </a:lnTo>
                  <a:lnTo>
                    <a:pt x="173" y="0"/>
                  </a:lnTo>
                  <a:lnTo>
                    <a:pt x="139" y="17"/>
                  </a:lnTo>
                  <a:lnTo>
                    <a:pt x="121" y="17"/>
                  </a:lnTo>
                  <a:lnTo>
                    <a:pt x="69" y="17"/>
                  </a:lnTo>
                  <a:lnTo>
                    <a:pt x="52" y="17"/>
                  </a:lnTo>
                  <a:lnTo>
                    <a:pt x="35" y="81"/>
                  </a:lnTo>
                  <a:lnTo>
                    <a:pt x="0" y="81"/>
                  </a:lnTo>
                  <a:lnTo>
                    <a:pt x="35" y="129"/>
                  </a:lnTo>
                  <a:close/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33" name="Freeform 228">
              <a:extLst>
                <a:ext uri="{FF2B5EF4-FFF2-40B4-BE49-F238E27FC236}">
                  <a16:creationId xmlns:a16="http://schemas.microsoft.com/office/drawing/2014/main" id="{23D68977-8EFC-8469-2C4C-B00EB85ACC63}"/>
                </a:ext>
              </a:extLst>
            </p:cNvPr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5803014" y="3870164"/>
              <a:ext cx="132337" cy="101650"/>
            </a:xfrm>
            <a:custGeom>
              <a:avLst/>
              <a:gdLst>
                <a:gd name="T0" fmla="*/ 6314 w 175"/>
                <a:gd name="T1" fmla="*/ 3175 h 128"/>
                <a:gd name="T2" fmla="*/ 6314 w 175"/>
                <a:gd name="T3" fmla="*/ 3175 h 128"/>
                <a:gd name="T4" fmla="*/ 17363 w 175"/>
                <a:gd name="T5" fmla="*/ 0 h 128"/>
                <a:gd name="T6" fmla="*/ 23677 w 175"/>
                <a:gd name="T7" fmla="*/ 0 h 128"/>
                <a:gd name="T8" fmla="*/ 30779 w 175"/>
                <a:gd name="T9" fmla="*/ 3175 h 128"/>
                <a:gd name="T10" fmla="*/ 33936 w 175"/>
                <a:gd name="T11" fmla="*/ 0 h 128"/>
                <a:gd name="T12" fmla="*/ 30779 w 175"/>
                <a:gd name="T13" fmla="*/ 6350 h 128"/>
                <a:gd name="T14" fmla="*/ 23677 w 175"/>
                <a:gd name="T15" fmla="*/ 3175 h 128"/>
                <a:gd name="T16" fmla="*/ 20520 w 175"/>
                <a:gd name="T17" fmla="*/ 6350 h 128"/>
                <a:gd name="T18" fmla="*/ 20520 w 175"/>
                <a:gd name="T19" fmla="*/ 9525 h 128"/>
                <a:gd name="T20" fmla="*/ 17363 w 175"/>
                <a:gd name="T21" fmla="*/ 9525 h 128"/>
                <a:gd name="T22" fmla="*/ 13417 w 175"/>
                <a:gd name="T23" fmla="*/ 6350 h 128"/>
                <a:gd name="T24" fmla="*/ 13417 w 175"/>
                <a:gd name="T25" fmla="*/ 9525 h 128"/>
                <a:gd name="T26" fmla="*/ 17363 w 175"/>
                <a:gd name="T27" fmla="*/ 15875 h 128"/>
                <a:gd name="T28" fmla="*/ 23677 w 175"/>
                <a:gd name="T29" fmla="*/ 22225 h 128"/>
                <a:gd name="T30" fmla="*/ 20520 w 175"/>
                <a:gd name="T31" fmla="*/ 22225 h 128"/>
                <a:gd name="T32" fmla="*/ 20520 w 175"/>
                <a:gd name="T33" fmla="*/ 25400 h 128"/>
                <a:gd name="T34" fmla="*/ 13417 w 175"/>
                <a:gd name="T35" fmla="*/ 22225 h 128"/>
                <a:gd name="T36" fmla="*/ 6314 w 175"/>
                <a:gd name="T37" fmla="*/ 22225 h 128"/>
                <a:gd name="T38" fmla="*/ 0 w 175"/>
                <a:gd name="T39" fmla="*/ 12700 h 128"/>
                <a:gd name="T40" fmla="*/ 6314 w 175"/>
                <a:gd name="T41" fmla="*/ 6350 h 128"/>
                <a:gd name="T42" fmla="*/ 6314 w 175"/>
                <a:gd name="T43" fmla="*/ 3175 h 128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75"/>
                <a:gd name="T67" fmla="*/ 0 h 128"/>
                <a:gd name="T68" fmla="*/ 175 w 175"/>
                <a:gd name="T69" fmla="*/ 128 h 128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75" h="128">
                  <a:moveTo>
                    <a:pt x="35" y="17"/>
                  </a:moveTo>
                  <a:lnTo>
                    <a:pt x="35" y="17"/>
                  </a:lnTo>
                  <a:lnTo>
                    <a:pt x="89" y="0"/>
                  </a:lnTo>
                  <a:lnTo>
                    <a:pt x="123" y="0"/>
                  </a:lnTo>
                  <a:lnTo>
                    <a:pt x="158" y="17"/>
                  </a:lnTo>
                  <a:lnTo>
                    <a:pt x="175" y="0"/>
                  </a:lnTo>
                  <a:lnTo>
                    <a:pt x="158" y="33"/>
                  </a:lnTo>
                  <a:lnTo>
                    <a:pt x="123" y="17"/>
                  </a:lnTo>
                  <a:lnTo>
                    <a:pt x="106" y="33"/>
                  </a:lnTo>
                  <a:lnTo>
                    <a:pt x="106" y="48"/>
                  </a:lnTo>
                  <a:lnTo>
                    <a:pt x="89" y="48"/>
                  </a:lnTo>
                  <a:lnTo>
                    <a:pt x="69" y="33"/>
                  </a:lnTo>
                  <a:lnTo>
                    <a:pt x="69" y="48"/>
                  </a:lnTo>
                  <a:lnTo>
                    <a:pt x="89" y="81"/>
                  </a:lnTo>
                  <a:lnTo>
                    <a:pt x="123" y="113"/>
                  </a:lnTo>
                  <a:lnTo>
                    <a:pt x="106" y="113"/>
                  </a:lnTo>
                  <a:lnTo>
                    <a:pt x="106" y="128"/>
                  </a:lnTo>
                  <a:lnTo>
                    <a:pt x="69" y="113"/>
                  </a:lnTo>
                  <a:lnTo>
                    <a:pt x="35" y="113"/>
                  </a:lnTo>
                  <a:lnTo>
                    <a:pt x="0" y="65"/>
                  </a:lnTo>
                  <a:lnTo>
                    <a:pt x="35" y="33"/>
                  </a:lnTo>
                  <a:lnTo>
                    <a:pt x="35" y="17"/>
                  </a:lnTo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34" name="Freeform 229">
              <a:extLst>
                <a:ext uri="{FF2B5EF4-FFF2-40B4-BE49-F238E27FC236}">
                  <a16:creationId xmlns:a16="http://schemas.microsoft.com/office/drawing/2014/main" id="{646505FA-B45D-17CA-2B3A-BE4FC2E193B7}"/>
                </a:ext>
              </a:extLst>
            </p:cNvPr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5858155" y="3793510"/>
              <a:ext cx="129187" cy="91652"/>
            </a:xfrm>
            <a:custGeom>
              <a:avLst/>
              <a:gdLst>
                <a:gd name="T0" fmla="*/ 33934 w 173"/>
                <a:gd name="T1" fmla="*/ 4004 h 113"/>
                <a:gd name="T2" fmla="*/ 33934 w 173"/>
                <a:gd name="T3" fmla="*/ 4004 h 113"/>
                <a:gd name="T4" fmla="*/ 33934 w 173"/>
                <a:gd name="T5" fmla="*/ 7207 h 113"/>
                <a:gd name="T6" fmla="*/ 30777 w 173"/>
                <a:gd name="T7" fmla="*/ 7207 h 113"/>
                <a:gd name="T8" fmla="*/ 26832 w 173"/>
                <a:gd name="T9" fmla="*/ 13613 h 113"/>
                <a:gd name="T10" fmla="*/ 30777 w 173"/>
                <a:gd name="T11" fmla="*/ 16816 h 113"/>
                <a:gd name="T12" fmla="*/ 23675 w 173"/>
                <a:gd name="T13" fmla="*/ 16816 h 113"/>
                <a:gd name="T14" fmla="*/ 20518 w 173"/>
                <a:gd name="T15" fmla="*/ 19219 h 113"/>
                <a:gd name="T16" fmla="*/ 16572 w 173"/>
                <a:gd name="T17" fmla="*/ 23223 h 113"/>
                <a:gd name="T18" fmla="*/ 10259 w 173"/>
                <a:gd name="T19" fmla="*/ 19219 h 113"/>
                <a:gd name="T20" fmla="*/ 3157 w 173"/>
                <a:gd name="T21" fmla="*/ 19219 h 113"/>
                <a:gd name="T22" fmla="*/ 3157 w 173"/>
                <a:gd name="T23" fmla="*/ 16816 h 113"/>
                <a:gd name="T24" fmla="*/ 0 w 173"/>
                <a:gd name="T25" fmla="*/ 13613 h 113"/>
                <a:gd name="T26" fmla="*/ 3157 w 173"/>
                <a:gd name="T27" fmla="*/ 9609 h 113"/>
                <a:gd name="T28" fmla="*/ 0 w 173"/>
                <a:gd name="T29" fmla="*/ 4004 h 113"/>
                <a:gd name="T30" fmla="*/ 0 w 173"/>
                <a:gd name="T31" fmla="*/ 0 h 113"/>
                <a:gd name="T32" fmla="*/ 3157 w 173"/>
                <a:gd name="T33" fmla="*/ 4004 h 113"/>
                <a:gd name="T34" fmla="*/ 6313 w 173"/>
                <a:gd name="T35" fmla="*/ 4004 h 113"/>
                <a:gd name="T36" fmla="*/ 16572 w 173"/>
                <a:gd name="T37" fmla="*/ 7207 h 113"/>
                <a:gd name="T38" fmla="*/ 23675 w 173"/>
                <a:gd name="T39" fmla="*/ 0 h 113"/>
                <a:gd name="T40" fmla="*/ 33934 w 173"/>
                <a:gd name="T41" fmla="*/ 4004 h 11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73"/>
                <a:gd name="T64" fmla="*/ 0 h 113"/>
                <a:gd name="T65" fmla="*/ 173 w 173"/>
                <a:gd name="T66" fmla="*/ 113 h 113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73" h="113">
                  <a:moveTo>
                    <a:pt x="173" y="17"/>
                  </a:moveTo>
                  <a:lnTo>
                    <a:pt x="173" y="17"/>
                  </a:lnTo>
                  <a:lnTo>
                    <a:pt x="173" y="33"/>
                  </a:lnTo>
                  <a:lnTo>
                    <a:pt x="156" y="33"/>
                  </a:lnTo>
                  <a:lnTo>
                    <a:pt x="139" y="65"/>
                  </a:lnTo>
                  <a:lnTo>
                    <a:pt x="156" y="81"/>
                  </a:lnTo>
                  <a:lnTo>
                    <a:pt x="121" y="81"/>
                  </a:lnTo>
                  <a:lnTo>
                    <a:pt x="104" y="96"/>
                  </a:lnTo>
                  <a:lnTo>
                    <a:pt x="87" y="113"/>
                  </a:lnTo>
                  <a:lnTo>
                    <a:pt x="52" y="96"/>
                  </a:lnTo>
                  <a:lnTo>
                    <a:pt x="18" y="96"/>
                  </a:lnTo>
                  <a:lnTo>
                    <a:pt x="18" y="81"/>
                  </a:lnTo>
                  <a:lnTo>
                    <a:pt x="0" y="65"/>
                  </a:lnTo>
                  <a:lnTo>
                    <a:pt x="18" y="48"/>
                  </a:lnTo>
                  <a:lnTo>
                    <a:pt x="0" y="17"/>
                  </a:lnTo>
                  <a:lnTo>
                    <a:pt x="0" y="0"/>
                  </a:lnTo>
                  <a:lnTo>
                    <a:pt x="18" y="17"/>
                  </a:lnTo>
                  <a:lnTo>
                    <a:pt x="35" y="17"/>
                  </a:lnTo>
                  <a:lnTo>
                    <a:pt x="87" y="33"/>
                  </a:lnTo>
                  <a:lnTo>
                    <a:pt x="121" y="0"/>
                  </a:lnTo>
                  <a:lnTo>
                    <a:pt x="173" y="17"/>
                  </a:lnTo>
                  <a:close/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35" name="Freeform 230">
              <a:extLst>
                <a:ext uri="{FF2B5EF4-FFF2-40B4-BE49-F238E27FC236}">
                  <a16:creationId xmlns:a16="http://schemas.microsoft.com/office/drawing/2014/main" id="{9D80A011-1006-BE9D-2C4D-4441597240D5}"/>
                </a:ext>
              </a:extLst>
            </p:cNvPr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5791986" y="3846835"/>
              <a:ext cx="39386" cy="76654"/>
            </a:xfrm>
            <a:custGeom>
              <a:avLst/>
              <a:gdLst>
                <a:gd name="T0" fmla="*/ 0 w 52"/>
                <a:gd name="T1" fmla="*/ 0 h 96"/>
                <a:gd name="T2" fmla="*/ 0 w 52"/>
                <a:gd name="T3" fmla="*/ 0 h 96"/>
                <a:gd name="T4" fmla="*/ 3969 w 52"/>
                <a:gd name="T5" fmla="*/ 0 h 96"/>
                <a:gd name="T6" fmla="*/ 7144 w 52"/>
                <a:gd name="T7" fmla="*/ 3175 h 96"/>
                <a:gd name="T8" fmla="*/ 7144 w 52"/>
                <a:gd name="T9" fmla="*/ 5556 h 96"/>
                <a:gd name="T10" fmla="*/ 10319 w 52"/>
                <a:gd name="T11" fmla="*/ 9525 h 96"/>
                <a:gd name="T12" fmla="*/ 10319 w 52"/>
                <a:gd name="T13" fmla="*/ 12700 h 96"/>
                <a:gd name="T14" fmla="*/ 3969 w 52"/>
                <a:gd name="T15" fmla="*/ 19050 h 96"/>
                <a:gd name="T16" fmla="*/ 0 w 52"/>
                <a:gd name="T17" fmla="*/ 15875 h 96"/>
                <a:gd name="T18" fmla="*/ 0 w 52"/>
                <a:gd name="T19" fmla="*/ 5556 h 96"/>
                <a:gd name="T20" fmla="*/ 0 w 52"/>
                <a:gd name="T21" fmla="*/ 3175 h 96"/>
                <a:gd name="T22" fmla="*/ 0 w 52"/>
                <a:gd name="T23" fmla="*/ 0 h 9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52"/>
                <a:gd name="T37" fmla="*/ 0 h 96"/>
                <a:gd name="T38" fmla="*/ 52 w 52"/>
                <a:gd name="T39" fmla="*/ 96 h 9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52" h="96">
                  <a:moveTo>
                    <a:pt x="0" y="0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34" y="16"/>
                  </a:lnTo>
                  <a:lnTo>
                    <a:pt x="34" y="31"/>
                  </a:lnTo>
                  <a:lnTo>
                    <a:pt x="52" y="48"/>
                  </a:lnTo>
                  <a:lnTo>
                    <a:pt x="52" y="64"/>
                  </a:lnTo>
                  <a:lnTo>
                    <a:pt x="17" y="96"/>
                  </a:lnTo>
                  <a:lnTo>
                    <a:pt x="0" y="79"/>
                  </a:lnTo>
                  <a:lnTo>
                    <a:pt x="0" y="31"/>
                  </a:lnTo>
                  <a:lnTo>
                    <a:pt x="0" y="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36" name="Freeform 233">
              <a:extLst>
                <a:ext uri="{FF2B5EF4-FFF2-40B4-BE49-F238E27FC236}">
                  <a16:creationId xmlns:a16="http://schemas.microsoft.com/office/drawing/2014/main" id="{2FE08034-CB96-DD9C-399D-823400124A93}"/>
                </a:ext>
              </a:extLst>
            </p:cNvPr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5714789" y="3755183"/>
              <a:ext cx="77197" cy="76654"/>
            </a:xfrm>
            <a:custGeom>
              <a:avLst/>
              <a:gdLst>
                <a:gd name="T0" fmla="*/ 16348 w 104"/>
                <a:gd name="T1" fmla="*/ 19050 h 96"/>
                <a:gd name="T2" fmla="*/ 16348 w 104"/>
                <a:gd name="T3" fmla="*/ 19050 h 96"/>
                <a:gd name="T4" fmla="*/ 13234 w 104"/>
                <a:gd name="T5" fmla="*/ 19050 h 96"/>
                <a:gd name="T6" fmla="*/ 16348 w 104"/>
                <a:gd name="T7" fmla="*/ 16669 h 96"/>
                <a:gd name="T8" fmla="*/ 19462 w 104"/>
                <a:gd name="T9" fmla="*/ 16669 h 96"/>
                <a:gd name="T10" fmla="*/ 19462 w 104"/>
                <a:gd name="T11" fmla="*/ 13494 h 96"/>
                <a:gd name="T12" fmla="*/ 19462 w 104"/>
                <a:gd name="T13" fmla="*/ 9525 h 96"/>
                <a:gd name="T14" fmla="*/ 19462 w 104"/>
                <a:gd name="T15" fmla="*/ 7144 h 96"/>
                <a:gd name="T16" fmla="*/ 16348 w 104"/>
                <a:gd name="T17" fmla="*/ 7144 h 96"/>
                <a:gd name="T18" fmla="*/ 16348 w 104"/>
                <a:gd name="T19" fmla="*/ 3969 h 96"/>
                <a:gd name="T20" fmla="*/ 6228 w 104"/>
                <a:gd name="T21" fmla="*/ 0 h 96"/>
                <a:gd name="T22" fmla="*/ 3114 w 104"/>
                <a:gd name="T23" fmla="*/ 3969 h 96"/>
                <a:gd name="T24" fmla="*/ 3114 w 104"/>
                <a:gd name="T25" fmla="*/ 0 h 96"/>
                <a:gd name="T26" fmla="*/ 0 w 104"/>
                <a:gd name="T27" fmla="*/ 3969 h 96"/>
                <a:gd name="T28" fmla="*/ 3114 w 104"/>
                <a:gd name="T29" fmla="*/ 7144 h 96"/>
                <a:gd name="T30" fmla="*/ 10120 w 104"/>
                <a:gd name="T31" fmla="*/ 16669 h 96"/>
                <a:gd name="T32" fmla="*/ 16348 w 104"/>
                <a:gd name="T33" fmla="*/ 19050 h 9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04"/>
                <a:gd name="T52" fmla="*/ 0 h 96"/>
                <a:gd name="T53" fmla="*/ 104 w 104"/>
                <a:gd name="T54" fmla="*/ 96 h 9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04" h="96">
                  <a:moveTo>
                    <a:pt x="87" y="96"/>
                  </a:moveTo>
                  <a:lnTo>
                    <a:pt x="87" y="96"/>
                  </a:lnTo>
                  <a:lnTo>
                    <a:pt x="69" y="96"/>
                  </a:lnTo>
                  <a:lnTo>
                    <a:pt x="87" y="81"/>
                  </a:lnTo>
                  <a:lnTo>
                    <a:pt x="104" y="81"/>
                  </a:lnTo>
                  <a:lnTo>
                    <a:pt x="104" y="65"/>
                  </a:lnTo>
                  <a:lnTo>
                    <a:pt x="104" y="48"/>
                  </a:lnTo>
                  <a:lnTo>
                    <a:pt x="104" y="33"/>
                  </a:lnTo>
                  <a:lnTo>
                    <a:pt x="87" y="33"/>
                  </a:lnTo>
                  <a:lnTo>
                    <a:pt x="87" y="17"/>
                  </a:lnTo>
                  <a:lnTo>
                    <a:pt x="35" y="0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0" y="17"/>
                  </a:lnTo>
                  <a:lnTo>
                    <a:pt x="18" y="33"/>
                  </a:lnTo>
                  <a:lnTo>
                    <a:pt x="52" y="81"/>
                  </a:lnTo>
                  <a:lnTo>
                    <a:pt x="87" y="96"/>
                  </a:lnTo>
                  <a:close/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37" name="Freeform 234">
              <a:extLst>
                <a:ext uri="{FF2B5EF4-FFF2-40B4-BE49-F238E27FC236}">
                  <a16:creationId xmlns:a16="http://schemas.microsoft.com/office/drawing/2014/main" id="{2946D8EF-943F-35A2-E4B4-6AC525B7708E}"/>
                </a:ext>
              </a:extLst>
            </p:cNvPr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5779382" y="3741852"/>
              <a:ext cx="91376" cy="114981"/>
            </a:xfrm>
            <a:custGeom>
              <a:avLst/>
              <a:gdLst>
                <a:gd name="T0" fmla="*/ 3149 w 121"/>
                <a:gd name="T1" fmla="*/ 9525 h 144"/>
                <a:gd name="T2" fmla="*/ 3149 w 121"/>
                <a:gd name="T3" fmla="*/ 9525 h 144"/>
                <a:gd name="T4" fmla="*/ 3149 w 121"/>
                <a:gd name="T5" fmla="*/ 6350 h 144"/>
                <a:gd name="T6" fmla="*/ 0 w 121"/>
                <a:gd name="T7" fmla="*/ 2381 h 144"/>
                <a:gd name="T8" fmla="*/ 6298 w 121"/>
                <a:gd name="T9" fmla="*/ 0 h 144"/>
                <a:gd name="T10" fmla="*/ 13382 w 121"/>
                <a:gd name="T11" fmla="*/ 9525 h 144"/>
                <a:gd name="T12" fmla="*/ 19680 w 121"/>
                <a:gd name="T13" fmla="*/ 9525 h 144"/>
                <a:gd name="T14" fmla="*/ 19680 w 121"/>
                <a:gd name="T15" fmla="*/ 11906 h 144"/>
                <a:gd name="T16" fmla="*/ 19680 w 121"/>
                <a:gd name="T17" fmla="*/ 15875 h 144"/>
                <a:gd name="T18" fmla="*/ 23616 w 121"/>
                <a:gd name="T19" fmla="*/ 21431 h 144"/>
                <a:gd name="T20" fmla="*/ 19680 w 121"/>
                <a:gd name="T21" fmla="*/ 25400 h 144"/>
                <a:gd name="T22" fmla="*/ 13382 w 121"/>
                <a:gd name="T23" fmla="*/ 25400 h 144"/>
                <a:gd name="T24" fmla="*/ 9446 w 121"/>
                <a:gd name="T25" fmla="*/ 28575 h 144"/>
                <a:gd name="T26" fmla="*/ 6298 w 121"/>
                <a:gd name="T27" fmla="*/ 25400 h 144"/>
                <a:gd name="T28" fmla="*/ 6298 w 121"/>
                <a:gd name="T29" fmla="*/ 21431 h 144"/>
                <a:gd name="T30" fmla="*/ 3149 w 121"/>
                <a:gd name="T31" fmla="*/ 19050 h 144"/>
                <a:gd name="T32" fmla="*/ 3149 w 121"/>
                <a:gd name="T33" fmla="*/ 15875 h 144"/>
                <a:gd name="T34" fmla="*/ 3149 w 121"/>
                <a:gd name="T35" fmla="*/ 11906 h 144"/>
                <a:gd name="T36" fmla="*/ 3149 w 121"/>
                <a:gd name="T37" fmla="*/ 9525 h 14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21"/>
                <a:gd name="T58" fmla="*/ 0 h 144"/>
                <a:gd name="T59" fmla="*/ 121 w 121"/>
                <a:gd name="T60" fmla="*/ 144 h 14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21" h="144">
                  <a:moveTo>
                    <a:pt x="17" y="48"/>
                  </a:moveTo>
                  <a:lnTo>
                    <a:pt x="17" y="48"/>
                  </a:lnTo>
                  <a:lnTo>
                    <a:pt x="17" y="32"/>
                  </a:lnTo>
                  <a:lnTo>
                    <a:pt x="0" y="15"/>
                  </a:lnTo>
                  <a:lnTo>
                    <a:pt x="34" y="0"/>
                  </a:lnTo>
                  <a:lnTo>
                    <a:pt x="69" y="48"/>
                  </a:lnTo>
                  <a:lnTo>
                    <a:pt x="103" y="48"/>
                  </a:lnTo>
                  <a:lnTo>
                    <a:pt x="103" y="63"/>
                  </a:lnTo>
                  <a:lnTo>
                    <a:pt x="103" y="80"/>
                  </a:lnTo>
                  <a:lnTo>
                    <a:pt x="121" y="111"/>
                  </a:lnTo>
                  <a:lnTo>
                    <a:pt x="103" y="128"/>
                  </a:lnTo>
                  <a:lnTo>
                    <a:pt x="69" y="128"/>
                  </a:lnTo>
                  <a:lnTo>
                    <a:pt x="51" y="144"/>
                  </a:lnTo>
                  <a:lnTo>
                    <a:pt x="34" y="128"/>
                  </a:lnTo>
                  <a:lnTo>
                    <a:pt x="34" y="111"/>
                  </a:lnTo>
                  <a:lnTo>
                    <a:pt x="17" y="96"/>
                  </a:lnTo>
                  <a:lnTo>
                    <a:pt x="17" y="80"/>
                  </a:lnTo>
                  <a:lnTo>
                    <a:pt x="17" y="63"/>
                  </a:lnTo>
                  <a:lnTo>
                    <a:pt x="17" y="48"/>
                  </a:lnTo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38" name="Freeform 235">
              <a:extLst>
                <a:ext uri="{FF2B5EF4-FFF2-40B4-BE49-F238E27FC236}">
                  <a16:creationId xmlns:a16="http://schemas.microsoft.com/office/drawing/2014/main" id="{BD27E570-CED8-5EB9-BD7F-A9C9BC3632C9}"/>
                </a:ext>
              </a:extLst>
            </p:cNvPr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5818768" y="3846835"/>
              <a:ext cx="51990" cy="38328"/>
            </a:xfrm>
            <a:custGeom>
              <a:avLst/>
              <a:gdLst>
                <a:gd name="T0" fmla="*/ 3084 w 70"/>
                <a:gd name="T1" fmla="*/ 9525 h 48"/>
                <a:gd name="T2" fmla="*/ 3084 w 70"/>
                <a:gd name="T3" fmla="*/ 9525 h 48"/>
                <a:gd name="T4" fmla="*/ 0 w 70"/>
                <a:gd name="T5" fmla="*/ 5556 h 48"/>
                <a:gd name="T6" fmla="*/ 0 w 70"/>
                <a:gd name="T7" fmla="*/ 3175 h 48"/>
                <a:gd name="T8" fmla="*/ 3084 w 70"/>
                <a:gd name="T9" fmla="*/ 0 h 48"/>
                <a:gd name="T10" fmla="*/ 9253 w 70"/>
                <a:gd name="T11" fmla="*/ 0 h 48"/>
                <a:gd name="T12" fmla="*/ 13108 w 70"/>
                <a:gd name="T13" fmla="*/ 3175 h 48"/>
                <a:gd name="T14" fmla="*/ 13108 w 70"/>
                <a:gd name="T15" fmla="*/ 5556 h 48"/>
                <a:gd name="T16" fmla="*/ 3084 w 70"/>
                <a:gd name="T17" fmla="*/ 9525 h 4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0"/>
                <a:gd name="T28" fmla="*/ 0 h 48"/>
                <a:gd name="T29" fmla="*/ 70 w 70"/>
                <a:gd name="T30" fmla="*/ 48 h 4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0" h="48">
                  <a:moveTo>
                    <a:pt x="18" y="48"/>
                  </a:moveTo>
                  <a:lnTo>
                    <a:pt x="18" y="48"/>
                  </a:lnTo>
                  <a:lnTo>
                    <a:pt x="0" y="31"/>
                  </a:lnTo>
                  <a:lnTo>
                    <a:pt x="0" y="16"/>
                  </a:lnTo>
                  <a:lnTo>
                    <a:pt x="18" y="0"/>
                  </a:lnTo>
                  <a:lnTo>
                    <a:pt x="52" y="0"/>
                  </a:lnTo>
                  <a:lnTo>
                    <a:pt x="70" y="16"/>
                  </a:lnTo>
                  <a:lnTo>
                    <a:pt x="70" y="31"/>
                  </a:lnTo>
                  <a:lnTo>
                    <a:pt x="18" y="48"/>
                  </a:lnTo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39" name="Freeform 236">
              <a:extLst>
                <a:ext uri="{FF2B5EF4-FFF2-40B4-BE49-F238E27FC236}">
                  <a16:creationId xmlns:a16="http://schemas.microsoft.com/office/drawing/2014/main" id="{A9F7D351-BE5C-2DA3-C701-5B9F6F5CD849}"/>
                </a:ext>
              </a:extLst>
            </p:cNvPr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5636016" y="3588544"/>
              <a:ext cx="141790" cy="76654"/>
            </a:xfrm>
            <a:custGeom>
              <a:avLst/>
              <a:gdLst>
                <a:gd name="T0" fmla="*/ 37306 w 188"/>
                <a:gd name="T1" fmla="*/ 11906 h 96"/>
                <a:gd name="T2" fmla="*/ 37306 w 188"/>
                <a:gd name="T3" fmla="*/ 11906 h 96"/>
                <a:gd name="T4" fmla="*/ 30956 w 188"/>
                <a:gd name="T5" fmla="*/ 6350 h 96"/>
                <a:gd name="T6" fmla="*/ 26988 w 188"/>
                <a:gd name="T7" fmla="*/ 6350 h 96"/>
                <a:gd name="T8" fmla="*/ 19844 w 188"/>
                <a:gd name="T9" fmla="*/ 2381 h 96"/>
                <a:gd name="T10" fmla="*/ 17463 w 188"/>
                <a:gd name="T11" fmla="*/ 0 h 96"/>
                <a:gd name="T12" fmla="*/ 17463 w 188"/>
                <a:gd name="T13" fmla="*/ 2381 h 96"/>
                <a:gd name="T14" fmla="*/ 14288 w 188"/>
                <a:gd name="T15" fmla="*/ 0 h 96"/>
                <a:gd name="T16" fmla="*/ 7144 w 188"/>
                <a:gd name="T17" fmla="*/ 2381 h 96"/>
                <a:gd name="T18" fmla="*/ 0 w 188"/>
                <a:gd name="T19" fmla="*/ 6350 h 96"/>
                <a:gd name="T20" fmla="*/ 3969 w 188"/>
                <a:gd name="T21" fmla="*/ 11906 h 96"/>
                <a:gd name="T22" fmla="*/ 9525 w 188"/>
                <a:gd name="T23" fmla="*/ 19050 h 96"/>
                <a:gd name="T24" fmla="*/ 17463 w 188"/>
                <a:gd name="T25" fmla="*/ 19050 h 96"/>
                <a:gd name="T26" fmla="*/ 17463 w 188"/>
                <a:gd name="T27" fmla="*/ 15875 h 96"/>
                <a:gd name="T28" fmla="*/ 26988 w 188"/>
                <a:gd name="T29" fmla="*/ 19050 h 96"/>
                <a:gd name="T30" fmla="*/ 37306 w 188"/>
                <a:gd name="T31" fmla="*/ 11906 h 9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88"/>
                <a:gd name="T49" fmla="*/ 0 h 96"/>
                <a:gd name="T50" fmla="*/ 188 w 188"/>
                <a:gd name="T51" fmla="*/ 96 h 9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88" h="96">
                  <a:moveTo>
                    <a:pt x="188" y="63"/>
                  </a:moveTo>
                  <a:lnTo>
                    <a:pt x="188" y="63"/>
                  </a:lnTo>
                  <a:lnTo>
                    <a:pt x="153" y="32"/>
                  </a:lnTo>
                  <a:lnTo>
                    <a:pt x="136" y="32"/>
                  </a:lnTo>
                  <a:lnTo>
                    <a:pt x="103" y="15"/>
                  </a:lnTo>
                  <a:lnTo>
                    <a:pt x="86" y="0"/>
                  </a:lnTo>
                  <a:lnTo>
                    <a:pt x="86" y="15"/>
                  </a:lnTo>
                  <a:lnTo>
                    <a:pt x="69" y="0"/>
                  </a:lnTo>
                  <a:lnTo>
                    <a:pt x="34" y="15"/>
                  </a:lnTo>
                  <a:lnTo>
                    <a:pt x="0" y="32"/>
                  </a:lnTo>
                  <a:lnTo>
                    <a:pt x="17" y="63"/>
                  </a:lnTo>
                  <a:lnTo>
                    <a:pt x="51" y="96"/>
                  </a:lnTo>
                  <a:lnTo>
                    <a:pt x="86" y="96"/>
                  </a:lnTo>
                  <a:lnTo>
                    <a:pt x="86" y="80"/>
                  </a:lnTo>
                  <a:lnTo>
                    <a:pt x="136" y="96"/>
                  </a:lnTo>
                  <a:lnTo>
                    <a:pt x="188" y="63"/>
                  </a:lnTo>
                  <a:close/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40" name="Freeform 237">
              <a:extLst>
                <a:ext uri="{FF2B5EF4-FFF2-40B4-BE49-F238E27FC236}">
                  <a16:creationId xmlns:a16="http://schemas.microsoft.com/office/drawing/2014/main" id="{E986D6D3-F155-0210-140D-146D923D0904}"/>
                </a:ext>
              </a:extLst>
            </p:cNvPr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5738421" y="3640202"/>
              <a:ext cx="119734" cy="53325"/>
            </a:xfrm>
            <a:custGeom>
              <a:avLst/>
              <a:gdLst>
                <a:gd name="T0" fmla="*/ 0 w 157"/>
                <a:gd name="T1" fmla="*/ 7254 h 65"/>
                <a:gd name="T2" fmla="*/ 0 w 157"/>
                <a:gd name="T3" fmla="*/ 7254 h 65"/>
                <a:gd name="T4" fmla="*/ 0 w 157"/>
                <a:gd name="T5" fmla="*/ 13701 h 65"/>
                <a:gd name="T6" fmla="*/ 7189 w 157"/>
                <a:gd name="T7" fmla="*/ 13701 h 65"/>
                <a:gd name="T8" fmla="*/ 21568 w 157"/>
                <a:gd name="T9" fmla="*/ 7254 h 65"/>
                <a:gd name="T10" fmla="*/ 27958 w 157"/>
                <a:gd name="T11" fmla="*/ 9672 h 65"/>
                <a:gd name="T12" fmla="*/ 31952 w 157"/>
                <a:gd name="T13" fmla="*/ 4030 h 65"/>
                <a:gd name="T14" fmla="*/ 24763 w 157"/>
                <a:gd name="T15" fmla="*/ 0 h 65"/>
                <a:gd name="T16" fmla="*/ 17574 w 157"/>
                <a:gd name="T17" fmla="*/ 4030 h 65"/>
                <a:gd name="T18" fmla="*/ 14379 w 157"/>
                <a:gd name="T19" fmla="*/ 0 h 65"/>
                <a:gd name="T20" fmla="*/ 11183 w 157"/>
                <a:gd name="T21" fmla="*/ 0 h 65"/>
                <a:gd name="T22" fmla="*/ 0 w 157"/>
                <a:gd name="T23" fmla="*/ 7254 h 6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57"/>
                <a:gd name="T37" fmla="*/ 0 h 65"/>
                <a:gd name="T38" fmla="*/ 157 w 157"/>
                <a:gd name="T39" fmla="*/ 65 h 6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57" h="65">
                  <a:moveTo>
                    <a:pt x="0" y="33"/>
                  </a:moveTo>
                  <a:lnTo>
                    <a:pt x="0" y="33"/>
                  </a:lnTo>
                  <a:lnTo>
                    <a:pt x="0" y="65"/>
                  </a:lnTo>
                  <a:lnTo>
                    <a:pt x="34" y="65"/>
                  </a:lnTo>
                  <a:lnTo>
                    <a:pt x="105" y="33"/>
                  </a:lnTo>
                  <a:lnTo>
                    <a:pt x="140" y="48"/>
                  </a:lnTo>
                  <a:lnTo>
                    <a:pt x="157" y="17"/>
                  </a:lnTo>
                  <a:lnTo>
                    <a:pt x="123" y="0"/>
                  </a:lnTo>
                  <a:lnTo>
                    <a:pt x="88" y="17"/>
                  </a:lnTo>
                  <a:lnTo>
                    <a:pt x="71" y="0"/>
                  </a:lnTo>
                  <a:lnTo>
                    <a:pt x="54" y="0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41" name="Freeform 238">
              <a:extLst>
                <a:ext uri="{FF2B5EF4-FFF2-40B4-BE49-F238E27FC236}">
                  <a16:creationId xmlns:a16="http://schemas.microsoft.com/office/drawing/2014/main" id="{EB489FB0-C1A8-63C8-7BBB-BDBE50C7800F}"/>
                </a:ext>
              </a:extLst>
            </p:cNvPr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5675403" y="3731854"/>
              <a:ext cx="116583" cy="114981"/>
            </a:xfrm>
            <a:custGeom>
              <a:avLst/>
              <a:gdLst>
                <a:gd name="T0" fmla="*/ 13321 w 156"/>
                <a:gd name="T1" fmla="*/ 0 h 144"/>
                <a:gd name="T2" fmla="*/ 13321 w 156"/>
                <a:gd name="T3" fmla="*/ 0 h 144"/>
                <a:gd name="T4" fmla="*/ 23507 w 156"/>
                <a:gd name="T5" fmla="*/ 5556 h 144"/>
                <a:gd name="T6" fmla="*/ 26642 w 156"/>
                <a:gd name="T7" fmla="*/ 5556 h 144"/>
                <a:gd name="T8" fmla="*/ 29776 w 156"/>
                <a:gd name="T9" fmla="*/ 9525 h 144"/>
                <a:gd name="T10" fmla="*/ 29776 w 156"/>
                <a:gd name="T11" fmla="*/ 12700 h 144"/>
                <a:gd name="T12" fmla="*/ 26642 w 156"/>
                <a:gd name="T13" fmla="*/ 12700 h 144"/>
                <a:gd name="T14" fmla="*/ 26642 w 156"/>
                <a:gd name="T15" fmla="*/ 9525 h 144"/>
                <a:gd name="T16" fmla="*/ 16455 w 156"/>
                <a:gd name="T17" fmla="*/ 5556 h 144"/>
                <a:gd name="T18" fmla="*/ 13321 w 156"/>
                <a:gd name="T19" fmla="*/ 9525 h 144"/>
                <a:gd name="T20" fmla="*/ 13321 w 156"/>
                <a:gd name="T21" fmla="*/ 5556 h 144"/>
                <a:gd name="T22" fmla="*/ 10186 w 156"/>
                <a:gd name="T23" fmla="*/ 9525 h 144"/>
                <a:gd name="T24" fmla="*/ 13321 w 156"/>
                <a:gd name="T25" fmla="*/ 12700 h 144"/>
                <a:gd name="T26" fmla="*/ 19589 w 156"/>
                <a:gd name="T27" fmla="*/ 22225 h 144"/>
                <a:gd name="T28" fmla="*/ 26642 w 156"/>
                <a:gd name="T29" fmla="*/ 24606 h 144"/>
                <a:gd name="T30" fmla="*/ 23507 w 156"/>
                <a:gd name="T31" fmla="*/ 28575 h 144"/>
                <a:gd name="T32" fmla="*/ 16455 w 156"/>
                <a:gd name="T33" fmla="*/ 22225 h 144"/>
                <a:gd name="T34" fmla="*/ 13321 w 156"/>
                <a:gd name="T35" fmla="*/ 22225 h 144"/>
                <a:gd name="T36" fmla="*/ 6269 w 156"/>
                <a:gd name="T37" fmla="*/ 15081 h 144"/>
                <a:gd name="T38" fmla="*/ 10186 w 156"/>
                <a:gd name="T39" fmla="*/ 15081 h 144"/>
                <a:gd name="T40" fmla="*/ 6269 w 156"/>
                <a:gd name="T41" fmla="*/ 15081 h 144"/>
                <a:gd name="T42" fmla="*/ 6269 w 156"/>
                <a:gd name="T43" fmla="*/ 9525 h 144"/>
                <a:gd name="T44" fmla="*/ 3134 w 156"/>
                <a:gd name="T45" fmla="*/ 9525 h 144"/>
                <a:gd name="T46" fmla="*/ 0 w 156"/>
                <a:gd name="T47" fmla="*/ 12700 h 144"/>
                <a:gd name="T48" fmla="*/ 0 w 156"/>
                <a:gd name="T49" fmla="*/ 9525 h 144"/>
                <a:gd name="T50" fmla="*/ 0 w 156"/>
                <a:gd name="T51" fmla="*/ 5556 h 144"/>
                <a:gd name="T52" fmla="*/ 3134 w 156"/>
                <a:gd name="T53" fmla="*/ 5556 h 144"/>
                <a:gd name="T54" fmla="*/ 6269 w 156"/>
                <a:gd name="T55" fmla="*/ 5556 h 144"/>
                <a:gd name="T56" fmla="*/ 10186 w 156"/>
                <a:gd name="T57" fmla="*/ 0 h 144"/>
                <a:gd name="T58" fmla="*/ 13321 w 156"/>
                <a:gd name="T59" fmla="*/ 0 h 14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56"/>
                <a:gd name="T91" fmla="*/ 0 h 144"/>
                <a:gd name="T92" fmla="*/ 156 w 156"/>
                <a:gd name="T93" fmla="*/ 144 h 144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56" h="144">
                  <a:moveTo>
                    <a:pt x="70" y="0"/>
                  </a:moveTo>
                  <a:lnTo>
                    <a:pt x="70" y="0"/>
                  </a:lnTo>
                  <a:lnTo>
                    <a:pt x="121" y="31"/>
                  </a:lnTo>
                  <a:lnTo>
                    <a:pt x="139" y="31"/>
                  </a:lnTo>
                  <a:lnTo>
                    <a:pt x="156" y="48"/>
                  </a:lnTo>
                  <a:lnTo>
                    <a:pt x="156" y="64"/>
                  </a:lnTo>
                  <a:lnTo>
                    <a:pt x="139" y="64"/>
                  </a:lnTo>
                  <a:lnTo>
                    <a:pt x="139" y="48"/>
                  </a:lnTo>
                  <a:lnTo>
                    <a:pt x="87" y="31"/>
                  </a:lnTo>
                  <a:lnTo>
                    <a:pt x="70" y="48"/>
                  </a:lnTo>
                  <a:lnTo>
                    <a:pt x="70" y="31"/>
                  </a:lnTo>
                  <a:lnTo>
                    <a:pt x="52" y="48"/>
                  </a:lnTo>
                  <a:lnTo>
                    <a:pt x="70" y="64"/>
                  </a:lnTo>
                  <a:lnTo>
                    <a:pt x="104" y="112"/>
                  </a:lnTo>
                  <a:lnTo>
                    <a:pt x="139" y="127"/>
                  </a:lnTo>
                  <a:lnTo>
                    <a:pt x="121" y="144"/>
                  </a:lnTo>
                  <a:lnTo>
                    <a:pt x="87" y="112"/>
                  </a:lnTo>
                  <a:lnTo>
                    <a:pt x="70" y="112"/>
                  </a:lnTo>
                  <a:lnTo>
                    <a:pt x="35" y="79"/>
                  </a:lnTo>
                  <a:lnTo>
                    <a:pt x="52" y="79"/>
                  </a:lnTo>
                  <a:lnTo>
                    <a:pt x="35" y="79"/>
                  </a:lnTo>
                  <a:lnTo>
                    <a:pt x="35" y="48"/>
                  </a:lnTo>
                  <a:lnTo>
                    <a:pt x="18" y="48"/>
                  </a:lnTo>
                  <a:lnTo>
                    <a:pt x="0" y="64"/>
                  </a:lnTo>
                  <a:lnTo>
                    <a:pt x="0" y="48"/>
                  </a:lnTo>
                  <a:lnTo>
                    <a:pt x="0" y="31"/>
                  </a:lnTo>
                  <a:lnTo>
                    <a:pt x="18" y="31"/>
                  </a:lnTo>
                  <a:lnTo>
                    <a:pt x="35" y="31"/>
                  </a:lnTo>
                  <a:lnTo>
                    <a:pt x="52" y="0"/>
                  </a:lnTo>
                  <a:lnTo>
                    <a:pt x="70" y="0"/>
                  </a:lnTo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42" name="Freeform 239">
              <a:extLst>
                <a:ext uri="{FF2B5EF4-FFF2-40B4-BE49-F238E27FC236}">
                  <a16:creationId xmlns:a16="http://schemas.microsoft.com/office/drawing/2014/main" id="{6D770229-9AA2-A83E-0065-52F557FE35E1}"/>
                </a:ext>
              </a:extLst>
            </p:cNvPr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5763628" y="3818506"/>
              <a:ext cx="39386" cy="38326"/>
            </a:xfrm>
            <a:custGeom>
              <a:avLst/>
              <a:gdLst>
                <a:gd name="T0" fmla="*/ 0 w 52"/>
                <a:gd name="T1" fmla="*/ 6350 h 48"/>
                <a:gd name="T2" fmla="*/ 0 w 52"/>
                <a:gd name="T3" fmla="*/ 6350 h 48"/>
                <a:gd name="T4" fmla="*/ 7144 w 52"/>
                <a:gd name="T5" fmla="*/ 9525 h 48"/>
                <a:gd name="T6" fmla="*/ 7144 w 52"/>
                <a:gd name="T7" fmla="*/ 6350 h 48"/>
                <a:gd name="T8" fmla="*/ 10319 w 52"/>
                <a:gd name="T9" fmla="*/ 6350 h 48"/>
                <a:gd name="T10" fmla="*/ 10319 w 52"/>
                <a:gd name="T11" fmla="*/ 2381 h 48"/>
                <a:gd name="T12" fmla="*/ 7144 w 52"/>
                <a:gd name="T13" fmla="*/ 0 h 48"/>
                <a:gd name="T14" fmla="*/ 3969 w 52"/>
                <a:gd name="T15" fmla="*/ 0 h 48"/>
                <a:gd name="T16" fmla="*/ 0 w 52"/>
                <a:gd name="T17" fmla="*/ 2381 h 48"/>
                <a:gd name="T18" fmla="*/ 3969 w 52"/>
                <a:gd name="T19" fmla="*/ 2381 h 48"/>
                <a:gd name="T20" fmla="*/ 0 w 52"/>
                <a:gd name="T21" fmla="*/ 6350 h 4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2"/>
                <a:gd name="T34" fmla="*/ 0 h 48"/>
                <a:gd name="T35" fmla="*/ 52 w 52"/>
                <a:gd name="T36" fmla="*/ 48 h 4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2" h="48">
                  <a:moveTo>
                    <a:pt x="0" y="32"/>
                  </a:moveTo>
                  <a:lnTo>
                    <a:pt x="0" y="32"/>
                  </a:lnTo>
                  <a:lnTo>
                    <a:pt x="35" y="48"/>
                  </a:lnTo>
                  <a:lnTo>
                    <a:pt x="35" y="32"/>
                  </a:lnTo>
                  <a:lnTo>
                    <a:pt x="52" y="32"/>
                  </a:lnTo>
                  <a:lnTo>
                    <a:pt x="52" y="15"/>
                  </a:lnTo>
                  <a:lnTo>
                    <a:pt x="35" y="0"/>
                  </a:lnTo>
                  <a:lnTo>
                    <a:pt x="18" y="0"/>
                  </a:lnTo>
                  <a:lnTo>
                    <a:pt x="0" y="15"/>
                  </a:lnTo>
                  <a:lnTo>
                    <a:pt x="18" y="15"/>
                  </a:lnTo>
                  <a:lnTo>
                    <a:pt x="0" y="32"/>
                  </a:lnTo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43" name="Freeform 240">
              <a:extLst>
                <a:ext uri="{FF2B5EF4-FFF2-40B4-BE49-F238E27FC236}">
                  <a16:creationId xmlns:a16="http://schemas.microsoft.com/office/drawing/2014/main" id="{B5DD8DD4-B030-94BF-3C26-FE550B3A6B0F}"/>
                </a:ext>
              </a:extLst>
            </p:cNvPr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5226401" y="3448567"/>
              <a:ext cx="55141" cy="53325"/>
            </a:xfrm>
            <a:custGeom>
              <a:avLst/>
              <a:gdLst>
                <a:gd name="T0" fmla="*/ 11269 w 71"/>
                <a:gd name="T1" fmla="*/ 13701 h 65"/>
                <a:gd name="T2" fmla="*/ 11269 w 71"/>
                <a:gd name="T3" fmla="*/ 9672 h 65"/>
                <a:gd name="T4" fmla="*/ 4025 w 71"/>
                <a:gd name="T5" fmla="*/ 9672 h 65"/>
                <a:gd name="T6" fmla="*/ 0 w 71"/>
                <a:gd name="T7" fmla="*/ 7254 h 65"/>
                <a:gd name="T8" fmla="*/ 4025 w 71"/>
                <a:gd name="T9" fmla="*/ 0 h 65"/>
                <a:gd name="T10" fmla="*/ 11269 w 71"/>
                <a:gd name="T11" fmla="*/ 4030 h 65"/>
                <a:gd name="T12" fmla="*/ 14489 w 71"/>
                <a:gd name="T13" fmla="*/ 9672 h 65"/>
                <a:gd name="T14" fmla="*/ 11269 w 71"/>
                <a:gd name="T15" fmla="*/ 13701 h 6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1"/>
                <a:gd name="T25" fmla="*/ 0 h 65"/>
                <a:gd name="T26" fmla="*/ 71 w 71"/>
                <a:gd name="T27" fmla="*/ 65 h 6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1" h="65">
                  <a:moveTo>
                    <a:pt x="54" y="65"/>
                  </a:moveTo>
                  <a:lnTo>
                    <a:pt x="54" y="48"/>
                  </a:lnTo>
                  <a:lnTo>
                    <a:pt x="18" y="48"/>
                  </a:lnTo>
                  <a:lnTo>
                    <a:pt x="0" y="33"/>
                  </a:lnTo>
                  <a:lnTo>
                    <a:pt x="18" y="0"/>
                  </a:lnTo>
                  <a:lnTo>
                    <a:pt x="54" y="18"/>
                  </a:lnTo>
                  <a:lnTo>
                    <a:pt x="71" y="48"/>
                  </a:lnTo>
                  <a:lnTo>
                    <a:pt x="54" y="65"/>
                  </a:lnTo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44" name="Freeform 241">
              <a:extLst>
                <a:ext uri="{FF2B5EF4-FFF2-40B4-BE49-F238E27FC236}">
                  <a16:creationId xmlns:a16="http://schemas.microsoft.com/office/drawing/2014/main" id="{0E4E586A-6F36-DC2F-0DF8-FE327CC66838}"/>
                </a:ext>
              </a:extLst>
            </p:cNvPr>
            <p:cNvSpPr>
              <a:spLocks/>
            </p:cNvSpPr>
            <p:nvPr>
              <p:custDataLst>
                <p:tags r:id="rId230"/>
              </p:custDataLst>
            </p:nvPr>
          </p:nvSpPr>
          <p:spPr bwMode="auto">
            <a:xfrm>
              <a:off x="5175986" y="3448567"/>
              <a:ext cx="89801" cy="129979"/>
            </a:xfrm>
            <a:custGeom>
              <a:avLst/>
              <a:gdLst>
                <a:gd name="T0" fmla="*/ 16529 w 119"/>
                <a:gd name="T1" fmla="*/ 0 h 161"/>
                <a:gd name="T2" fmla="*/ 13380 w 119"/>
                <a:gd name="T3" fmla="*/ 7188 h 161"/>
                <a:gd name="T4" fmla="*/ 16529 w 119"/>
                <a:gd name="T5" fmla="*/ 9584 h 161"/>
                <a:gd name="T6" fmla="*/ 22825 w 119"/>
                <a:gd name="T7" fmla="*/ 9584 h 161"/>
                <a:gd name="T8" fmla="*/ 22825 w 119"/>
                <a:gd name="T9" fmla="*/ 13578 h 161"/>
                <a:gd name="T10" fmla="*/ 22825 w 119"/>
                <a:gd name="T11" fmla="*/ 19168 h 161"/>
                <a:gd name="T12" fmla="*/ 19677 w 119"/>
                <a:gd name="T13" fmla="*/ 28753 h 161"/>
                <a:gd name="T14" fmla="*/ 3148 w 119"/>
                <a:gd name="T15" fmla="*/ 32746 h 161"/>
                <a:gd name="T16" fmla="*/ 0 w 119"/>
                <a:gd name="T17" fmla="*/ 28753 h 161"/>
                <a:gd name="T18" fmla="*/ 3148 w 119"/>
                <a:gd name="T19" fmla="*/ 28753 h 161"/>
                <a:gd name="T20" fmla="*/ 6297 w 119"/>
                <a:gd name="T21" fmla="*/ 19168 h 161"/>
                <a:gd name="T22" fmla="*/ 3148 w 119"/>
                <a:gd name="T23" fmla="*/ 16772 h 161"/>
                <a:gd name="T24" fmla="*/ 6297 w 119"/>
                <a:gd name="T25" fmla="*/ 13578 h 161"/>
                <a:gd name="T26" fmla="*/ 3148 w 119"/>
                <a:gd name="T27" fmla="*/ 13578 h 161"/>
                <a:gd name="T28" fmla="*/ 3148 w 119"/>
                <a:gd name="T29" fmla="*/ 9584 h 161"/>
                <a:gd name="T30" fmla="*/ 10232 w 119"/>
                <a:gd name="T31" fmla="*/ 9584 h 161"/>
                <a:gd name="T32" fmla="*/ 13380 w 119"/>
                <a:gd name="T33" fmla="*/ 7188 h 161"/>
                <a:gd name="T34" fmla="*/ 10232 w 119"/>
                <a:gd name="T35" fmla="*/ 7188 h 161"/>
                <a:gd name="T36" fmla="*/ 10232 w 119"/>
                <a:gd name="T37" fmla="*/ 3993 h 161"/>
                <a:gd name="T38" fmla="*/ 16529 w 119"/>
                <a:gd name="T39" fmla="*/ 0 h 16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19"/>
                <a:gd name="T61" fmla="*/ 0 h 161"/>
                <a:gd name="T62" fmla="*/ 119 w 119"/>
                <a:gd name="T63" fmla="*/ 161 h 161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19" h="161">
                  <a:moveTo>
                    <a:pt x="86" y="0"/>
                  </a:moveTo>
                  <a:lnTo>
                    <a:pt x="69" y="33"/>
                  </a:lnTo>
                  <a:lnTo>
                    <a:pt x="86" y="48"/>
                  </a:lnTo>
                  <a:lnTo>
                    <a:pt x="119" y="48"/>
                  </a:lnTo>
                  <a:lnTo>
                    <a:pt x="119" y="65"/>
                  </a:lnTo>
                  <a:lnTo>
                    <a:pt x="119" y="96"/>
                  </a:lnTo>
                  <a:lnTo>
                    <a:pt x="102" y="144"/>
                  </a:lnTo>
                  <a:lnTo>
                    <a:pt x="17" y="161"/>
                  </a:lnTo>
                  <a:lnTo>
                    <a:pt x="0" y="144"/>
                  </a:lnTo>
                  <a:lnTo>
                    <a:pt x="17" y="144"/>
                  </a:lnTo>
                  <a:lnTo>
                    <a:pt x="35" y="96"/>
                  </a:lnTo>
                  <a:lnTo>
                    <a:pt x="17" y="81"/>
                  </a:lnTo>
                  <a:lnTo>
                    <a:pt x="35" y="65"/>
                  </a:lnTo>
                  <a:lnTo>
                    <a:pt x="17" y="65"/>
                  </a:lnTo>
                  <a:lnTo>
                    <a:pt x="17" y="48"/>
                  </a:lnTo>
                  <a:lnTo>
                    <a:pt x="52" y="48"/>
                  </a:lnTo>
                  <a:lnTo>
                    <a:pt x="69" y="33"/>
                  </a:lnTo>
                  <a:lnTo>
                    <a:pt x="52" y="33"/>
                  </a:lnTo>
                  <a:lnTo>
                    <a:pt x="52" y="18"/>
                  </a:lnTo>
                  <a:lnTo>
                    <a:pt x="86" y="0"/>
                  </a:lnTo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45" name="Freeform 243">
              <a:extLst>
                <a:ext uri="{FF2B5EF4-FFF2-40B4-BE49-F238E27FC236}">
                  <a16:creationId xmlns:a16="http://schemas.microsoft.com/office/drawing/2014/main" id="{F6C36005-8263-6813-0F57-43155085966E}"/>
                </a:ext>
              </a:extLst>
            </p:cNvPr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5202769" y="3856833"/>
              <a:ext cx="63018" cy="128313"/>
            </a:xfrm>
            <a:custGeom>
              <a:avLst/>
              <a:gdLst>
                <a:gd name="T0" fmla="*/ 9525 w 84"/>
                <a:gd name="T1" fmla="*/ 31950 h 159"/>
                <a:gd name="T2" fmla="*/ 9525 w 84"/>
                <a:gd name="T3" fmla="*/ 31950 h 159"/>
                <a:gd name="T4" fmla="*/ 13494 w 84"/>
                <a:gd name="T5" fmla="*/ 25560 h 159"/>
                <a:gd name="T6" fmla="*/ 9525 w 84"/>
                <a:gd name="T7" fmla="*/ 15975 h 159"/>
                <a:gd name="T8" fmla="*/ 13494 w 84"/>
                <a:gd name="T9" fmla="*/ 12780 h 159"/>
                <a:gd name="T10" fmla="*/ 13494 w 84"/>
                <a:gd name="T11" fmla="*/ 6390 h 159"/>
                <a:gd name="T12" fmla="*/ 16669 w 84"/>
                <a:gd name="T13" fmla="*/ 3195 h 159"/>
                <a:gd name="T14" fmla="*/ 16669 w 84"/>
                <a:gd name="T15" fmla="*/ 0 h 159"/>
                <a:gd name="T16" fmla="*/ 3969 w 84"/>
                <a:gd name="T17" fmla="*/ 0 h 159"/>
                <a:gd name="T18" fmla="*/ 3969 w 84"/>
                <a:gd name="T19" fmla="*/ 6390 h 159"/>
                <a:gd name="T20" fmla="*/ 0 w 84"/>
                <a:gd name="T21" fmla="*/ 22365 h 159"/>
                <a:gd name="T22" fmla="*/ 3969 w 84"/>
                <a:gd name="T23" fmla="*/ 22365 h 159"/>
                <a:gd name="T24" fmla="*/ 0 w 84"/>
                <a:gd name="T25" fmla="*/ 31950 h 159"/>
                <a:gd name="T26" fmla="*/ 9525 w 84"/>
                <a:gd name="T27" fmla="*/ 31950 h 15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84"/>
                <a:gd name="T43" fmla="*/ 0 h 159"/>
                <a:gd name="T44" fmla="*/ 84 w 84"/>
                <a:gd name="T45" fmla="*/ 159 h 15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84" h="159">
                  <a:moveTo>
                    <a:pt x="50" y="159"/>
                  </a:moveTo>
                  <a:lnTo>
                    <a:pt x="50" y="159"/>
                  </a:lnTo>
                  <a:lnTo>
                    <a:pt x="67" y="128"/>
                  </a:lnTo>
                  <a:lnTo>
                    <a:pt x="50" y="80"/>
                  </a:lnTo>
                  <a:lnTo>
                    <a:pt x="67" y="63"/>
                  </a:lnTo>
                  <a:lnTo>
                    <a:pt x="67" y="32"/>
                  </a:lnTo>
                  <a:lnTo>
                    <a:pt x="84" y="15"/>
                  </a:lnTo>
                  <a:lnTo>
                    <a:pt x="84" y="0"/>
                  </a:lnTo>
                  <a:lnTo>
                    <a:pt x="17" y="0"/>
                  </a:lnTo>
                  <a:lnTo>
                    <a:pt x="17" y="32"/>
                  </a:lnTo>
                  <a:lnTo>
                    <a:pt x="0" y="111"/>
                  </a:lnTo>
                  <a:lnTo>
                    <a:pt x="17" y="111"/>
                  </a:lnTo>
                  <a:lnTo>
                    <a:pt x="0" y="159"/>
                  </a:lnTo>
                  <a:lnTo>
                    <a:pt x="50" y="159"/>
                  </a:lnTo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46" name="Freeform 244">
              <a:extLst>
                <a:ext uri="{FF2B5EF4-FFF2-40B4-BE49-F238E27FC236}">
                  <a16:creationId xmlns:a16="http://schemas.microsoft.com/office/drawing/2014/main" id="{16BED823-8792-08F2-4305-385D52614AFC}"/>
                </a:ext>
              </a:extLst>
            </p:cNvPr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5253184" y="3333586"/>
              <a:ext cx="171723" cy="293285"/>
            </a:xfrm>
            <a:custGeom>
              <a:avLst/>
              <a:gdLst>
                <a:gd name="T0" fmla="*/ 7208 w 224"/>
                <a:gd name="T1" fmla="*/ 72827 h 369"/>
                <a:gd name="T2" fmla="*/ 10411 w 224"/>
                <a:gd name="T3" fmla="*/ 69661 h 369"/>
                <a:gd name="T4" fmla="*/ 17618 w 224"/>
                <a:gd name="T5" fmla="*/ 72827 h 369"/>
                <a:gd name="T6" fmla="*/ 17618 w 224"/>
                <a:gd name="T7" fmla="*/ 69661 h 369"/>
                <a:gd name="T8" fmla="*/ 20822 w 224"/>
                <a:gd name="T9" fmla="*/ 66494 h 369"/>
                <a:gd name="T10" fmla="*/ 24826 w 224"/>
                <a:gd name="T11" fmla="*/ 69661 h 369"/>
                <a:gd name="T12" fmla="*/ 28029 w 224"/>
                <a:gd name="T13" fmla="*/ 66494 h 369"/>
                <a:gd name="T14" fmla="*/ 41644 w 224"/>
                <a:gd name="T15" fmla="*/ 66494 h 369"/>
                <a:gd name="T16" fmla="*/ 45648 w 224"/>
                <a:gd name="T17" fmla="*/ 63328 h 369"/>
                <a:gd name="T18" fmla="*/ 38440 w 224"/>
                <a:gd name="T19" fmla="*/ 63328 h 369"/>
                <a:gd name="T20" fmla="*/ 45648 w 224"/>
                <a:gd name="T21" fmla="*/ 53829 h 369"/>
                <a:gd name="T22" fmla="*/ 41644 w 224"/>
                <a:gd name="T23" fmla="*/ 50662 h 369"/>
                <a:gd name="T24" fmla="*/ 38440 w 224"/>
                <a:gd name="T25" fmla="*/ 50662 h 369"/>
                <a:gd name="T26" fmla="*/ 35237 w 224"/>
                <a:gd name="T27" fmla="*/ 50662 h 369"/>
                <a:gd name="T28" fmla="*/ 38440 w 224"/>
                <a:gd name="T29" fmla="*/ 47496 h 369"/>
                <a:gd name="T30" fmla="*/ 38440 w 224"/>
                <a:gd name="T31" fmla="*/ 44330 h 369"/>
                <a:gd name="T32" fmla="*/ 35237 w 224"/>
                <a:gd name="T33" fmla="*/ 37997 h 369"/>
                <a:gd name="T34" fmla="*/ 31233 w 224"/>
                <a:gd name="T35" fmla="*/ 34830 h 369"/>
                <a:gd name="T36" fmla="*/ 24826 w 224"/>
                <a:gd name="T37" fmla="*/ 25331 h 369"/>
                <a:gd name="T38" fmla="*/ 17618 w 224"/>
                <a:gd name="T39" fmla="*/ 22165 h 369"/>
                <a:gd name="T40" fmla="*/ 28029 w 224"/>
                <a:gd name="T41" fmla="*/ 9499 h 369"/>
                <a:gd name="T42" fmla="*/ 24826 w 224"/>
                <a:gd name="T43" fmla="*/ 6333 h 369"/>
                <a:gd name="T44" fmla="*/ 14415 w 224"/>
                <a:gd name="T45" fmla="*/ 9499 h 369"/>
                <a:gd name="T46" fmla="*/ 14415 w 224"/>
                <a:gd name="T47" fmla="*/ 3166 h 369"/>
                <a:gd name="T48" fmla="*/ 20822 w 224"/>
                <a:gd name="T49" fmla="*/ 0 h 369"/>
                <a:gd name="T50" fmla="*/ 17618 w 224"/>
                <a:gd name="T51" fmla="*/ 0 h 369"/>
                <a:gd name="T52" fmla="*/ 10411 w 224"/>
                <a:gd name="T53" fmla="*/ 0 h 369"/>
                <a:gd name="T54" fmla="*/ 4004 w 224"/>
                <a:gd name="T55" fmla="*/ 9499 h 369"/>
                <a:gd name="T56" fmla="*/ 0 w 224"/>
                <a:gd name="T57" fmla="*/ 9499 h 369"/>
                <a:gd name="T58" fmla="*/ 4004 w 224"/>
                <a:gd name="T59" fmla="*/ 12666 h 369"/>
                <a:gd name="T60" fmla="*/ 7208 w 224"/>
                <a:gd name="T61" fmla="*/ 12666 h 369"/>
                <a:gd name="T62" fmla="*/ 4004 w 224"/>
                <a:gd name="T63" fmla="*/ 18998 h 369"/>
                <a:gd name="T64" fmla="*/ 7208 w 224"/>
                <a:gd name="T65" fmla="*/ 18998 h 369"/>
                <a:gd name="T66" fmla="*/ 7208 w 224"/>
                <a:gd name="T67" fmla="*/ 22165 h 369"/>
                <a:gd name="T68" fmla="*/ 4004 w 224"/>
                <a:gd name="T69" fmla="*/ 25331 h 369"/>
                <a:gd name="T70" fmla="*/ 7208 w 224"/>
                <a:gd name="T71" fmla="*/ 25331 h 369"/>
                <a:gd name="T72" fmla="*/ 7208 w 224"/>
                <a:gd name="T73" fmla="*/ 28498 h 369"/>
                <a:gd name="T74" fmla="*/ 7208 w 224"/>
                <a:gd name="T75" fmla="*/ 25331 h 369"/>
                <a:gd name="T76" fmla="*/ 10411 w 224"/>
                <a:gd name="T77" fmla="*/ 28498 h 369"/>
                <a:gd name="T78" fmla="*/ 7208 w 224"/>
                <a:gd name="T79" fmla="*/ 31664 h 369"/>
                <a:gd name="T80" fmla="*/ 10411 w 224"/>
                <a:gd name="T81" fmla="*/ 34830 h 369"/>
                <a:gd name="T82" fmla="*/ 17618 w 224"/>
                <a:gd name="T83" fmla="*/ 31664 h 369"/>
                <a:gd name="T84" fmla="*/ 17618 w 224"/>
                <a:gd name="T85" fmla="*/ 34830 h 369"/>
                <a:gd name="T86" fmla="*/ 17618 w 224"/>
                <a:gd name="T87" fmla="*/ 37997 h 369"/>
                <a:gd name="T88" fmla="*/ 20822 w 224"/>
                <a:gd name="T89" fmla="*/ 37997 h 369"/>
                <a:gd name="T90" fmla="*/ 20822 w 224"/>
                <a:gd name="T91" fmla="*/ 44330 h 369"/>
                <a:gd name="T92" fmla="*/ 10411 w 224"/>
                <a:gd name="T93" fmla="*/ 44330 h 369"/>
                <a:gd name="T94" fmla="*/ 14415 w 224"/>
                <a:gd name="T95" fmla="*/ 47496 h 369"/>
                <a:gd name="T96" fmla="*/ 10411 w 224"/>
                <a:gd name="T97" fmla="*/ 50662 h 369"/>
                <a:gd name="T98" fmla="*/ 14415 w 224"/>
                <a:gd name="T99" fmla="*/ 50662 h 369"/>
                <a:gd name="T100" fmla="*/ 14415 w 224"/>
                <a:gd name="T101" fmla="*/ 53829 h 369"/>
                <a:gd name="T102" fmla="*/ 7208 w 224"/>
                <a:gd name="T103" fmla="*/ 56995 h 369"/>
                <a:gd name="T104" fmla="*/ 10411 w 224"/>
                <a:gd name="T105" fmla="*/ 60162 h 369"/>
                <a:gd name="T106" fmla="*/ 14415 w 224"/>
                <a:gd name="T107" fmla="*/ 60162 h 369"/>
                <a:gd name="T108" fmla="*/ 17618 w 224"/>
                <a:gd name="T109" fmla="*/ 63328 h 369"/>
                <a:gd name="T110" fmla="*/ 20822 w 224"/>
                <a:gd name="T111" fmla="*/ 60162 h 369"/>
                <a:gd name="T112" fmla="*/ 20822 w 224"/>
                <a:gd name="T113" fmla="*/ 63328 h 369"/>
                <a:gd name="T114" fmla="*/ 14415 w 224"/>
                <a:gd name="T115" fmla="*/ 63328 h 369"/>
                <a:gd name="T116" fmla="*/ 7208 w 224"/>
                <a:gd name="T117" fmla="*/ 72827 h 36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24"/>
                <a:gd name="T178" fmla="*/ 0 h 369"/>
                <a:gd name="T179" fmla="*/ 224 w 224"/>
                <a:gd name="T180" fmla="*/ 369 h 36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24" h="369">
                  <a:moveTo>
                    <a:pt x="34" y="369"/>
                  </a:moveTo>
                  <a:lnTo>
                    <a:pt x="52" y="353"/>
                  </a:lnTo>
                  <a:lnTo>
                    <a:pt x="86" y="369"/>
                  </a:lnTo>
                  <a:lnTo>
                    <a:pt x="86" y="353"/>
                  </a:lnTo>
                  <a:lnTo>
                    <a:pt x="103" y="336"/>
                  </a:lnTo>
                  <a:lnTo>
                    <a:pt x="121" y="353"/>
                  </a:lnTo>
                  <a:lnTo>
                    <a:pt x="138" y="336"/>
                  </a:lnTo>
                  <a:lnTo>
                    <a:pt x="207" y="336"/>
                  </a:lnTo>
                  <a:lnTo>
                    <a:pt x="224" y="321"/>
                  </a:lnTo>
                  <a:lnTo>
                    <a:pt x="190" y="321"/>
                  </a:lnTo>
                  <a:lnTo>
                    <a:pt x="224" y="273"/>
                  </a:lnTo>
                  <a:lnTo>
                    <a:pt x="207" y="257"/>
                  </a:lnTo>
                  <a:lnTo>
                    <a:pt x="190" y="257"/>
                  </a:lnTo>
                  <a:lnTo>
                    <a:pt x="172" y="257"/>
                  </a:lnTo>
                  <a:lnTo>
                    <a:pt x="190" y="240"/>
                  </a:lnTo>
                  <a:lnTo>
                    <a:pt x="190" y="225"/>
                  </a:lnTo>
                  <a:lnTo>
                    <a:pt x="172" y="192"/>
                  </a:lnTo>
                  <a:lnTo>
                    <a:pt x="155" y="177"/>
                  </a:lnTo>
                  <a:lnTo>
                    <a:pt x="121" y="129"/>
                  </a:lnTo>
                  <a:lnTo>
                    <a:pt x="86" y="114"/>
                  </a:lnTo>
                  <a:lnTo>
                    <a:pt x="138" y="48"/>
                  </a:lnTo>
                  <a:lnTo>
                    <a:pt x="121" y="33"/>
                  </a:lnTo>
                  <a:lnTo>
                    <a:pt x="69" y="48"/>
                  </a:lnTo>
                  <a:lnTo>
                    <a:pt x="69" y="18"/>
                  </a:lnTo>
                  <a:lnTo>
                    <a:pt x="103" y="0"/>
                  </a:lnTo>
                  <a:lnTo>
                    <a:pt x="86" y="0"/>
                  </a:lnTo>
                  <a:lnTo>
                    <a:pt x="52" y="0"/>
                  </a:lnTo>
                  <a:lnTo>
                    <a:pt x="17" y="48"/>
                  </a:lnTo>
                  <a:lnTo>
                    <a:pt x="0" y="48"/>
                  </a:lnTo>
                  <a:lnTo>
                    <a:pt x="17" y="66"/>
                  </a:lnTo>
                  <a:lnTo>
                    <a:pt x="34" y="66"/>
                  </a:lnTo>
                  <a:lnTo>
                    <a:pt x="17" y="96"/>
                  </a:lnTo>
                  <a:lnTo>
                    <a:pt x="34" y="96"/>
                  </a:lnTo>
                  <a:lnTo>
                    <a:pt x="34" y="114"/>
                  </a:lnTo>
                  <a:lnTo>
                    <a:pt x="17" y="129"/>
                  </a:lnTo>
                  <a:lnTo>
                    <a:pt x="34" y="129"/>
                  </a:lnTo>
                  <a:lnTo>
                    <a:pt x="34" y="144"/>
                  </a:lnTo>
                  <a:lnTo>
                    <a:pt x="34" y="129"/>
                  </a:lnTo>
                  <a:lnTo>
                    <a:pt x="52" y="144"/>
                  </a:lnTo>
                  <a:lnTo>
                    <a:pt x="34" y="162"/>
                  </a:lnTo>
                  <a:lnTo>
                    <a:pt x="52" y="177"/>
                  </a:lnTo>
                  <a:lnTo>
                    <a:pt x="86" y="162"/>
                  </a:lnTo>
                  <a:lnTo>
                    <a:pt x="86" y="177"/>
                  </a:lnTo>
                  <a:lnTo>
                    <a:pt x="86" y="192"/>
                  </a:lnTo>
                  <a:lnTo>
                    <a:pt x="103" y="192"/>
                  </a:lnTo>
                  <a:lnTo>
                    <a:pt x="103" y="225"/>
                  </a:lnTo>
                  <a:lnTo>
                    <a:pt x="52" y="225"/>
                  </a:lnTo>
                  <a:lnTo>
                    <a:pt x="69" y="240"/>
                  </a:lnTo>
                  <a:lnTo>
                    <a:pt x="52" y="257"/>
                  </a:lnTo>
                  <a:lnTo>
                    <a:pt x="69" y="257"/>
                  </a:lnTo>
                  <a:lnTo>
                    <a:pt x="69" y="273"/>
                  </a:lnTo>
                  <a:lnTo>
                    <a:pt x="34" y="288"/>
                  </a:lnTo>
                  <a:lnTo>
                    <a:pt x="52" y="305"/>
                  </a:lnTo>
                  <a:lnTo>
                    <a:pt x="69" y="305"/>
                  </a:lnTo>
                  <a:lnTo>
                    <a:pt x="86" y="321"/>
                  </a:lnTo>
                  <a:lnTo>
                    <a:pt x="103" y="305"/>
                  </a:lnTo>
                  <a:lnTo>
                    <a:pt x="103" y="321"/>
                  </a:lnTo>
                  <a:lnTo>
                    <a:pt x="69" y="321"/>
                  </a:lnTo>
                  <a:lnTo>
                    <a:pt x="34" y="369"/>
                  </a:lnTo>
                </a:path>
              </a:pathLst>
            </a:custGeom>
            <a:solidFill>
              <a:srgbClr val="C4C4C4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47" name="Freeform 245">
              <a:extLst>
                <a:ext uri="{FF2B5EF4-FFF2-40B4-BE49-F238E27FC236}">
                  <a16:creationId xmlns:a16="http://schemas.microsoft.com/office/drawing/2014/main" id="{13CD5481-B77F-CAE0-0833-0842263BA5BA}"/>
                </a:ext>
              </a:extLst>
            </p:cNvPr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5435935" y="3908492"/>
              <a:ext cx="28358" cy="24995"/>
            </a:xfrm>
            <a:custGeom>
              <a:avLst/>
              <a:gdLst>
                <a:gd name="T0" fmla="*/ 0 w 34"/>
                <a:gd name="T1" fmla="*/ 3079 h 33"/>
                <a:gd name="T2" fmla="*/ 0 w 34"/>
                <a:gd name="T3" fmla="*/ 3079 h 33"/>
                <a:gd name="T4" fmla="*/ 4202 w 34"/>
                <a:gd name="T5" fmla="*/ 6158 h 33"/>
                <a:gd name="T6" fmla="*/ 8404 w 34"/>
                <a:gd name="T7" fmla="*/ 3079 h 33"/>
                <a:gd name="T8" fmla="*/ 4202 w 34"/>
                <a:gd name="T9" fmla="*/ 0 h 33"/>
                <a:gd name="T10" fmla="*/ 0 w 34"/>
                <a:gd name="T11" fmla="*/ 3079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4"/>
                <a:gd name="T19" fmla="*/ 0 h 33"/>
                <a:gd name="T20" fmla="*/ 34 w 34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4" h="33">
                  <a:moveTo>
                    <a:pt x="0" y="17"/>
                  </a:moveTo>
                  <a:lnTo>
                    <a:pt x="0" y="17"/>
                  </a:lnTo>
                  <a:lnTo>
                    <a:pt x="17" y="33"/>
                  </a:lnTo>
                  <a:lnTo>
                    <a:pt x="34" y="17"/>
                  </a:lnTo>
                  <a:lnTo>
                    <a:pt x="17" y="0"/>
                  </a:lnTo>
                  <a:lnTo>
                    <a:pt x="0" y="17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48" name="Freeform 246">
              <a:extLst>
                <a:ext uri="{FF2B5EF4-FFF2-40B4-BE49-F238E27FC236}">
                  <a16:creationId xmlns:a16="http://schemas.microsoft.com/office/drawing/2014/main" id="{3346E190-BF9E-45F3-89A5-6126A42A8634}"/>
                </a:ext>
              </a:extLst>
            </p:cNvPr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5043649" y="4190111"/>
              <a:ext cx="15754" cy="11665"/>
            </a:xfrm>
            <a:custGeom>
              <a:avLst/>
              <a:gdLst>
                <a:gd name="T0" fmla="*/ 0 w 20"/>
                <a:gd name="T1" fmla="*/ 0 h 15"/>
                <a:gd name="T2" fmla="*/ 0 w 20"/>
                <a:gd name="T3" fmla="*/ 0 h 15"/>
                <a:gd name="T4" fmla="*/ 0 w 20"/>
                <a:gd name="T5" fmla="*/ 3387 h 15"/>
                <a:gd name="T6" fmla="*/ 3969 w 20"/>
                <a:gd name="T7" fmla="*/ 0 h 15"/>
                <a:gd name="T8" fmla="*/ 0 w 20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"/>
                <a:gd name="T16" fmla="*/ 0 h 15"/>
                <a:gd name="T17" fmla="*/ 20 w 20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" h="15">
                  <a:moveTo>
                    <a:pt x="0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49" name="Freeform 248">
              <a:extLst>
                <a:ext uri="{FF2B5EF4-FFF2-40B4-BE49-F238E27FC236}">
                  <a16:creationId xmlns:a16="http://schemas.microsoft.com/office/drawing/2014/main" id="{811A3F99-0B40-A721-0AFD-52641608A25B}"/>
                </a:ext>
              </a:extLst>
            </p:cNvPr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5098790" y="4190111"/>
              <a:ext cx="9453" cy="11665"/>
            </a:xfrm>
            <a:custGeom>
              <a:avLst/>
              <a:gdLst>
                <a:gd name="T0" fmla="*/ 2084 w 16"/>
                <a:gd name="T1" fmla="*/ 0 h 15"/>
                <a:gd name="T2" fmla="*/ 2084 w 16"/>
                <a:gd name="T3" fmla="*/ 0 h 15"/>
                <a:gd name="T4" fmla="*/ 0 w 16"/>
                <a:gd name="T5" fmla="*/ 3387 h 15"/>
                <a:gd name="T6" fmla="*/ 2084 w 16"/>
                <a:gd name="T7" fmla="*/ 3387 h 15"/>
                <a:gd name="T8" fmla="*/ 2084 w 16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15"/>
                <a:gd name="T17" fmla="*/ 16 w 16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15">
                  <a:moveTo>
                    <a:pt x="16" y="0"/>
                  </a:moveTo>
                  <a:lnTo>
                    <a:pt x="16" y="0"/>
                  </a:lnTo>
                  <a:lnTo>
                    <a:pt x="0" y="15"/>
                  </a:lnTo>
                  <a:lnTo>
                    <a:pt x="16" y="15"/>
                  </a:lnTo>
                  <a:lnTo>
                    <a:pt x="16" y="0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50" name="Freeform 249">
              <a:extLst>
                <a:ext uri="{FF2B5EF4-FFF2-40B4-BE49-F238E27FC236}">
                  <a16:creationId xmlns:a16="http://schemas.microsoft.com/office/drawing/2014/main" id="{5C115338-CD66-6126-3598-5EB615122274}"/>
                </a:ext>
              </a:extLst>
            </p:cNvPr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5554093" y="3371913"/>
              <a:ext cx="66169" cy="89985"/>
            </a:xfrm>
            <a:custGeom>
              <a:avLst/>
              <a:gdLst>
                <a:gd name="T0" fmla="*/ 3969 w 88"/>
                <a:gd name="T1" fmla="*/ 23019 h 114"/>
                <a:gd name="T2" fmla="*/ 3969 w 88"/>
                <a:gd name="T3" fmla="*/ 23019 h 114"/>
                <a:gd name="T4" fmla="*/ 7938 w 88"/>
                <a:gd name="T5" fmla="*/ 23019 h 114"/>
                <a:gd name="T6" fmla="*/ 10319 w 88"/>
                <a:gd name="T7" fmla="*/ 23019 h 114"/>
                <a:gd name="T8" fmla="*/ 14288 w 88"/>
                <a:gd name="T9" fmla="*/ 13494 h 114"/>
                <a:gd name="T10" fmla="*/ 17463 w 88"/>
                <a:gd name="T11" fmla="*/ 13494 h 114"/>
                <a:gd name="T12" fmla="*/ 17463 w 88"/>
                <a:gd name="T13" fmla="*/ 9525 h 114"/>
                <a:gd name="T14" fmla="*/ 14288 w 88"/>
                <a:gd name="T15" fmla="*/ 9525 h 114"/>
                <a:gd name="T16" fmla="*/ 14288 w 88"/>
                <a:gd name="T17" fmla="*/ 0 h 114"/>
                <a:gd name="T18" fmla="*/ 3969 w 88"/>
                <a:gd name="T19" fmla="*/ 3969 h 114"/>
                <a:gd name="T20" fmla="*/ 0 w 88"/>
                <a:gd name="T21" fmla="*/ 9525 h 114"/>
                <a:gd name="T22" fmla="*/ 0 w 88"/>
                <a:gd name="T23" fmla="*/ 16669 h 114"/>
                <a:gd name="T24" fmla="*/ 3969 w 88"/>
                <a:gd name="T25" fmla="*/ 19050 h 114"/>
                <a:gd name="T26" fmla="*/ 3969 w 88"/>
                <a:gd name="T27" fmla="*/ 23019 h 11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88"/>
                <a:gd name="T43" fmla="*/ 0 h 114"/>
                <a:gd name="T44" fmla="*/ 88 w 88"/>
                <a:gd name="T45" fmla="*/ 114 h 114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88" h="114">
                  <a:moveTo>
                    <a:pt x="19" y="114"/>
                  </a:moveTo>
                  <a:lnTo>
                    <a:pt x="19" y="114"/>
                  </a:lnTo>
                  <a:lnTo>
                    <a:pt x="37" y="114"/>
                  </a:lnTo>
                  <a:lnTo>
                    <a:pt x="54" y="114"/>
                  </a:lnTo>
                  <a:lnTo>
                    <a:pt x="71" y="66"/>
                  </a:lnTo>
                  <a:lnTo>
                    <a:pt x="88" y="66"/>
                  </a:lnTo>
                  <a:lnTo>
                    <a:pt x="88" y="48"/>
                  </a:lnTo>
                  <a:lnTo>
                    <a:pt x="71" y="48"/>
                  </a:lnTo>
                  <a:lnTo>
                    <a:pt x="71" y="0"/>
                  </a:lnTo>
                  <a:lnTo>
                    <a:pt x="19" y="18"/>
                  </a:lnTo>
                  <a:lnTo>
                    <a:pt x="0" y="48"/>
                  </a:lnTo>
                  <a:lnTo>
                    <a:pt x="0" y="81"/>
                  </a:lnTo>
                  <a:lnTo>
                    <a:pt x="19" y="96"/>
                  </a:lnTo>
                  <a:lnTo>
                    <a:pt x="19" y="114"/>
                  </a:lnTo>
                  <a:close/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51" name="Freeform 250">
              <a:extLst>
                <a:ext uri="{FF2B5EF4-FFF2-40B4-BE49-F238E27FC236}">
                  <a16:creationId xmlns:a16="http://schemas.microsoft.com/office/drawing/2014/main" id="{B9206597-32E1-1553-2F20-A58FAF522DFD}"/>
                </a:ext>
              </a:extLst>
            </p:cNvPr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5464293" y="3511890"/>
              <a:ext cx="75621" cy="89985"/>
            </a:xfrm>
            <a:custGeom>
              <a:avLst/>
              <a:gdLst>
                <a:gd name="T0" fmla="*/ 13234 w 104"/>
                <a:gd name="T1" fmla="*/ 22425 h 111"/>
                <a:gd name="T2" fmla="*/ 13234 w 104"/>
                <a:gd name="T3" fmla="*/ 22425 h 111"/>
                <a:gd name="T4" fmla="*/ 13234 w 104"/>
                <a:gd name="T5" fmla="*/ 12814 h 111"/>
                <a:gd name="T6" fmla="*/ 16348 w 104"/>
                <a:gd name="T7" fmla="*/ 9611 h 111"/>
                <a:gd name="T8" fmla="*/ 19462 w 104"/>
                <a:gd name="T9" fmla="*/ 0 h 111"/>
                <a:gd name="T10" fmla="*/ 10120 w 104"/>
                <a:gd name="T11" fmla="*/ 3204 h 111"/>
                <a:gd name="T12" fmla="*/ 13234 w 104"/>
                <a:gd name="T13" fmla="*/ 9611 h 111"/>
                <a:gd name="T14" fmla="*/ 10120 w 104"/>
                <a:gd name="T15" fmla="*/ 9611 h 111"/>
                <a:gd name="T16" fmla="*/ 10120 w 104"/>
                <a:gd name="T17" fmla="*/ 6407 h 111"/>
                <a:gd name="T18" fmla="*/ 6228 w 104"/>
                <a:gd name="T19" fmla="*/ 6407 h 111"/>
                <a:gd name="T20" fmla="*/ 0 w 104"/>
                <a:gd name="T21" fmla="*/ 19222 h 111"/>
                <a:gd name="T22" fmla="*/ 10120 w 104"/>
                <a:gd name="T23" fmla="*/ 19222 h 111"/>
                <a:gd name="T24" fmla="*/ 13234 w 104"/>
                <a:gd name="T25" fmla="*/ 22425 h 1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04"/>
                <a:gd name="T40" fmla="*/ 0 h 111"/>
                <a:gd name="T41" fmla="*/ 104 w 104"/>
                <a:gd name="T42" fmla="*/ 111 h 11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04" h="111">
                  <a:moveTo>
                    <a:pt x="69" y="111"/>
                  </a:moveTo>
                  <a:lnTo>
                    <a:pt x="69" y="111"/>
                  </a:lnTo>
                  <a:lnTo>
                    <a:pt x="69" y="63"/>
                  </a:lnTo>
                  <a:lnTo>
                    <a:pt x="87" y="48"/>
                  </a:lnTo>
                  <a:lnTo>
                    <a:pt x="104" y="0"/>
                  </a:lnTo>
                  <a:lnTo>
                    <a:pt x="52" y="15"/>
                  </a:lnTo>
                  <a:lnTo>
                    <a:pt x="69" y="48"/>
                  </a:lnTo>
                  <a:lnTo>
                    <a:pt x="52" y="48"/>
                  </a:lnTo>
                  <a:lnTo>
                    <a:pt x="52" y="32"/>
                  </a:lnTo>
                  <a:lnTo>
                    <a:pt x="35" y="32"/>
                  </a:lnTo>
                  <a:lnTo>
                    <a:pt x="0" y="96"/>
                  </a:lnTo>
                  <a:lnTo>
                    <a:pt x="52" y="96"/>
                  </a:lnTo>
                  <a:lnTo>
                    <a:pt x="69" y="111"/>
                  </a:lnTo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52" name="Freeform 251">
              <a:extLst>
                <a:ext uri="{FF2B5EF4-FFF2-40B4-BE49-F238E27FC236}">
                  <a16:creationId xmlns:a16="http://schemas.microsoft.com/office/drawing/2014/main" id="{49C044CC-BDDA-024B-3DFE-27E11CFDF108}"/>
                </a:ext>
              </a:extLst>
            </p:cNvPr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5448539" y="3588544"/>
              <a:ext cx="66169" cy="51658"/>
            </a:xfrm>
            <a:custGeom>
              <a:avLst/>
              <a:gdLst>
                <a:gd name="T0" fmla="*/ 14288 w 88"/>
                <a:gd name="T1" fmla="*/ 12902 h 63"/>
                <a:gd name="T2" fmla="*/ 14288 w 88"/>
                <a:gd name="T3" fmla="*/ 12902 h 63"/>
                <a:gd name="T4" fmla="*/ 10319 w 88"/>
                <a:gd name="T5" fmla="*/ 12902 h 63"/>
                <a:gd name="T6" fmla="*/ 10319 w 88"/>
                <a:gd name="T7" fmla="*/ 9676 h 63"/>
                <a:gd name="T8" fmla="*/ 7144 w 88"/>
                <a:gd name="T9" fmla="*/ 9676 h 63"/>
                <a:gd name="T10" fmla="*/ 7144 w 88"/>
                <a:gd name="T11" fmla="*/ 6451 h 63"/>
                <a:gd name="T12" fmla="*/ 0 w 88"/>
                <a:gd name="T13" fmla="*/ 3225 h 63"/>
                <a:gd name="T14" fmla="*/ 0 w 88"/>
                <a:gd name="T15" fmla="*/ 0 h 63"/>
                <a:gd name="T16" fmla="*/ 3969 w 88"/>
                <a:gd name="T17" fmla="*/ 0 h 63"/>
                <a:gd name="T18" fmla="*/ 14288 w 88"/>
                <a:gd name="T19" fmla="*/ 0 h 63"/>
                <a:gd name="T20" fmla="*/ 17463 w 88"/>
                <a:gd name="T21" fmla="*/ 3225 h 63"/>
                <a:gd name="T22" fmla="*/ 17463 w 88"/>
                <a:gd name="T23" fmla="*/ 9676 h 63"/>
                <a:gd name="T24" fmla="*/ 14288 w 88"/>
                <a:gd name="T25" fmla="*/ 9676 h 63"/>
                <a:gd name="T26" fmla="*/ 14288 w 88"/>
                <a:gd name="T27" fmla="*/ 12902 h 6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88"/>
                <a:gd name="T43" fmla="*/ 0 h 63"/>
                <a:gd name="T44" fmla="*/ 88 w 88"/>
                <a:gd name="T45" fmla="*/ 63 h 63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88" h="63">
                  <a:moveTo>
                    <a:pt x="71" y="63"/>
                  </a:moveTo>
                  <a:lnTo>
                    <a:pt x="71" y="63"/>
                  </a:lnTo>
                  <a:lnTo>
                    <a:pt x="54" y="63"/>
                  </a:lnTo>
                  <a:lnTo>
                    <a:pt x="54" y="48"/>
                  </a:lnTo>
                  <a:lnTo>
                    <a:pt x="36" y="48"/>
                  </a:lnTo>
                  <a:lnTo>
                    <a:pt x="36" y="32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9" y="0"/>
                  </a:lnTo>
                  <a:lnTo>
                    <a:pt x="71" y="0"/>
                  </a:lnTo>
                  <a:lnTo>
                    <a:pt x="88" y="15"/>
                  </a:lnTo>
                  <a:lnTo>
                    <a:pt x="88" y="48"/>
                  </a:lnTo>
                  <a:lnTo>
                    <a:pt x="71" y="48"/>
                  </a:lnTo>
                  <a:lnTo>
                    <a:pt x="71" y="63"/>
                  </a:lnTo>
                  <a:close/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53" name="Freeform 252">
              <a:extLst>
                <a:ext uri="{FF2B5EF4-FFF2-40B4-BE49-F238E27FC236}">
                  <a16:creationId xmlns:a16="http://schemas.microsoft.com/office/drawing/2014/main" id="{576B6B6C-299F-150A-F86C-0322EB9A1440}"/>
                </a:ext>
              </a:extLst>
            </p:cNvPr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5579300" y="3655200"/>
              <a:ext cx="159120" cy="76654"/>
            </a:xfrm>
            <a:custGeom>
              <a:avLst/>
              <a:gdLst>
                <a:gd name="T0" fmla="*/ 0 w 209"/>
                <a:gd name="T1" fmla="*/ 12700 h 96"/>
                <a:gd name="T2" fmla="*/ 0 w 209"/>
                <a:gd name="T3" fmla="*/ 12700 h 96"/>
                <a:gd name="T4" fmla="*/ 7178 w 209"/>
                <a:gd name="T5" fmla="*/ 12700 h 96"/>
                <a:gd name="T6" fmla="*/ 21534 w 209"/>
                <a:gd name="T7" fmla="*/ 9525 h 96"/>
                <a:gd name="T8" fmla="*/ 21534 w 209"/>
                <a:gd name="T9" fmla="*/ 5556 h 96"/>
                <a:gd name="T10" fmla="*/ 24724 w 209"/>
                <a:gd name="T11" fmla="*/ 3175 h 96"/>
                <a:gd name="T12" fmla="*/ 31902 w 209"/>
                <a:gd name="T13" fmla="*/ 3175 h 96"/>
                <a:gd name="T14" fmla="*/ 31902 w 209"/>
                <a:gd name="T15" fmla="*/ 0 h 96"/>
                <a:gd name="T16" fmla="*/ 42270 w 209"/>
                <a:gd name="T17" fmla="*/ 3175 h 96"/>
                <a:gd name="T18" fmla="*/ 42270 w 209"/>
                <a:gd name="T19" fmla="*/ 9525 h 96"/>
                <a:gd name="T20" fmla="*/ 38282 w 209"/>
                <a:gd name="T21" fmla="*/ 15875 h 96"/>
                <a:gd name="T22" fmla="*/ 24724 w 209"/>
                <a:gd name="T23" fmla="*/ 19050 h 96"/>
                <a:gd name="T24" fmla="*/ 17546 w 209"/>
                <a:gd name="T25" fmla="*/ 15875 h 96"/>
                <a:gd name="T26" fmla="*/ 7178 w 209"/>
                <a:gd name="T27" fmla="*/ 15875 h 96"/>
                <a:gd name="T28" fmla="*/ 3988 w 209"/>
                <a:gd name="T29" fmla="*/ 15875 h 96"/>
                <a:gd name="T30" fmla="*/ 0 w 209"/>
                <a:gd name="T31" fmla="*/ 12700 h 9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9"/>
                <a:gd name="T49" fmla="*/ 0 h 96"/>
                <a:gd name="T50" fmla="*/ 209 w 209"/>
                <a:gd name="T51" fmla="*/ 96 h 9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9" h="96">
                  <a:moveTo>
                    <a:pt x="0" y="64"/>
                  </a:moveTo>
                  <a:lnTo>
                    <a:pt x="0" y="64"/>
                  </a:lnTo>
                  <a:lnTo>
                    <a:pt x="34" y="64"/>
                  </a:lnTo>
                  <a:lnTo>
                    <a:pt x="105" y="48"/>
                  </a:lnTo>
                  <a:lnTo>
                    <a:pt x="105" y="31"/>
                  </a:lnTo>
                  <a:lnTo>
                    <a:pt x="123" y="16"/>
                  </a:lnTo>
                  <a:lnTo>
                    <a:pt x="157" y="16"/>
                  </a:lnTo>
                  <a:lnTo>
                    <a:pt x="157" y="0"/>
                  </a:lnTo>
                  <a:lnTo>
                    <a:pt x="209" y="16"/>
                  </a:lnTo>
                  <a:lnTo>
                    <a:pt x="209" y="48"/>
                  </a:lnTo>
                  <a:lnTo>
                    <a:pt x="192" y="79"/>
                  </a:lnTo>
                  <a:lnTo>
                    <a:pt x="123" y="96"/>
                  </a:lnTo>
                  <a:lnTo>
                    <a:pt x="88" y="79"/>
                  </a:lnTo>
                  <a:lnTo>
                    <a:pt x="34" y="79"/>
                  </a:lnTo>
                  <a:lnTo>
                    <a:pt x="17" y="79"/>
                  </a:lnTo>
                  <a:lnTo>
                    <a:pt x="0" y="64"/>
                  </a:lnTo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54" name="Freeform 253">
              <a:extLst>
                <a:ext uri="{FF2B5EF4-FFF2-40B4-BE49-F238E27FC236}">
                  <a16:creationId xmlns:a16="http://schemas.microsoft.com/office/drawing/2014/main" id="{E99313F2-A96C-9271-EA37-4EF14623CC04}"/>
                </a:ext>
              </a:extLst>
            </p:cNvPr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5514708" y="3703525"/>
              <a:ext cx="94527" cy="51659"/>
            </a:xfrm>
            <a:custGeom>
              <a:avLst/>
              <a:gdLst>
                <a:gd name="T0" fmla="*/ 7202 w 123"/>
                <a:gd name="T1" fmla="*/ 12902 h 63"/>
                <a:gd name="T2" fmla="*/ 7202 w 123"/>
                <a:gd name="T3" fmla="*/ 12902 h 63"/>
                <a:gd name="T4" fmla="*/ 14404 w 123"/>
                <a:gd name="T5" fmla="*/ 9676 h 63"/>
                <a:gd name="T6" fmla="*/ 18405 w 123"/>
                <a:gd name="T7" fmla="*/ 9676 h 63"/>
                <a:gd name="T8" fmla="*/ 18405 w 123"/>
                <a:gd name="T9" fmla="*/ 6451 h 63"/>
                <a:gd name="T10" fmla="*/ 21605 w 123"/>
                <a:gd name="T11" fmla="*/ 9676 h 63"/>
                <a:gd name="T12" fmla="*/ 24806 w 123"/>
                <a:gd name="T13" fmla="*/ 3225 h 63"/>
                <a:gd name="T14" fmla="*/ 21605 w 123"/>
                <a:gd name="T15" fmla="*/ 3225 h 63"/>
                <a:gd name="T16" fmla="*/ 18405 w 123"/>
                <a:gd name="T17" fmla="*/ 0 h 63"/>
                <a:gd name="T18" fmla="*/ 7202 w 123"/>
                <a:gd name="T19" fmla="*/ 0 h 63"/>
                <a:gd name="T20" fmla="*/ 4001 w 123"/>
                <a:gd name="T21" fmla="*/ 0 h 63"/>
                <a:gd name="T22" fmla="*/ 0 w 123"/>
                <a:gd name="T23" fmla="*/ 6451 h 63"/>
                <a:gd name="T24" fmla="*/ 0 w 123"/>
                <a:gd name="T25" fmla="*/ 9676 h 63"/>
                <a:gd name="T26" fmla="*/ 4001 w 123"/>
                <a:gd name="T27" fmla="*/ 6451 h 63"/>
                <a:gd name="T28" fmla="*/ 4001 w 123"/>
                <a:gd name="T29" fmla="*/ 12902 h 63"/>
                <a:gd name="T30" fmla="*/ 7202 w 123"/>
                <a:gd name="T31" fmla="*/ 12902 h 6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3"/>
                <a:gd name="T49" fmla="*/ 0 h 63"/>
                <a:gd name="T50" fmla="*/ 123 w 123"/>
                <a:gd name="T51" fmla="*/ 63 h 6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3" h="63">
                  <a:moveTo>
                    <a:pt x="35" y="63"/>
                  </a:moveTo>
                  <a:lnTo>
                    <a:pt x="35" y="63"/>
                  </a:lnTo>
                  <a:lnTo>
                    <a:pt x="71" y="48"/>
                  </a:lnTo>
                  <a:lnTo>
                    <a:pt x="89" y="48"/>
                  </a:lnTo>
                  <a:lnTo>
                    <a:pt x="89" y="32"/>
                  </a:lnTo>
                  <a:lnTo>
                    <a:pt x="106" y="48"/>
                  </a:lnTo>
                  <a:lnTo>
                    <a:pt x="123" y="15"/>
                  </a:lnTo>
                  <a:lnTo>
                    <a:pt x="106" y="15"/>
                  </a:lnTo>
                  <a:lnTo>
                    <a:pt x="89" y="0"/>
                  </a:lnTo>
                  <a:lnTo>
                    <a:pt x="35" y="0"/>
                  </a:lnTo>
                  <a:lnTo>
                    <a:pt x="18" y="0"/>
                  </a:lnTo>
                  <a:lnTo>
                    <a:pt x="0" y="32"/>
                  </a:lnTo>
                  <a:lnTo>
                    <a:pt x="0" y="48"/>
                  </a:lnTo>
                  <a:lnTo>
                    <a:pt x="18" y="32"/>
                  </a:lnTo>
                  <a:lnTo>
                    <a:pt x="18" y="63"/>
                  </a:lnTo>
                  <a:lnTo>
                    <a:pt x="35" y="63"/>
                  </a:lnTo>
                  <a:close/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55" name="Freeform 254">
              <a:extLst>
                <a:ext uri="{FF2B5EF4-FFF2-40B4-BE49-F238E27FC236}">
                  <a16:creationId xmlns:a16="http://schemas.microsoft.com/office/drawing/2014/main" id="{1989C27A-BBF5-3514-68E6-77C61634BCD3}"/>
                </a:ext>
              </a:extLst>
            </p:cNvPr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5242155" y="3333586"/>
              <a:ext cx="23632" cy="38328"/>
            </a:xfrm>
            <a:custGeom>
              <a:avLst/>
              <a:gdLst>
                <a:gd name="T0" fmla="*/ 0 w 33"/>
                <a:gd name="T1" fmla="*/ 9525 h 48"/>
                <a:gd name="T2" fmla="*/ 3079 w 33"/>
                <a:gd name="T3" fmla="*/ 3969 h 48"/>
                <a:gd name="T4" fmla="*/ 6158 w 33"/>
                <a:gd name="T5" fmla="*/ 0 h 48"/>
                <a:gd name="T6" fmla="*/ 0 w 33"/>
                <a:gd name="T7" fmla="*/ 3969 h 48"/>
                <a:gd name="T8" fmla="*/ 0 w 33"/>
                <a:gd name="T9" fmla="*/ 9525 h 4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"/>
                <a:gd name="T16" fmla="*/ 0 h 48"/>
                <a:gd name="T17" fmla="*/ 33 w 33"/>
                <a:gd name="T18" fmla="*/ 48 h 4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" h="48">
                  <a:moveTo>
                    <a:pt x="0" y="48"/>
                  </a:moveTo>
                  <a:lnTo>
                    <a:pt x="18" y="18"/>
                  </a:lnTo>
                  <a:lnTo>
                    <a:pt x="33" y="0"/>
                  </a:lnTo>
                  <a:lnTo>
                    <a:pt x="0" y="18"/>
                  </a:lnTo>
                  <a:lnTo>
                    <a:pt x="0" y="48"/>
                  </a:lnTo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56" name="Freeform 255">
              <a:extLst>
                <a:ext uri="{FF2B5EF4-FFF2-40B4-BE49-F238E27FC236}">
                  <a16:creationId xmlns:a16="http://schemas.microsoft.com/office/drawing/2014/main" id="{AC3E6650-B666-5400-D732-CA071E966801}"/>
                </a:ext>
              </a:extLst>
            </p:cNvPr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5357163" y="3256932"/>
              <a:ext cx="14179" cy="13331"/>
            </a:xfrm>
            <a:custGeom>
              <a:avLst/>
              <a:gdLst>
                <a:gd name="T0" fmla="*/ 0 w 17"/>
                <a:gd name="T1" fmla="*/ 3969 h 18"/>
                <a:gd name="T2" fmla="*/ 0 w 17"/>
                <a:gd name="T3" fmla="*/ 3969 h 18"/>
                <a:gd name="T4" fmla="*/ 4202 w 17"/>
                <a:gd name="T5" fmla="*/ 0 h 18"/>
                <a:gd name="T6" fmla="*/ 4202 w 17"/>
                <a:gd name="T7" fmla="*/ 3969 h 18"/>
                <a:gd name="T8" fmla="*/ 0 w 17"/>
                <a:gd name="T9" fmla="*/ 3969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0" y="18"/>
                  </a:moveTo>
                  <a:lnTo>
                    <a:pt x="0" y="18"/>
                  </a:lnTo>
                  <a:lnTo>
                    <a:pt x="17" y="0"/>
                  </a:lnTo>
                  <a:lnTo>
                    <a:pt x="17" y="18"/>
                  </a:lnTo>
                  <a:lnTo>
                    <a:pt x="0" y="18"/>
                  </a:lnTo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57" name="Freeform 257">
              <a:extLst>
                <a:ext uri="{FF2B5EF4-FFF2-40B4-BE49-F238E27FC236}">
                  <a16:creationId xmlns:a16="http://schemas.microsoft.com/office/drawing/2014/main" id="{8F00568E-75F9-69BF-90E2-D2E732AE77B1}"/>
                </a:ext>
              </a:extLst>
            </p:cNvPr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5514708" y="3461898"/>
              <a:ext cx="184327" cy="241626"/>
            </a:xfrm>
            <a:custGeom>
              <a:avLst/>
              <a:gdLst>
                <a:gd name="T0" fmla="*/ 27781 w 244"/>
                <a:gd name="T1" fmla="*/ 8702 h 303"/>
                <a:gd name="T2" fmla="*/ 27781 w 244"/>
                <a:gd name="T3" fmla="*/ 8702 h 303"/>
                <a:gd name="T4" fmla="*/ 42069 w 244"/>
                <a:gd name="T5" fmla="*/ 2373 h 303"/>
                <a:gd name="T6" fmla="*/ 42069 w 244"/>
                <a:gd name="T7" fmla="*/ 5538 h 303"/>
                <a:gd name="T8" fmla="*/ 38100 w 244"/>
                <a:gd name="T9" fmla="*/ 5538 h 303"/>
                <a:gd name="T10" fmla="*/ 45244 w 244"/>
                <a:gd name="T11" fmla="*/ 8702 h 303"/>
                <a:gd name="T12" fmla="*/ 48419 w 244"/>
                <a:gd name="T13" fmla="*/ 34019 h 303"/>
                <a:gd name="T14" fmla="*/ 45244 w 244"/>
                <a:gd name="T15" fmla="*/ 30854 h 303"/>
                <a:gd name="T16" fmla="*/ 38100 w 244"/>
                <a:gd name="T17" fmla="*/ 34019 h 303"/>
                <a:gd name="T18" fmla="*/ 31750 w 244"/>
                <a:gd name="T19" fmla="*/ 37183 h 303"/>
                <a:gd name="T20" fmla="*/ 34925 w 244"/>
                <a:gd name="T21" fmla="*/ 43512 h 303"/>
                <a:gd name="T22" fmla="*/ 42069 w 244"/>
                <a:gd name="T23" fmla="*/ 49841 h 303"/>
                <a:gd name="T24" fmla="*/ 38100 w 244"/>
                <a:gd name="T25" fmla="*/ 53006 h 303"/>
                <a:gd name="T26" fmla="*/ 38100 w 244"/>
                <a:gd name="T27" fmla="*/ 56170 h 303"/>
                <a:gd name="T28" fmla="*/ 24606 w 244"/>
                <a:gd name="T29" fmla="*/ 59335 h 303"/>
                <a:gd name="T30" fmla="*/ 18256 w 244"/>
                <a:gd name="T31" fmla="*/ 59335 h 303"/>
                <a:gd name="T32" fmla="*/ 7144 w 244"/>
                <a:gd name="T33" fmla="*/ 59335 h 303"/>
                <a:gd name="T34" fmla="*/ 11113 w 244"/>
                <a:gd name="T35" fmla="*/ 49841 h 303"/>
                <a:gd name="T36" fmla="*/ 0 w 244"/>
                <a:gd name="T37" fmla="*/ 43512 h 303"/>
                <a:gd name="T38" fmla="*/ 0 w 244"/>
                <a:gd name="T39" fmla="*/ 40348 h 303"/>
                <a:gd name="T40" fmla="*/ 0 w 244"/>
                <a:gd name="T41" fmla="*/ 34019 h 303"/>
                <a:gd name="T42" fmla="*/ 0 w 244"/>
                <a:gd name="T43" fmla="*/ 24525 h 303"/>
                <a:gd name="T44" fmla="*/ 3969 w 244"/>
                <a:gd name="T45" fmla="*/ 21361 h 303"/>
                <a:gd name="T46" fmla="*/ 7144 w 244"/>
                <a:gd name="T47" fmla="*/ 11867 h 303"/>
                <a:gd name="T48" fmla="*/ 14288 w 244"/>
                <a:gd name="T49" fmla="*/ 11867 h 303"/>
                <a:gd name="T50" fmla="*/ 18256 w 244"/>
                <a:gd name="T51" fmla="*/ 5538 h 303"/>
                <a:gd name="T52" fmla="*/ 14288 w 244"/>
                <a:gd name="T53" fmla="*/ 5538 h 303"/>
                <a:gd name="T54" fmla="*/ 18256 w 244"/>
                <a:gd name="T55" fmla="*/ 2373 h 303"/>
                <a:gd name="T56" fmla="*/ 14288 w 244"/>
                <a:gd name="T57" fmla="*/ 0 h 303"/>
                <a:gd name="T58" fmla="*/ 18256 w 244"/>
                <a:gd name="T59" fmla="*/ 0 h 303"/>
                <a:gd name="T60" fmla="*/ 21431 w 244"/>
                <a:gd name="T61" fmla="*/ 0 h 303"/>
                <a:gd name="T62" fmla="*/ 21431 w 244"/>
                <a:gd name="T63" fmla="*/ 2373 h 303"/>
                <a:gd name="T64" fmla="*/ 27781 w 244"/>
                <a:gd name="T65" fmla="*/ 5538 h 303"/>
                <a:gd name="T66" fmla="*/ 24606 w 244"/>
                <a:gd name="T67" fmla="*/ 8702 h 303"/>
                <a:gd name="T68" fmla="*/ 27781 w 244"/>
                <a:gd name="T69" fmla="*/ 8702 h 30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44"/>
                <a:gd name="T106" fmla="*/ 0 h 303"/>
                <a:gd name="T107" fmla="*/ 244 w 244"/>
                <a:gd name="T108" fmla="*/ 303 h 303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44" h="303">
                  <a:moveTo>
                    <a:pt x="140" y="47"/>
                  </a:moveTo>
                  <a:lnTo>
                    <a:pt x="140" y="47"/>
                  </a:lnTo>
                  <a:lnTo>
                    <a:pt x="210" y="15"/>
                  </a:lnTo>
                  <a:lnTo>
                    <a:pt x="210" y="30"/>
                  </a:lnTo>
                  <a:lnTo>
                    <a:pt x="192" y="30"/>
                  </a:lnTo>
                  <a:lnTo>
                    <a:pt x="227" y="47"/>
                  </a:lnTo>
                  <a:lnTo>
                    <a:pt x="244" y="174"/>
                  </a:lnTo>
                  <a:lnTo>
                    <a:pt x="227" y="159"/>
                  </a:lnTo>
                  <a:lnTo>
                    <a:pt x="192" y="174"/>
                  </a:lnTo>
                  <a:lnTo>
                    <a:pt x="158" y="191"/>
                  </a:lnTo>
                  <a:lnTo>
                    <a:pt x="175" y="222"/>
                  </a:lnTo>
                  <a:lnTo>
                    <a:pt x="210" y="255"/>
                  </a:lnTo>
                  <a:lnTo>
                    <a:pt x="192" y="270"/>
                  </a:lnTo>
                  <a:lnTo>
                    <a:pt x="192" y="287"/>
                  </a:lnTo>
                  <a:lnTo>
                    <a:pt x="123" y="303"/>
                  </a:lnTo>
                  <a:lnTo>
                    <a:pt x="89" y="303"/>
                  </a:lnTo>
                  <a:lnTo>
                    <a:pt x="35" y="303"/>
                  </a:lnTo>
                  <a:lnTo>
                    <a:pt x="54" y="255"/>
                  </a:lnTo>
                  <a:lnTo>
                    <a:pt x="0" y="222"/>
                  </a:lnTo>
                  <a:lnTo>
                    <a:pt x="0" y="207"/>
                  </a:lnTo>
                  <a:lnTo>
                    <a:pt x="0" y="174"/>
                  </a:lnTo>
                  <a:lnTo>
                    <a:pt x="0" y="126"/>
                  </a:lnTo>
                  <a:lnTo>
                    <a:pt x="18" y="111"/>
                  </a:lnTo>
                  <a:lnTo>
                    <a:pt x="35" y="63"/>
                  </a:lnTo>
                  <a:lnTo>
                    <a:pt x="71" y="63"/>
                  </a:lnTo>
                  <a:lnTo>
                    <a:pt x="89" y="30"/>
                  </a:lnTo>
                  <a:lnTo>
                    <a:pt x="71" y="30"/>
                  </a:lnTo>
                  <a:lnTo>
                    <a:pt x="89" y="15"/>
                  </a:lnTo>
                  <a:lnTo>
                    <a:pt x="71" y="0"/>
                  </a:lnTo>
                  <a:lnTo>
                    <a:pt x="89" y="0"/>
                  </a:lnTo>
                  <a:lnTo>
                    <a:pt x="106" y="0"/>
                  </a:lnTo>
                  <a:lnTo>
                    <a:pt x="106" y="15"/>
                  </a:lnTo>
                  <a:lnTo>
                    <a:pt x="140" y="30"/>
                  </a:lnTo>
                  <a:lnTo>
                    <a:pt x="123" y="47"/>
                  </a:lnTo>
                  <a:lnTo>
                    <a:pt x="140" y="47"/>
                  </a:lnTo>
                  <a:close/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58" name="Freeform 258">
              <a:extLst>
                <a:ext uri="{FF2B5EF4-FFF2-40B4-BE49-F238E27FC236}">
                  <a16:creationId xmlns:a16="http://schemas.microsoft.com/office/drawing/2014/main" id="{D843E494-1661-03EA-B424-66BE5BC291F9}"/>
                </a:ext>
              </a:extLst>
            </p:cNvPr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5528886" y="3716856"/>
              <a:ext cx="248920" cy="244960"/>
            </a:xfrm>
            <a:custGeom>
              <a:avLst/>
              <a:gdLst>
                <a:gd name="T0" fmla="*/ 3969 w 330"/>
                <a:gd name="T1" fmla="*/ 23094 h 305"/>
                <a:gd name="T2" fmla="*/ 3969 w 330"/>
                <a:gd name="T3" fmla="*/ 23094 h 305"/>
                <a:gd name="T4" fmla="*/ 9525 w 330"/>
                <a:gd name="T5" fmla="*/ 19112 h 305"/>
                <a:gd name="T6" fmla="*/ 16669 w 330"/>
                <a:gd name="T7" fmla="*/ 23094 h 305"/>
                <a:gd name="T8" fmla="*/ 23813 w 330"/>
                <a:gd name="T9" fmla="*/ 32651 h 305"/>
                <a:gd name="T10" fmla="*/ 27781 w 330"/>
                <a:gd name="T11" fmla="*/ 32651 h 305"/>
                <a:gd name="T12" fmla="*/ 30956 w 330"/>
                <a:gd name="T13" fmla="*/ 38225 h 305"/>
                <a:gd name="T14" fmla="*/ 38100 w 330"/>
                <a:gd name="T15" fmla="*/ 42207 h 305"/>
                <a:gd name="T16" fmla="*/ 44450 w 330"/>
                <a:gd name="T17" fmla="*/ 47781 h 305"/>
                <a:gd name="T18" fmla="*/ 47625 w 330"/>
                <a:gd name="T19" fmla="*/ 47781 h 305"/>
                <a:gd name="T20" fmla="*/ 52388 w 330"/>
                <a:gd name="T21" fmla="*/ 57337 h 305"/>
                <a:gd name="T22" fmla="*/ 47625 w 330"/>
                <a:gd name="T23" fmla="*/ 61319 h 305"/>
                <a:gd name="T24" fmla="*/ 52388 w 330"/>
                <a:gd name="T25" fmla="*/ 61319 h 305"/>
                <a:gd name="T26" fmla="*/ 55563 w 330"/>
                <a:gd name="T27" fmla="*/ 57337 h 305"/>
                <a:gd name="T28" fmla="*/ 55563 w 330"/>
                <a:gd name="T29" fmla="*/ 54948 h 305"/>
                <a:gd name="T30" fmla="*/ 55563 w 330"/>
                <a:gd name="T31" fmla="*/ 51763 h 305"/>
                <a:gd name="T32" fmla="*/ 55563 w 330"/>
                <a:gd name="T33" fmla="*/ 45392 h 305"/>
                <a:gd name="T34" fmla="*/ 61913 w 330"/>
                <a:gd name="T35" fmla="*/ 51763 h 305"/>
                <a:gd name="T36" fmla="*/ 65881 w 330"/>
                <a:gd name="T37" fmla="*/ 47781 h 305"/>
                <a:gd name="T38" fmla="*/ 47625 w 330"/>
                <a:gd name="T39" fmla="*/ 38225 h 305"/>
                <a:gd name="T40" fmla="*/ 52388 w 330"/>
                <a:gd name="T41" fmla="*/ 35836 h 305"/>
                <a:gd name="T42" fmla="*/ 47625 w 330"/>
                <a:gd name="T43" fmla="*/ 35836 h 305"/>
                <a:gd name="T44" fmla="*/ 41275 w 330"/>
                <a:gd name="T45" fmla="*/ 32651 h 305"/>
                <a:gd name="T46" fmla="*/ 38100 w 330"/>
                <a:gd name="T47" fmla="*/ 26280 h 305"/>
                <a:gd name="T48" fmla="*/ 30956 w 330"/>
                <a:gd name="T49" fmla="*/ 19112 h 305"/>
                <a:gd name="T50" fmla="*/ 30956 w 330"/>
                <a:gd name="T51" fmla="*/ 9556 h 305"/>
                <a:gd name="T52" fmla="*/ 34131 w 330"/>
                <a:gd name="T53" fmla="*/ 9556 h 305"/>
                <a:gd name="T54" fmla="*/ 38100 w 330"/>
                <a:gd name="T55" fmla="*/ 9556 h 305"/>
                <a:gd name="T56" fmla="*/ 38100 w 330"/>
                <a:gd name="T57" fmla="*/ 7167 h 305"/>
                <a:gd name="T58" fmla="*/ 38100 w 330"/>
                <a:gd name="T59" fmla="*/ 3982 h 305"/>
                <a:gd name="T60" fmla="*/ 30956 w 330"/>
                <a:gd name="T61" fmla="*/ 0 h 305"/>
                <a:gd name="T62" fmla="*/ 19844 w 330"/>
                <a:gd name="T63" fmla="*/ 0 h 305"/>
                <a:gd name="T64" fmla="*/ 16669 w 330"/>
                <a:gd name="T65" fmla="*/ 7167 h 305"/>
                <a:gd name="T66" fmla="*/ 14288 w 330"/>
                <a:gd name="T67" fmla="*/ 3982 h 305"/>
                <a:gd name="T68" fmla="*/ 14288 w 330"/>
                <a:gd name="T69" fmla="*/ 7167 h 305"/>
                <a:gd name="T70" fmla="*/ 9525 w 330"/>
                <a:gd name="T71" fmla="*/ 7167 h 305"/>
                <a:gd name="T72" fmla="*/ 3969 w 330"/>
                <a:gd name="T73" fmla="*/ 9556 h 305"/>
                <a:gd name="T74" fmla="*/ 0 w 330"/>
                <a:gd name="T75" fmla="*/ 9556 h 305"/>
                <a:gd name="T76" fmla="*/ 0 w 330"/>
                <a:gd name="T77" fmla="*/ 16723 h 305"/>
                <a:gd name="T78" fmla="*/ 3969 w 330"/>
                <a:gd name="T79" fmla="*/ 23094 h 305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330"/>
                <a:gd name="T121" fmla="*/ 0 h 305"/>
                <a:gd name="T122" fmla="*/ 330 w 330"/>
                <a:gd name="T123" fmla="*/ 305 h 305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330" h="305">
                  <a:moveTo>
                    <a:pt x="17" y="113"/>
                  </a:moveTo>
                  <a:lnTo>
                    <a:pt x="17" y="113"/>
                  </a:lnTo>
                  <a:lnTo>
                    <a:pt x="51" y="96"/>
                  </a:lnTo>
                  <a:lnTo>
                    <a:pt x="86" y="113"/>
                  </a:lnTo>
                  <a:lnTo>
                    <a:pt x="120" y="161"/>
                  </a:lnTo>
                  <a:lnTo>
                    <a:pt x="138" y="161"/>
                  </a:lnTo>
                  <a:lnTo>
                    <a:pt x="155" y="192"/>
                  </a:lnTo>
                  <a:lnTo>
                    <a:pt x="192" y="209"/>
                  </a:lnTo>
                  <a:lnTo>
                    <a:pt x="226" y="240"/>
                  </a:lnTo>
                  <a:lnTo>
                    <a:pt x="243" y="240"/>
                  </a:lnTo>
                  <a:lnTo>
                    <a:pt x="261" y="288"/>
                  </a:lnTo>
                  <a:lnTo>
                    <a:pt x="243" y="305"/>
                  </a:lnTo>
                  <a:lnTo>
                    <a:pt x="261" y="305"/>
                  </a:lnTo>
                  <a:lnTo>
                    <a:pt x="278" y="288"/>
                  </a:lnTo>
                  <a:lnTo>
                    <a:pt x="278" y="273"/>
                  </a:lnTo>
                  <a:lnTo>
                    <a:pt x="278" y="257"/>
                  </a:lnTo>
                  <a:lnTo>
                    <a:pt x="278" y="225"/>
                  </a:lnTo>
                  <a:lnTo>
                    <a:pt x="312" y="257"/>
                  </a:lnTo>
                  <a:lnTo>
                    <a:pt x="330" y="240"/>
                  </a:lnTo>
                  <a:lnTo>
                    <a:pt x="243" y="192"/>
                  </a:lnTo>
                  <a:lnTo>
                    <a:pt x="261" y="177"/>
                  </a:lnTo>
                  <a:lnTo>
                    <a:pt x="243" y="177"/>
                  </a:lnTo>
                  <a:lnTo>
                    <a:pt x="209" y="161"/>
                  </a:lnTo>
                  <a:lnTo>
                    <a:pt x="192" y="129"/>
                  </a:lnTo>
                  <a:lnTo>
                    <a:pt x="155" y="96"/>
                  </a:lnTo>
                  <a:lnTo>
                    <a:pt x="155" y="48"/>
                  </a:lnTo>
                  <a:lnTo>
                    <a:pt x="174" y="48"/>
                  </a:lnTo>
                  <a:lnTo>
                    <a:pt x="192" y="48"/>
                  </a:lnTo>
                  <a:lnTo>
                    <a:pt x="192" y="33"/>
                  </a:lnTo>
                  <a:lnTo>
                    <a:pt x="192" y="17"/>
                  </a:lnTo>
                  <a:lnTo>
                    <a:pt x="155" y="0"/>
                  </a:lnTo>
                  <a:lnTo>
                    <a:pt x="103" y="0"/>
                  </a:lnTo>
                  <a:lnTo>
                    <a:pt x="86" y="33"/>
                  </a:lnTo>
                  <a:lnTo>
                    <a:pt x="69" y="17"/>
                  </a:lnTo>
                  <a:lnTo>
                    <a:pt x="69" y="33"/>
                  </a:lnTo>
                  <a:lnTo>
                    <a:pt x="51" y="33"/>
                  </a:lnTo>
                  <a:lnTo>
                    <a:pt x="17" y="48"/>
                  </a:lnTo>
                  <a:lnTo>
                    <a:pt x="0" y="48"/>
                  </a:lnTo>
                  <a:lnTo>
                    <a:pt x="0" y="81"/>
                  </a:lnTo>
                  <a:lnTo>
                    <a:pt x="17" y="113"/>
                  </a:lnTo>
                  <a:close/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59" name="Freeform 259">
              <a:extLst>
                <a:ext uri="{FF2B5EF4-FFF2-40B4-BE49-F238E27FC236}">
                  <a16:creationId xmlns:a16="http://schemas.microsoft.com/office/drawing/2014/main" id="{40219D09-4C61-CAF7-8AC9-5F5D307BEBDE}"/>
                </a:ext>
              </a:extLst>
            </p:cNvPr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5502104" y="3626871"/>
              <a:ext cx="12604" cy="13331"/>
            </a:xfrm>
            <a:custGeom>
              <a:avLst/>
              <a:gdLst>
                <a:gd name="T0" fmla="*/ 0 w 17"/>
                <a:gd name="T1" fmla="*/ 3387 h 15"/>
                <a:gd name="T2" fmla="*/ 0 w 17"/>
                <a:gd name="T3" fmla="*/ 3387 h 15"/>
                <a:gd name="T4" fmla="*/ 0 w 17"/>
                <a:gd name="T5" fmla="*/ 0 h 15"/>
                <a:gd name="T6" fmla="*/ 4202 w 17"/>
                <a:gd name="T7" fmla="*/ 0 h 15"/>
                <a:gd name="T8" fmla="*/ 4202 w 17"/>
                <a:gd name="T9" fmla="*/ 3387 h 15"/>
                <a:gd name="T10" fmla="*/ 0 w 17"/>
                <a:gd name="T11" fmla="*/ 3387 h 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15"/>
                <a:gd name="T20" fmla="*/ 17 w 17"/>
                <a:gd name="T21" fmla="*/ 15 h 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15">
                  <a:moveTo>
                    <a:pt x="0" y="15"/>
                  </a:moveTo>
                  <a:lnTo>
                    <a:pt x="0" y="15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15"/>
                  </a:lnTo>
                  <a:lnTo>
                    <a:pt x="0" y="15"/>
                  </a:lnTo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60" name="Freeform 260">
              <a:extLst>
                <a:ext uri="{FF2B5EF4-FFF2-40B4-BE49-F238E27FC236}">
                  <a16:creationId xmlns:a16="http://schemas.microsoft.com/office/drawing/2014/main" id="{2B17B2BD-93FC-A555-65D7-5C88DD189D98}"/>
                </a:ext>
              </a:extLst>
            </p:cNvPr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5675403" y="3716856"/>
              <a:ext cx="50414" cy="38328"/>
            </a:xfrm>
            <a:custGeom>
              <a:avLst/>
              <a:gdLst>
                <a:gd name="T0" fmla="*/ 13108 w 70"/>
                <a:gd name="T1" fmla="*/ 3969 h 48"/>
                <a:gd name="T2" fmla="*/ 13108 w 70"/>
                <a:gd name="T3" fmla="*/ 3969 h 48"/>
                <a:gd name="T4" fmla="*/ 9253 w 70"/>
                <a:gd name="T5" fmla="*/ 3969 h 48"/>
                <a:gd name="T6" fmla="*/ 6169 w 70"/>
                <a:gd name="T7" fmla="*/ 9525 h 48"/>
                <a:gd name="T8" fmla="*/ 3084 w 70"/>
                <a:gd name="T9" fmla="*/ 9525 h 48"/>
                <a:gd name="T10" fmla="*/ 0 w 70"/>
                <a:gd name="T11" fmla="*/ 9525 h 48"/>
                <a:gd name="T12" fmla="*/ 0 w 70"/>
                <a:gd name="T13" fmla="*/ 7144 h 48"/>
                <a:gd name="T14" fmla="*/ 0 w 70"/>
                <a:gd name="T15" fmla="*/ 3969 h 48"/>
                <a:gd name="T16" fmla="*/ 13108 w 70"/>
                <a:gd name="T17" fmla="*/ 0 h 48"/>
                <a:gd name="T18" fmla="*/ 13108 w 70"/>
                <a:gd name="T19" fmla="*/ 3969 h 4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0"/>
                <a:gd name="T31" fmla="*/ 0 h 48"/>
                <a:gd name="T32" fmla="*/ 70 w 70"/>
                <a:gd name="T33" fmla="*/ 48 h 4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0" h="48">
                  <a:moveTo>
                    <a:pt x="70" y="17"/>
                  </a:moveTo>
                  <a:lnTo>
                    <a:pt x="70" y="17"/>
                  </a:lnTo>
                  <a:lnTo>
                    <a:pt x="52" y="17"/>
                  </a:lnTo>
                  <a:lnTo>
                    <a:pt x="35" y="48"/>
                  </a:lnTo>
                  <a:lnTo>
                    <a:pt x="18" y="48"/>
                  </a:lnTo>
                  <a:lnTo>
                    <a:pt x="0" y="48"/>
                  </a:lnTo>
                  <a:lnTo>
                    <a:pt x="0" y="33"/>
                  </a:lnTo>
                  <a:lnTo>
                    <a:pt x="0" y="17"/>
                  </a:lnTo>
                  <a:lnTo>
                    <a:pt x="70" y="0"/>
                  </a:lnTo>
                  <a:lnTo>
                    <a:pt x="70" y="17"/>
                  </a:lnTo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61" name="Freeform 261">
              <a:extLst>
                <a:ext uri="{FF2B5EF4-FFF2-40B4-BE49-F238E27FC236}">
                  <a16:creationId xmlns:a16="http://schemas.microsoft.com/office/drawing/2014/main" id="{7F517AB6-F35D-4C71-2C1A-8A91E9B9B3FC}"/>
                </a:ext>
              </a:extLst>
            </p:cNvPr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5818768" y="2785343"/>
              <a:ext cx="222138" cy="484920"/>
            </a:xfrm>
            <a:custGeom>
              <a:avLst/>
              <a:gdLst>
                <a:gd name="T0" fmla="*/ 44450 w 294"/>
                <a:gd name="T1" fmla="*/ 15849 h 609"/>
                <a:gd name="T2" fmla="*/ 44450 w 294"/>
                <a:gd name="T3" fmla="*/ 15849 h 609"/>
                <a:gd name="T4" fmla="*/ 44450 w 294"/>
                <a:gd name="T5" fmla="*/ 25358 h 609"/>
                <a:gd name="T6" fmla="*/ 51594 w 294"/>
                <a:gd name="T7" fmla="*/ 31698 h 609"/>
                <a:gd name="T8" fmla="*/ 47625 w 294"/>
                <a:gd name="T9" fmla="*/ 41207 h 609"/>
                <a:gd name="T10" fmla="*/ 51594 w 294"/>
                <a:gd name="T11" fmla="*/ 57056 h 609"/>
                <a:gd name="T12" fmla="*/ 47625 w 294"/>
                <a:gd name="T13" fmla="*/ 66566 h 609"/>
                <a:gd name="T14" fmla="*/ 55563 w 294"/>
                <a:gd name="T15" fmla="*/ 76075 h 609"/>
                <a:gd name="T16" fmla="*/ 51594 w 294"/>
                <a:gd name="T17" fmla="*/ 82414 h 609"/>
                <a:gd name="T18" fmla="*/ 58738 w 294"/>
                <a:gd name="T19" fmla="*/ 87962 h 609"/>
                <a:gd name="T20" fmla="*/ 58738 w 294"/>
                <a:gd name="T21" fmla="*/ 91924 h 609"/>
                <a:gd name="T22" fmla="*/ 47625 w 294"/>
                <a:gd name="T23" fmla="*/ 106980 h 609"/>
                <a:gd name="T24" fmla="*/ 37306 w 294"/>
                <a:gd name="T25" fmla="*/ 114112 h 609"/>
                <a:gd name="T26" fmla="*/ 34131 w 294"/>
                <a:gd name="T27" fmla="*/ 114112 h 609"/>
                <a:gd name="T28" fmla="*/ 16669 w 294"/>
                <a:gd name="T29" fmla="*/ 120452 h 609"/>
                <a:gd name="T30" fmla="*/ 3969 w 294"/>
                <a:gd name="T31" fmla="*/ 114112 h 609"/>
                <a:gd name="T32" fmla="*/ 7144 w 294"/>
                <a:gd name="T33" fmla="*/ 104603 h 609"/>
                <a:gd name="T34" fmla="*/ 3969 w 294"/>
                <a:gd name="T35" fmla="*/ 95094 h 609"/>
                <a:gd name="T36" fmla="*/ 7144 w 294"/>
                <a:gd name="T37" fmla="*/ 87962 h 609"/>
                <a:gd name="T38" fmla="*/ 20638 w 294"/>
                <a:gd name="T39" fmla="*/ 69735 h 609"/>
                <a:gd name="T40" fmla="*/ 23813 w 294"/>
                <a:gd name="T41" fmla="*/ 66566 h 609"/>
                <a:gd name="T42" fmla="*/ 23813 w 294"/>
                <a:gd name="T43" fmla="*/ 60226 h 609"/>
                <a:gd name="T44" fmla="*/ 20638 w 294"/>
                <a:gd name="T45" fmla="*/ 57056 h 609"/>
                <a:gd name="T46" fmla="*/ 16669 w 294"/>
                <a:gd name="T47" fmla="*/ 57056 h 609"/>
                <a:gd name="T48" fmla="*/ 14288 w 294"/>
                <a:gd name="T49" fmla="*/ 28528 h 609"/>
                <a:gd name="T50" fmla="*/ 0 w 294"/>
                <a:gd name="T51" fmla="*/ 15849 h 609"/>
                <a:gd name="T52" fmla="*/ 3969 w 294"/>
                <a:gd name="T53" fmla="*/ 12679 h 609"/>
                <a:gd name="T54" fmla="*/ 10319 w 294"/>
                <a:gd name="T55" fmla="*/ 19019 h 609"/>
                <a:gd name="T56" fmla="*/ 14288 w 294"/>
                <a:gd name="T57" fmla="*/ 19019 h 609"/>
                <a:gd name="T58" fmla="*/ 16669 w 294"/>
                <a:gd name="T59" fmla="*/ 19019 h 609"/>
                <a:gd name="T60" fmla="*/ 23813 w 294"/>
                <a:gd name="T61" fmla="*/ 19019 h 609"/>
                <a:gd name="T62" fmla="*/ 27781 w 294"/>
                <a:gd name="T63" fmla="*/ 15849 h 609"/>
                <a:gd name="T64" fmla="*/ 30956 w 294"/>
                <a:gd name="T65" fmla="*/ 3170 h 609"/>
                <a:gd name="T66" fmla="*/ 37306 w 294"/>
                <a:gd name="T67" fmla="*/ 0 h 609"/>
                <a:gd name="T68" fmla="*/ 47625 w 294"/>
                <a:gd name="T69" fmla="*/ 6340 h 609"/>
                <a:gd name="T70" fmla="*/ 44450 w 294"/>
                <a:gd name="T71" fmla="*/ 15849 h 60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94"/>
                <a:gd name="T109" fmla="*/ 0 h 609"/>
                <a:gd name="T110" fmla="*/ 294 w 294"/>
                <a:gd name="T111" fmla="*/ 609 h 609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94" h="609">
                  <a:moveTo>
                    <a:pt x="225" y="81"/>
                  </a:moveTo>
                  <a:lnTo>
                    <a:pt x="225" y="81"/>
                  </a:lnTo>
                  <a:lnTo>
                    <a:pt x="225" y="129"/>
                  </a:lnTo>
                  <a:lnTo>
                    <a:pt x="260" y="160"/>
                  </a:lnTo>
                  <a:lnTo>
                    <a:pt x="242" y="208"/>
                  </a:lnTo>
                  <a:lnTo>
                    <a:pt x="260" y="288"/>
                  </a:lnTo>
                  <a:lnTo>
                    <a:pt x="242" y="336"/>
                  </a:lnTo>
                  <a:lnTo>
                    <a:pt x="277" y="384"/>
                  </a:lnTo>
                  <a:lnTo>
                    <a:pt x="260" y="417"/>
                  </a:lnTo>
                  <a:lnTo>
                    <a:pt x="294" y="447"/>
                  </a:lnTo>
                  <a:lnTo>
                    <a:pt x="294" y="465"/>
                  </a:lnTo>
                  <a:lnTo>
                    <a:pt x="242" y="543"/>
                  </a:lnTo>
                  <a:lnTo>
                    <a:pt x="191" y="576"/>
                  </a:lnTo>
                  <a:lnTo>
                    <a:pt x="173" y="576"/>
                  </a:lnTo>
                  <a:lnTo>
                    <a:pt x="87" y="609"/>
                  </a:lnTo>
                  <a:lnTo>
                    <a:pt x="18" y="576"/>
                  </a:lnTo>
                  <a:lnTo>
                    <a:pt x="35" y="528"/>
                  </a:lnTo>
                  <a:lnTo>
                    <a:pt x="18" y="480"/>
                  </a:lnTo>
                  <a:lnTo>
                    <a:pt x="35" y="447"/>
                  </a:lnTo>
                  <a:lnTo>
                    <a:pt x="104" y="352"/>
                  </a:lnTo>
                  <a:lnTo>
                    <a:pt x="121" y="336"/>
                  </a:lnTo>
                  <a:lnTo>
                    <a:pt x="121" y="304"/>
                  </a:lnTo>
                  <a:lnTo>
                    <a:pt x="104" y="288"/>
                  </a:lnTo>
                  <a:lnTo>
                    <a:pt x="87" y="288"/>
                  </a:lnTo>
                  <a:lnTo>
                    <a:pt x="70" y="144"/>
                  </a:lnTo>
                  <a:lnTo>
                    <a:pt x="0" y="81"/>
                  </a:lnTo>
                  <a:lnTo>
                    <a:pt x="18" y="64"/>
                  </a:lnTo>
                  <a:lnTo>
                    <a:pt x="52" y="96"/>
                  </a:lnTo>
                  <a:lnTo>
                    <a:pt x="70" y="96"/>
                  </a:lnTo>
                  <a:lnTo>
                    <a:pt x="87" y="96"/>
                  </a:lnTo>
                  <a:lnTo>
                    <a:pt x="121" y="96"/>
                  </a:lnTo>
                  <a:lnTo>
                    <a:pt x="139" y="81"/>
                  </a:lnTo>
                  <a:lnTo>
                    <a:pt x="156" y="16"/>
                  </a:lnTo>
                  <a:lnTo>
                    <a:pt x="191" y="0"/>
                  </a:lnTo>
                  <a:lnTo>
                    <a:pt x="242" y="33"/>
                  </a:lnTo>
                  <a:lnTo>
                    <a:pt x="225" y="81"/>
                  </a:lnTo>
                  <a:close/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62" name="Freeform 262">
              <a:extLst>
                <a:ext uri="{FF2B5EF4-FFF2-40B4-BE49-F238E27FC236}">
                  <a16:creationId xmlns:a16="http://schemas.microsoft.com/office/drawing/2014/main" id="{A1ADC991-C7CD-A29C-5A4F-60D06AD5EAC8}"/>
                </a:ext>
              </a:extLst>
            </p:cNvPr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5489500" y="2720353"/>
              <a:ext cx="551406" cy="626564"/>
            </a:xfrm>
            <a:custGeom>
              <a:avLst/>
              <a:gdLst>
                <a:gd name="T0" fmla="*/ 34178 w 729"/>
                <a:gd name="T1" fmla="*/ 149415 h 785"/>
                <a:gd name="T2" fmla="*/ 30999 w 729"/>
                <a:gd name="T3" fmla="*/ 143057 h 785"/>
                <a:gd name="T4" fmla="*/ 27819 w 729"/>
                <a:gd name="T5" fmla="*/ 147031 h 785"/>
                <a:gd name="T6" fmla="*/ 10333 w 729"/>
                <a:gd name="T7" fmla="*/ 156568 h 785"/>
                <a:gd name="T8" fmla="*/ 7154 w 729"/>
                <a:gd name="T9" fmla="*/ 143057 h 785"/>
                <a:gd name="T10" fmla="*/ 3974 w 729"/>
                <a:gd name="T11" fmla="*/ 143057 h 785"/>
                <a:gd name="T12" fmla="*/ 3974 w 729"/>
                <a:gd name="T13" fmla="*/ 133520 h 785"/>
                <a:gd name="T14" fmla="*/ 3974 w 729"/>
                <a:gd name="T15" fmla="*/ 120804 h 785"/>
                <a:gd name="T16" fmla="*/ 14307 w 729"/>
                <a:gd name="T17" fmla="*/ 108882 h 785"/>
                <a:gd name="T18" fmla="*/ 24640 w 729"/>
                <a:gd name="T19" fmla="*/ 99345 h 785"/>
                <a:gd name="T20" fmla="*/ 34178 w 729"/>
                <a:gd name="T21" fmla="*/ 85834 h 785"/>
                <a:gd name="T22" fmla="*/ 48485 w 729"/>
                <a:gd name="T23" fmla="*/ 63581 h 785"/>
                <a:gd name="T24" fmla="*/ 61997 w 729"/>
                <a:gd name="T25" fmla="*/ 42122 h 785"/>
                <a:gd name="T26" fmla="*/ 44511 w 729"/>
                <a:gd name="T27" fmla="*/ 47686 h 785"/>
                <a:gd name="T28" fmla="*/ 54844 w 729"/>
                <a:gd name="T29" fmla="*/ 42122 h 785"/>
                <a:gd name="T30" fmla="*/ 61997 w 729"/>
                <a:gd name="T31" fmla="*/ 28611 h 785"/>
                <a:gd name="T32" fmla="*/ 65177 w 729"/>
                <a:gd name="T33" fmla="*/ 32585 h 785"/>
                <a:gd name="T34" fmla="*/ 69151 w 729"/>
                <a:gd name="T35" fmla="*/ 32585 h 785"/>
                <a:gd name="T36" fmla="*/ 65177 w 729"/>
                <a:gd name="T37" fmla="*/ 25432 h 785"/>
                <a:gd name="T38" fmla="*/ 76305 w 729"/>
                <a:gd name="T39" fmla="*/ 15895 h 785"/>
                <a:gd name="T40" fmla="*/ 89817 w 729"/>
                <a:gd name="T41" fmla="*/ 13511 h 785"/>
                <a:gd name="T42" fmla="*/ 107303 w 729"/>
                <a:gd name="T43" fmla="*/ 6358 h 785"/>
                <a:gd name="T44" fmla="*/ 113662 w 729"/>
                <a:gd name="T45" fmla="*/ 0 h 785"/>
                <a:gd name="T46" fmla="*/ 117636 w 729"/>
                <a:gd name="T47" fmla="*/ 3974 h 785"/>
                <a:gd name="T48" fmla="*/ 123995 w 729"/>
                <a:gd name="T49" fmla="*/ 0 h 785"/>
                <a:gd name="T50" fmla="*/ 145456 w 729"/>
                <a:gd name="T51" fmla="*/ 13511 h 785"/>
                <a:gd name="T52" fmla="*/ 131149 w 729"/>
                <a:gd name="T53" fmla="*/ 15895 h 785"/>
                <a:gd name="T54" fmla="*/ 141481 w 729"/>
                <a:gd name="T55" fmla="*/ 23048 h 785"/>
                <a:gd name="T56" fmla="*/ 138302 w 729"/>
                <a:gd name="T57" fmla="*/ 25432 h 785"/>
                <a:gd name="T58" fmla="*/ 135123 w 729"/>
                <a:gd name="T59" fmla="*/ 23048 h 785"/>
                <a:gd name="T60" fmla="*/ 117636 w 729"/>
                <a:gd name="T61" fmla="*/ 19074 h 785"/>
                <a:gd name="T62" fmla="*/ 110483 w 729"/>
                <a:gd name="T63" fmla="*/ 34970 h 785"/>
                <a:gd name="T64" fmla="*/ 100150 w 729"/>
                <a:gd name="T65" fmla="*/ 34970 h 785"/>
                <a:gd name="T66" fmla="*/ 89817 w 729"/>
                <a:gd name="T67" fmla="*/ 28611 h 785"/>
                <a:gd name="T68" fmla="*/ 82663 w 729"/>
                <a:gd name="T69" fmla="*/ 32585 h 785"/>
                <a:gd name="T70" fmla="*/ 76305 w 729"/>
                <a:gd name="T71" fmla="*/ 38149 h 785"/>
                <a:gd name="T72" fmla="*/ 72330 w 729"/>
                <a:gd name="T73" fmla="*/ 44507 h 785"/>
                <a:gd name="T74" fmla="*/ 65177 w 729"/>
                <a:gd name="T75" fmla="*/ 47686 h 785"/>
                <a:gd name="T76" fmla="*/ 61997 w 729"/>
                <a:gd name="T77" fmla="*/ 57223 h 785"/>
                <a:gd name="T78" fmla="*/ 54844 w 729"/>
                <a:gd name="T79" fmla="*/ 70734 h 785"/>
                <a:gd name="T80" fmla="*/ 48485 w 729"/>
                <a:gd name="T81" fmla="*/ 85834 h 785"/>
                <a:gd name="T82" fmla="*/ 44511 w 729"/>
                <a:gd name="T83" fmla="*/ 95371 h 785"/>
                <a:gd name="T84" fmla="*/ 38152 w 729"/>
                <a:gd name="T85" fmla="*/ 111267 h 785"/>
                <a:gd name="T86" fmla="*/ 41332 w 729"/>
                <a:gd name="T87" fmla="*/ 127957 h 785"/>
                <a:gd name="T88" fmla="*/ 38152 w 729"/>
                <a:gd name="T89" fmla="*/ 139878 h 785"/>
                <a:gd name="T90" fmla="*/ 34178 w 729"/>
                <a:gd name="T91" fmla="*/ 149415 h 78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729"/>
                <a:gd name="T139" fmla="*/ 0 h 785"/>
                <a:gd name="T140" fmla="*/ 729 w 729"/>
                <a:gd name="T141" fmla="*/ 785 h 785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729" h="785">
                  <a:moveTo>
                    <a:pt x="172" y="752"/>
                  </a:moveTo>
                  <a:lnTo>
                    <a:pt x="172" y="752"/>
                  </a:lnTo>
                  <a:lnTo>
                    <a:pt x="172" y="737"/>
                  </a:lnTo>
                  <a:lnTo>
                    <a:pt x="155" y="719"/>
                  </a:lnTo>
                  <a:lnTo>
                    <a:pt x="155" y="737"/>
                  </a:lnTo>
                  <a:lnTo>
                    <a:pt x="138" y="737"/>
                  </a:lnTo>
                  <a:lnTo>
                    <a:pt x="86" y="785"/>
                  </a:lnTo>
                  <a:lnTo>
                    <a:pt x="52" y="785"/>
                  </a:lnTo>
                  <a:lnTo>
                    <a:pt x="17" y="767"/>
                  </a:lnTo>
                  <a:lnTo>
                    <a:pt x="34" y="719"/>
                  </a:lnTo>
                  <a:lnTo>
                    <a:pt x="17" y="737"/>
                  </a:lnTo>
                  <a:lnTo>
                    <a:pt x="17" y="719"/>
                  </a:lnTo>
                  <a:lnTo>
                    <a:pt x="17" y="704"/>
                  </a:lnTo>
                  <a:lnTo>
                    <a:pt x="17" y="671"/>
                  </a:lnTo>
                  <a:lnTo>
                    <a:pt x="0" y="641"/>
                  </a:lnTo>
                  <a:lnTo>
                    <a:pt x="17" y="608"/>
                  </a:lnTo>
                  <a:lnTo>
                    <a:pt x="0" y="593"/>
                  </a:lnTo>
                  <a:lnTo>
                    <a:pt x="69" y="545"/>
                  </a:lnTo>
                  <a:lnTo>
                    <a:pt x="86" y="527"/>
                  </a:lnTo>
                  <a:lnTo>
                    <a:pt x="121" y="497"/>
                  </a:lnTo>
                  <a:lnTo>
                    <a:pt x="121" y="512"/>
                  </a:lnTo>
                  <a:lnTo>
                    <a:pt x="172" y="432"/>
                  </a:lnTo>
                  <a:lnTo>
                    <a:pt x="207" y="401"/>
                  </a:lnTo>
                  <a:lnTo>
                    <a:pt x="242" y="320"/>
                  </a:lnTo>
                  <a:lnTo>
                    <a:pt x="276" y="240"/>
                  </a:lnTo>
                  <a:lnTo>
                    <a:pt x="311" y="209"/>
                  </a:lnTo>
                  <a:lnTo>
                    <a:pt x="259" y="224"/>
                  </a:lnTo>
                  <a:lnTo>
                    <a:pt x="224" y="240"/>
                  </a:lnTo>
                  <a:lnTo>
                    <a:pt x="242" y="209"/>
                  </a:lnTo>
                  <a:lnTo>
                    <a:pt x="276" y="209"/>
                  </a:lnTo>
                  <a:lnTo>
                    <a:pt x="259" y="176"/>
                  </a:lnTo>
                  <a:lnTo>
                    <a:pt x="311" y="144"/>
                  </a:lnTo>
                  <a:lnTo>
                    <a:pt x="311" y="176"/>
                  </a:lnTo>
                  <a:lnTo>
                    <a:pt x="328" y="161"/>
                  </a:lnTo>
                  <a:lnTo>
                    <a:pt x="328" y="176"/>
                  </a:lnTo>
                  <a:lnTo>
                    <a:pt x="347" y="161"/>
                  </a:lnTo>
                  <a:lnTo>
                    <a:pt x="328" y="161"/>
                  </a:lnTo>
                  <a:lnTo>
                    <a:pt x="328" y="128"/>
                  </a:lnTo>
                  <a:lnTo>
                    <a:pt x="364" y="113"/>
                  </a:lnTo>
                  <a:lnTo>
                    <a:pt x="382" y="80"/>
                  </a:lnTo>
                  <a:lnTo>
                    <a:pt x="416" y="80"/>
                  </a:lnTo>
                  <a:lnTo>
                    <a:pt x="451" y="65"/>
                  </a:lnTo>
                  <a:lnTo>
                    <a:pt x="503" y="17"/>
                  </a:lnTo>
                  <a:lnTo>
                    <a:pt x="537" y="32"/>
                  </a:lnTo>
                  <a:lnTo>
                    <a:pt x="555" y="17"/>
                  </a:lnTo>
                  <a:lnTo>
                    <a:pt x="572" y="0"/>
                  </a:lnTo>
                  <a:lnTo>
                    <a:pt x="572" y="48"/>
                  </a:lnTo>
                  <a:lnTo>
                    <a:pt x="589" y="17"/>
                  </a:lnTo>
                  <a:lnTo>
                    <a:pt x="606" y="48"/>
                  </a:lnTo>
                  <a:lnTo>
                    <a:pt x="624" y="0"/>
                  </a:lnTo>
                  <a:lnTo>
                    <a:pt x="658" y="17"/>
                  </a:lnTo>
                  <a:lnTo>
                    <a:pt x="729" y="65"/>
                  </a:lnTo>
                  <a:lnTo>
                    <a:pt x="695" y="80"/>
                  </a:lnTo>
                  <a:lnTo>
                    <a:pt x="658" y="80"/>
                  </a:lnTo>
                  <a:lnTo>
                    <a:pt x="695" y="96"/>
                  </a:lnTo>
                  <a:lnTo>
                    <a:pt x="712" y="113"/>
                  </a:lnTo>
                  <a:lnTo>
                    <a:pt x="712" y="128"/>
                  </a:lnTo>
                  <a:lnTo>
                    <a:pt x="695" y="128"/>
                  </a:lnTo>
                  <a:lnTo>
                    <a:pt x="658" y="161"/>
                  </a:lnTo>
                  <a:lnTo>
                    <a:pt x="677" y="113"/>
                  </a:lnTo>
                  <a:lnTo>
                    <a:pt x="624" y="80"/>
                  </a:lnTo>
                  <a:lnTo>
                    <a:pt x="589" y="96"/>
                  </a:lnTo>
                  <a:lnTo>
                    <a:pt x="572" y="161"/>
                  </a:lnTo>
                  <a:lnTo>
                    <a:pt x="555" y="176"/>
                  </a:lnTo>
                  <a:lnTo>
                    <a:pt x="520" y="176"/>
                  </a:lnTo>
                  <a:lnTo>
                    <a:pt x="503" y="176"/>
                  </a:lnTo>
                  <a:lnTo>
                    <a:pt x="485" y="176"/>
                  </a:lnTo>
                  <a:lnTo>
                    <a:pt x="451" y="144"/>
                  </a:lnTo>
                  <a:lnTo>
                    <a:pt x="434" y="161"/>
                  </a:lnTo>
                  <a:lnTo>
                    <a:pt x="416" y="161"/>
                  </a:lnTo>
                  <a:lnTo>
                    <a:pt x="416" y="192"/>
                  </a:lnTo>
                  <a:lnTo>
                    <a:pt x="382" y="192"/>
                  </a:lnTo>
                  <a:lnTo>
                    <a:pt x="364" y="192"/>
                  </a:lnTo>
                  <a:lnTo>
                    <a:pt x="364" y="224"/>
                  </a:lnTo>
                  <a:lnTo>
                    <a:pt x="347" y="224"/>
                  </a:lnTo>
                  <a:lnTo>
                    <a:pt x="328" y="240"/>
                  </a:lnTo>
                  <a:lnTo>
                    <a:pt x="311" y="272"/>
                  </a:lnTo>
                  <a:lnTo>
                    <a:pt x="311" y="288"/>
                  </a:lnTo>
                  <a:lnTo>
                    <a:pt x="311" y="305"/>
                  </a:lnTo>
                  <a:lnTo>
                    <a:pt x="276" y="353"/>
                  </a:lnTo>
                  <a:lnTo>
                    <a:pt x="259" y="401"/>
                  </a:lnTo>
                  <a:lnTo>
                    <a:pt x="242" y="432"/>
                  </a:lnTo>
                  <a:lnTo>
                    <a:pt x="259" y="464"/>
                  </a:lnTo>
                  <a:lnTo>
                    <a:pt x="224" y="479"/>
                  </a:lnTo>
                  <a:lnTo>
                    <a:pt x="207" y="497"/>
                  </a:lnTo>
                  <a:lnTo>
                    <a:pt x="190" y="560"/>
                  </a:lnTo>
                  <a:lnTo>
                    <a:pt x="207" y="623"/>
                  </a:lnTo>
                  <a:lnTo>
                    <a:pt x="207" y="641"/>
                  </a:lnTo>
                  <a:lnTo>
                    <a:pt x="207" y="689"/>
                  </a:lnTo>
                  <a:lnTo>
                    <a:pt x="190" y="704"/>
                  </a:lnTo>
                  <a:lnTo>
                    <a:pt x="190" y="752"/>
                  </a:lnTo>
                  <a:lnTo>
                    <a:pt x="172" y="752"/>
                  </a:lnTo>
                  <a:close/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63" name="Freeform 263">
              <a:extLst>
                <a:ext uri="{FF2B5EF4-FFF2-40B4-BE49-F238E27FC236}">
                  <a16:creationId xmlns:a16="http://schemas.microsoft.com/office/drawing/2014/main" id="{A6C63FB4-7815-5832-A548-4CC41BDC1C27}"/>
                </a:ext>
              </a:extLst>
            </p:cNvPr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5620262" y="2848666"/>
              <a:ext cx="261524" cy="599901"/>
            </a:xfrm>
            <a:custGeom>
              <a:avLst/>
              <a:gdLst>
                <a:gd name="T0" fmla="*/ 0 w 346"/>
                <a:gd name="T1" fmla="*/ 117475 h 750"/>
                <a:gd name="T2" fmla="*/ 0 w 346"/>
                <a:gd name="T3" fmla="*/ 117475 h 750"/>
                <a:gd name="T4" fmla="*/ 3969 w 346"/>
                <a:gd name="T5" fmla="*/ 117475 h 750"/>
                <a:gd name="T6" fmla="*/ 3969 w 346"/>
                <a:gd name="T7" fmla="*/ 107950 h 750"/>
                <a:gd name="T8" fmla="*/ 7144 w 346"/>
                <a:gd name="T9" fmla="*/ 104775 h 750"/>
                <a:gd name="T10" fmla="*/ 7144 w 346"/>
                <a:gd name="T11" fmla="*/ 95250 h 750"/>
                <a:gd name="T12" fmla="*/ 7144 w 346"/>
                <a:gd name="T13" fmla="*/ 91281 h 750"/>
                <a:gd name="T14" fmla="*/ 3969 w 346"/>
                <a:gd name="T15" fmla="*/ 78581 h 750"/>
                <a:gd name="T16" fmla="*/ 7144 w 346"/>
                <a:gd name="T17" fmla="*/ 66675 h 750"/>
                <a:gd name="T18" fmla="*/ 10319 w 346"/>
                <a:gd name="T19" fmla="*/ 63500 h 750"/>
                <a:gd name="T20" fmla="*/ 17463 w 346"/>
                <a:gd name="T21" fmla="*/ 60325 h 750"/>
                <a:gd name="T22" fmla="*/ 14288 w 346"/>
                <a:gd name="T23" fmla="*/ 53975 h 750"/>
                <a:gd name="T24" fmla="*/ 17463 w 346"/>
                <a:gd name="T25" fmla="*/ 47625 h 750"/>
                <a:gd name="T26" fmla="*/ 20638 w 346"/>
                <a:gd name="T27" fmla="*/ 38100 h 750"/>
                <a:gd name="T28" fmla="*/ 27781 w 346"/>
                <a:gd name="T29" fmla="*/ 28575 h 750"/>
                <a:gd name="T30" fmla="*/ 27781 w 346"/>
                <a:gd name="T31" fmla="*/ 24606 h 750"/>
                <a:gd name="T32" fmla="*/ 27781 w 346"/>
                <a:gd name="T33" fmla="*/ 21431 h 750"/>
                <a:gd name="T34" fmla="*/ 30956 w 346"/>
                <a:gd name="T35" fmla="*/ 15875 h 750"/>
                <a:gd name="T36" fmla="*/ 34131 w 346"/>
                <a:gd name="T37" fmla="*/ 11906 h 750"/>
                <a:gd name="T38" fmla="*/ 37306 w 346"/>
                <a:gd name="T39" fmla="*/ 11906 h 750"/>
                <a:gd name="T40" fmla="*/ 37306 w 346"/>
                <a:gd name="T41" fmla="*/ 5556 h 750"/>
                <a:gd name="T42" fmla="*/ 41275 w 346"/>
                <a:gd name="T43" fmla="*/ 5556 h 750"/>
                <a:gd name="T44" fmla="*/ 47625 w 346"/>
                <a:gd name="T45" fmla="*/ 5556 h 750"/>
                <a:gd name="T46" fmla="*/ 47625 w 346"/>
                <a:gd name="T47" fmla="*/ 0 h 750"/>
                <a:gd name="T48" fmla="*/ 51594 w 346"/>
                <a:gd name="T49" fmla="*/ 0 h 750"/>
                <a:gd name="T50" fmla="*/ 65881 w 346"/>
                <a:gd name="T51" fmla="*/ 11906 h 750"/>
                <a:gd name="T52" fmla="*/ 69056 w 346"/>
                <a:gd name="T53" fmla="*/ 40481 h 750"/>
                <a:gd name="T54" fmla="*/ 61913 w 346"/>
                <a:gd name="T55" fmla="*/ 40481 h 750"/>
                <a:gd name="T56" fmla="*/ 55563 w 346"/>
                <a:gd name="T57" fmla="*/ 47625 h 750"/>
                <a:gd name="T58" fmla="*/ 55563 w 346"/>
                <a:gd name="T59" fmla="*/ 50006 h 750"/>
                <a:gd name="T60" fmla="*/ 55563 w 346"/>
                <a:gd name="T61" fmla="*/ 53975 h 750"/>
                <a:gd name="T62" fmla="*/ 58738 w 346"/>
                <a:gd name="T63" fmla="*/ 57150 h 750"/>
                <a:gd name="T64" fmla="*/ 51594 w 346"/>
                <a:gd name="T65" fmla="*/ 63500 h 750"/>
                <a:gd name="T66" fmla="*/ 41275 w 346"/>
                <a:gd name="T67" fmla="*/ 73025 h 750"/>
                <a:gd name="T68" fmla="*/ 34131 w 346"/>
                <a:gd name="T69" fmla="*/ 81756 h 750"/>
                <a:gd name="T70" fmla="*/ 34131 w 346"/>
                <a:gd name="T71" fmla="*/ 97631 h 750"/>
                <a:gd name="T72" fmla="*/ 41275 w 346"/>
                <a:gd name="T73" fmla="*/ 107950 h 750"/>
                <a:gd name="T74" fmla="*/ 37306 w 346"/>
                <a:gd name="T75" fmla="*/ 111125 h 750"/>
                <a:gd name="T76" fmla="*/ 37306 w 346"/>
                <a:gd name="T77" fmla="*/ 114300 h 750"/>
                <a:gd name="T78" fmla="*/ 30956 w 346"/>
                <a:gd name="T79" fmla="*/ 120650 h 750"/>
                <a:gd name="T80" fmla="*/ 27781 w 346"/>
                <a:gd name="T81" fmla="*/ 142875 h 750"/>
                <a:gd name="T82" fmla="*/ 20638 w 346"/>
                <a:gd name="T83" fmla="*/ 142875 h 750"/>
                <a:gd name="T84" fmla="*/ 17463 w 346"/>
                <a:gd name="T85" fmla="*/ 146050 h 750"/>
                <a:gd name="T86" fmla="*/ 17463 w 346"/>
                <a:gd name="T87" fmla="*/ 149225 h 750"/>
                <a:gd name="T88" fmla="*/ 10319 w 346"/>
                <a:gd name="T89" fmla="*/ 149225 h 750"/>
                <a:gd name="T90" fmla="*/ 7144 w 346"/>
                <a:gd name="T91" fmla="*/ 142875 h 750"/>
                <a:gd name="T92" fmla="*/ 10319 w 346"/>
                <a:gd name="T93" fmla="*/ 139700 h 750"/>
                <a:gd name="T94" fmla="*/ 7144 w 346"/>
                <a:gd name="T95" fmla="*/ 136525 h 750"/>
                <a:gd name="T96" fmla="*/ 0 w 346"/>
                <a:gd name="T97" fmla="*/ 117475 h 75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346"/>
                <a:gd name="T148" fmla="*/ 0 h 750"/>
                <a:gd name="T149" fmla="*/ 346 w 346"/>
                <a:gd name="T150" fmla="*/ 750 h 75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346" h="750">
                  <a:moveTo>
                    <a:pt x="0" y="591"/>
                  </a:moveTo>
                  <a:lnTo>
                    <a:pt x="0" y="591"/>
                  </a:lnTo>
                  <a:lnTo>
                    <a:pt x="18" y="591"/>
                  </a:lnTo>
                  <a:lnTo>
                    <a:pt x="18" y="543"/>
                  </a:lnTo>
                  <a:lnTo>
                    <a:pt x="35" y="528"/>
                  </a:lnTo>
                  <a:lnTo>
                    <a:pt x="35" y="480"/>
                  </a:lnTo>
                  <a:lnTo>
                    <a:pt x="35" y="462"/>
                  </a:lnTo>
                  <a:lnTo>
                    <a:pt x="18" y="399"/>
                  </a:lnTo>
                  <a:lnTo>
                    <a:pt x="35" y="336"/>
                  </a:lnTo>
                  <a:lnTo>
                    <a:pt x="52" y="318"/>
                  </a:lnTo>
                  <a:lnTo>
                    <a:pt x="87" y="303"/>
                  </a:lnTo>
                  <a:lnTo>
                    <a:pt x="70" y="271"/>
                  </a:lnTo>
                  <a:lnTo>
                    <a:pt x="87" y="240"/>
                  </a:lnTo>
                  <a:lnTo>
                    <a:pt x="104" y="192"/>
                  </a:lnTo>
                  <a:lnTo>
                    <a:pt x="139" y="144"/>
                  </a:lnTo>
                  <a:lnTo>
                    <a:pt x="139" y="127"/>
                  </a:lnTo>
                  <a:lnTo>
                    <a:pt x="139" y="111"/>
                  </a:lnTo>
                  <a:lnTo>
                    <a:pt x="156" y="79"/>
                  </a:lnTo>
                  <a:lnTo>
                    <a:pt x="173" y="63"/>
                  </a:lnTo>
                  <a:lnTo>
                    <a:pt x="190" y="63"/>
                  </a:lnTo>
                  <a:lnTo>
                    <a:pt x="190" y="31"/>
                  </a:lnTo>
                  <a:lnTo>
                    <a:pt x="208" y="31"/>
                  </a:lnTo>
                  <a:lnTo>
                    <a:pt x="242" y="31"/>
                  </a:lnTo>
                  <a:lnTo>
                    <a:pt x="242" y="0"/>
                  </a:lnTo>
                  <a:lnTo>
                    <a:pt x="260" y="0"/>
                  </a:lnTo>
                  <a:lnTo>
                    <a:pt x="329" y="63"/>
                  </a:lnTo>
                  <a:lnTo>
                    <a:pt x="346" y="207"/>
                  </a:lnTo>
                  <a:lnTo>
                    <a:pt x="311" y="207"/>
                  </a:lnTo>
                  <a:lnTo>
                    <a:pt x="277" y="240"/>
                  </a:lnTo>
                  <a:lnTo>
                    <a:pt x="277" y="255"/>
                  </a:lnTo>
                  <a:lnTo>
                    <a:pt x="277" y="271"/>
                  </a:lnTo>
                  <a:lnTo>
                    <a:pt x="294" y="288"/>
                  </a:lnTo>
                  <a:lnTo>
                    <a:pt x="260" y="318"/>
                  </a:lnTo>
                  <a:lnTo>
                    <a:pt x="208" y="366"/>
                  </a:lnTo>
                  <a:lnTo>
                    <a:pt x="173" y="414"/>
                  </a:lnTo>
                  <a:lnTo>
                    <a:pt x="173" y="495"/>
                  </a:lnTo>
                  <a:lnTo>
                    <a:pt x="208" y="543"/>
                  </a:lnTo>
                  <a:lnTo>
                    <a:pt x="190" y="558"/>
                  </a:lnTo>
                  <a:lnTo>
                    <a:pt x="190" y="576"/>
                  </a:lnTo>
                  <a:lnTo>
                    <a:pt x="156" y="606"/>
                  </a:lnTo>
                  <a:lnTo>
                    <a:pt x="139" y="720"/>
                  </a:lnTo>
                  <a:lnTo>
                    <a:pt x="104" y="720"/>
                  </a:lnTo>
                  <a:lnTo>
                    <a:pt x="87" y="735"/>
                  </a:lnTo>
                  <a:lnTo>
                    <a:pt x="87" y="750"/>
                  </a:lnTo>
                  <a:lnTo>
                    <a:pt x="52" y="750"/>
                  </a:lnTo>
                  <a:lnTo>
                    <a:pt x="35" y="720"/>
                  </a:lnTo>
                  <a:lnTo>
                    <a:pt x="52" y="702"/>
                  </a:lnTo>
                  <a:lnTo>
                    <a:pt x="35" y="687"/>
                  </a:lnTo>
                  <a:lnTo>
                    <a:pt x="0" y="591"/>
                  </a:lnTo>
                  <a:close/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64" name="Freeform 264">
              <a:extLst>
                <a:ext uri="{FF2B5EF4-FFF2-40B4-BE49-F238E27FC236}">
                  <a16:creationId xmlns:a16="http://schemas.microsoft.com/office/drawing/2014/main" id="{5DE685A0-E6C5-9EE0-B821-1AF2CFAE332E}"/>
                </a:ext>
              </a:extLst>
            </p:cNvPr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5636016" y="5134956"/>
              <a:ext cx="272553" cy="256624"/>
            </a:xfrm>
            <a:custGeom>
              <a:avLst/>
              <a:gdLst>
                <a:gd name="T0" fmla="*/ 23813 w 362"/>
                <a:gd name="T1" fmla="*/ 63500 h 320"/>
                <a:gd name="T2" fmla="*/ 23813 w 362"/>
                <a:gd name="T3" fmla="*/ 63500 h 320"/>
                <a:gd name="T4" fmla="*/ 19844 w 362"/>
                <a:gd name="T5" fmla="*/ 57150 h 320"/>
                <a:gd name="T6" fmla="*/ 14288 w 362"/>
                <a:gd name="T7" fmla="*/ 38100 h 320"/>
                <a:gd name="T8" fmla="*/ 14288 w 362"/>
                <a:gd name="T9" fmla="*/ 28575 h 320"/>
                <a:gd name="T10" fmla="*/ 0 w 362"/>
                <a:gd name="T11" fmla="*/ 3969 h 320"/>
                <a:gd name="T12" fmla="*/ 0 w 362"/>
                <a:gd name="T13" fmla="*/ 0 h 320"/>
                <a:gd name="T14" fmla="*/ 7144 w 362"/>
                <a:gd name="T15" fmla="*/ 0 h 320"/>
                <a:gd name="T16" fmla="*/ 14288 w 362"/>
                <a:gd name="T17" fmla="*/ 0 h 320"/>
                <a:gd name="T18" fmla="*/ 34131 w 362"/>
                <a:gd name="T19" fmla="*/ 3969 h 320"/>
                <a:gd name="T20" fmla="*/ 40481 w 362"/>
                <a:gd name="T21" fmla="*/ 3969 h 320"/>
                <a:gd name="T22" fmla="*/ 54769 w 362"/>
                <a:gd name="T23" fmla="*/ 7144 h 320"/>
                <a:gd name="T24" fmla="*/ 61913 w 362"/>
                <a:gd name="T25" fmla="*/ 3969 h 320"/>
                <a:gd name="T26" fmla="*/ 65088 w 362"/>
                <a:gd name="T27" fmla="*/ 0 h 320"/>
                <a:gd name="T28" fmla="*/ 72231 w 362"/>
                <a:gd name="T29" fmla="*/ 3969 h 320"/>
                <a:gd name="T30" fmla="*/ 65088 w 362"/>
                <a:gd name="T31" fmla="*/ 9525 h 320"/>
                <a:gd name="T32" fmla="*/ 61913 w 362"/>
                <a:gd name="T33" fmla="*/ 7144 h 320"/>
                <a:gd name="T34" fmla="*/ 51594 w 362"/>
                <a:gd name="T35" fmla="*/ 7144 h 320"/>
                <a:gd name="T36" fmla="*/ 47625 w 362"/>
                <a:gd name="T37" fmla="*/ 26194 h 320"/>
                <a:gd name="T38" fmla="*/ 44450 w 362"/>
                <a:gd name="T39" fmla="*/ 28575 h 320"/>
                <a:gd name="T40" fmla="*/ 44450 w 362"/>
                <a:gd name="T41" fmla="*/ 41275 h 320"/>
                <a:gd name="T42" fmla="*/ 44450 w 362"/>
                <a:gd name="T43" fmla="*/ 61119 h 320"/>
                <a:gd name="T44" fmla="*/ 37306 w 362"/>
                <a:gd name="T45" fmla="*/ 63500 h 320"/>
                <a:gd name="T46" fmla="*/ 30956 w 362"/>
                <a:gd name="T47" fmla="*/ 63500 h 320"/>
                <a:gd name="T48" fmla="*/ 27781 w 362"/>
                <a:gd name="T49" fmla="*/ 61119 h 320"/>
                <a:gd name="T50" fmla="*/ 23813 w 362"/>
                <a:gd name="T51" fmla="*/ 63500 h 3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362"/>
                <a:gd name="T79" fmla="*/ 0 h 320"/>
                <a:gd name="T80" fmla="*/ 362 w 362"/>
                <a:gd name="T81" fmla="*/ 320 h 3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362" h="320">
                  <a:moveTo>
                    <a:pt x="121" y="320"/>
                  </a:moveTo>
                  <a:lnTo>
                    <a:pt x="121" y="320"/>
                  </a:lnTo>
                  <a:lnTo>
                    <a:pt x="103" y="288"/>
                  </a:lnTo>
                  <a:lnTo>
                    <a:pt x="69" y="192"/>
                  </a:lnTo>
                  <a:lnTo>
                    <a:pt x="69" y="144"/>
                  </a:lnTo>
                  <a:lnTo>
                    <a:pt x="0" y="17"/>
                  </a:lnTo>
                  <a:lnTo>
                    <a:pt x="0" y="0"/>
                  </a:lnTo>
                  <a:lnTo>
                    <a:pt x="34" y="0"/>
                  </a:lnTo>
                  <a:lnTo>
                    <a:pt x="69" y="0"/>
                  </a:lnTo>
                  <a:lnTo>
                    <a:pt x="172" y="17"/>
                  </a:lnTo>
                  <a:lnTo>
                    <a:pt x="207" y="17"/>
                  </a:lnTo>
                  <a:lnTo>
                    <a:pt x="276" y="33"/>
                  </a:lnTo>
                  <a:lnTo>
                    <a:pt x="311" y="17"/>
                  </a:lnTo>
                  <a:lnTo>
                    <a:pt x="328" y="0"/>
                  </a:lnTo>
                  <a:lnTo>
                    <a:pt x="362" y="17"/>
                  </a:lnTo>
                  <a:lnTo>
                    <a:pt x="328" y="48"/>
                  </a:lnTo>
                  <a:lnTo>
                    <a:pt x="311" y="33"/>
                  </a:lnTo>
                  <a:lnTo>
                    <a:pt x="259" y="33"/>
                  </a:lnTo>
                  <a:lnTo>
                    <a:pt x="241" y="129"/>
                  </a:lnTo>
                  <a:lnTo>
                    <a:pt x="224" y="144"/>
                  </a:lnTo>
                  <a:lnTo>
                    <a:pt x="224" y="209"/>
                  </a:lnTo>
                  <a:lnTo>
                    <a:pt x="224" y="305"/>
                  </a:lnTo>
                  <a:lnTo>
                    <a:pt x="190" y="320"/>
                  </a:lnTo>
                  <a:lnTo>
                    <a:pt x="155" y="320"/>
                  </a:lnTo>
                  <a:lnTo>
                    <a:pt x="138" y="305"/>
                  </a:lnTo>
                  <a:lnTo>
                    <a:pt x="121" y="320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65" name="Freeform 265">
              <a:extLst>
                <a:ext uri="{FF2B5EF4-FFF2-40B4-BE49-F238E27FC236}">
                  <a16:creationId xmlns:a16="http://schemas.microsoft.com/office/drawing/2014/main" id="{C83C142F-3080-3D3B-6420-4A59823F2333}"/>
                </a:ext>
              </a:extLst>
            </p:cNvPr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5724241" y="5238273"/>
              <a:ext cx="341872" cy="293285"/>
            </a:xfrm>
            <a:custGeom>
              <a:avLst/>
              <a:gdLst>
                <a:gd name="T0" fmla="*/ 82733 w 451"/>
                <a:gd name="T1" fmla="*/ 2381 h 368"/>
                <a:gd name="T2" fmla="*/ 86711 w 451"/>
                <a:gd name="T3" fmla="*/ 21431 h 368"/>
                <a:gd name="T4" fmla="*/ 82733 w 451"/>
                <a:gd name="T5" fmla="*/ 21431 h 368"/>
                <a:gd name="T6" fmla="*/ 79551 w 451"/>
                <a:gd name="T7" fmla="*/ 25400 h 368"/>
                <a:gd name="T8" fmla="*/ 82733 w 451"/>
                <a:gd name="T9" fmla="*/ 28575 h 368"/>
                <a:gd name="T10" fmla="*/ 86711 w 451"/>
                <a:gd name="T11" fmla="*/ 25400 h 368"/>
                <a:gd name="T12" fmla="*/ 89893 w 451"/>
                <a:gd name="T13" fmla="*/ 25400 h 368"/>
                <a:gd name="T14" fmla="*/ 89893 w 451"/>
                <a:gd name="T15" fmla="*/ 28575 h 368"/>
                <a:gd name="T16" fmla="*/ 89893 w 451"/>
                <a:gd name="T17" fmla="*/ 37306 h 368"/>
                <a:gd name="T18" fmla="*/ 82733 w 451"/>
                <a:gd name="T19" fmla="*/ 40481 h 368"/>
                <a:gd name="T20" fmla="*/ 76369 w 451"/>
                <a:gd name="T21" fmla="*/ 50006 h 368"/>
                <a:gd name="T22" fmla="*/ 66027 w 451"/>
                <a:gd name="T23" fmla="*/ 60325 h 368"/>
                <a:gd name="T24" fmla="*/ 58868 w 451"/>
                <a:gd name="T25" fmla="*/ 66675 h 368"/>
                <a:gd name="T26" fmla="*/ 48526 w 451"/>
                <a:gd name="T27" fmla="*/ 69850 h 368"/>
                <a:gd name="T28" fmla="*/ 42162 w 451"/>
                <a:gd name="T29" fmla="*/ 69850 h 368"/>
                <a:gd name="T30" fmla="*/ 31820 w 451"/>
                <a:gd name="T31" fmla="*/ 69850 h 368"/>
                <a:gd name="T32" fmla="*/ 20683 w 451"/>
                <a:gd name="T33" fmla="*/ 73025 h 368"/>
                <a:gd name="T34" fmla="*/ 17501 w 451"/>
                <a:gd name="T35" fmla="*/ 73025 h 368"/>
                <a:gd name="T36" fmla="*/ 14319 w 451"/>
                <a:gd name="T37" fmla="*/ 69850 h 368"/>
                <a:gd name="T38" fmla="*/ 10342 w 451"/>
                <a:gd name="T39" fmla="*/ 60325 h 368"/>
                <a:gd name="T40" fmla="*/ 10342 w 451"/>
                <a:gd name="T41" fmla="*/ 57150 h 368"/>
                <a:gd name="T42" fmla="*/ 3978 w 451"/>
                <a:gd name="T43" fmla="*/ 37306 h 368"/>
                <a:gd name="T44" fmla="*/ 0 w 451"/>
                <a:gd name="T45" fmla="*/ 37306 h 368"/>
                <a:gd name="T46" fmla="*/ 3978 w 451"/>
                <a:gd name="T47" fmla="*/ 34925 h 368"/>
                <a:gd name="T48" fmla="*/ 7160 w 451"/>
                <a:gd name="T49" fmla="*/ 37306 h 368"/>
                <a:gd name="T50" fmla="*/ 14319 w 451"/>
                <a:gd name="T51" fmla="*/ 37306 h 368"/>
                <a:gd name="T52" fmla="*/ 20683 w 451"/>
                <a:gd name="T53" fmla="*/ 34925 h 368"/>
                <a:gd name="T54" fmla="*/ 20683 w 451"/>
                <a:gd name="T55" fmla="*/ 15875 h 368"/>
                <a:gd name="T56" fmla="*/ 24661 w 451"/>
                <a:gd name="T57" fmla="*/ 19050 h 368"/>
                <a:gd name="T58" fmla="*/ 24661 w 451"/>
                <a:gd name="T59" fmla="*/ 25400 h 368"/>
                <a:gd name="T60" fmla="*/ 31820 w 451"/>
                <a:gd name="T61" fmla="*/ 25400 h 368"/>
                <a:gd name="T62" fmla="*/ 42162 w 451"/>
                <a:gd name="T63" fmla="*/ 19050 h 368"/>
                <a:gd name="T64" fmla="*/ 45344 w 451"/>
                <a:gd name="T65" fmla="*/ 21431 h 368"/>
                <a:gd name="T66" fmla="*/ 48526 w 451"/>
                <a:gd name="T67" fmla="*/ 19050 h 368"/>
                <a:gd name="T68" fmla="*/ 62845 w 451"/>
                <a:gd name="T69" fmla="*/ 6350 h 368"/>
                <a:gd name="T70" fmla="*/ 72391 w 451"/>
                <a:gd name="T71" fmla="*/ 0 h 368"/>
                <a:gd name="T72" fmla="*/ 79551 w 451"/>
                <a:gd name="T73" fmla="*/ 2381 h 368"/>
                <a:gd name="T74" fmla="*/ 82733 w 451"/>
                <a:gd name="T75" fmla="*/ 2381 h 3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51"/>
                <a:gd name="T115" fmla="*/ 0 h 368"/>
                <a:gd name="T116" fmla="*/ 451 w 451"/>
                <a:gd name="T117" fmla="*/ 368 h 3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51" h="368">
                  <a:moveTo>
                    <a:pt x="416" y="15"/>
                  </a:moveTo>
                  <a:lnTo>
                    <a:pt x="433" y="111"/>
                  </a:lnTo>
                  <a:lnTo>
                    <a:pt x="416" y="111"/>
                  </a:lnTo>
                  <a:lnTo>
                    <a:pt x="399" y="128"/>
                  </a:lnTo>
                  <a:lnTo>
                    <a:pt x="416" y="143"/>
                  </a:lnTo>
                  <a:lnTo>
                    <a:pt x="433" y="128"/>
                  </a:lnTo>
                  <a:lnTo>
                    <a:pt x="451" y="128"/>
                  </a:lnTo>
                  <a:lnTo>
                    <a:pt x="451" y="143"/>
                  </a:lnTo>
                  <a:lnTo>
                    <a:pt x="451" y="191"/>
                  </a:lnTo>
                  <a:lnTo>
                    <a:pt x="416" y="207"/>
                  </a:lnTo>
                  <a:lnTo>
                    <a:pt x="382" y="255"/>
                  </a:lnTo>
                  <a:lnTo>
                    <a:pt x="330" y="303"/>
                  </a:lnTo>
                  <a:lnTo>
                    <a:pt x="295" y="335"/>
                  </a:lnTo>
                  <a:lnTo>
                    <a:pt x="243" y="351"/>
                  </a:lnTo>
                  <a:lnTo>
                    <a:pt x="209" y="351"/>
                  </a:lnTo>
                  <a:lnTo>
                    <a:pt x="157" y="351"/>
                  </a:lnTo>
                  <a:lnTo>
                    <a:pt x="103" y="368"/>
                  </a:lnTo>
                  <a:lnTo>
                    <a:pt x="86" y="368"/>
                  </a:lnTo>
                  <a:lnTo>
                    <a:pt x="69" y="351"/>
                  </a:lnTo>
                  <a:lnTo>
                    <a:pt x="51" y="303"/>
                  </a:lnTo>
                  <a:lnTo>
                    <a:pt x="51" y="287"/>
                  </a:lnTo>
                  <a:lnTo>
                    <a:pt x="17" y="191"/>
                  </a:lnTo>
                  <a:lnTo>
                    <a:pt x="0" y="191"/>
                  </a:lnTo>
                  <a:lnTo>
                    <a:pt x="17" y="176"/>
                  </a:lnTo>
                  <a:lnTo>
                    <a:pt x="34" y="191"/>
                  </a:lnTo>
                  <a:lnTo>
                    <a:pt x="69" y="191"/>
                  </a:lnTo>
                  <a:lnTo>
                    <a:pt x="103" y="176"/>
                  </a:lnTo>
                  <a:lnTo>
                    <a:pt x="103" y="80"/>
                  </a:lnTo>
                  <a:lnTo>
                    <a:pt x="121" y="96"/>
                  </a:lnTo>
                  <a:lnTo>
                    <a:pt x="121" y="128"/>
                  </a:lnTo>
                  <a:lnTo>
                    <a:pt x="157" y="128"/>
                  </a:lnTo>
                  <a:lnTo>
                    <a:pt x="209" y="96"/>
                  </a:lnTo>
                  <a:lnTo>
                    <a:pt x="226" y="111"/>
                  </a:lnTo>
                  <a:lnTo>
                    <a:pt x="243" y="96"/>
                  </a:lnTo>
                  <a:lnTo>
                    <a:pt x="313" y="32"/>
                  </a:lnTo>
                  <a:lnTo>
                    <a:pt x="364" y="0"/>
                  </a:lnTo>
                  <a:lnTo>
                    <a:pt x="399" y="15"/>
                  </a:lnTo>
                  <a:lnTo>
                    <a:pt x="416" y="15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66" name="Freeform 266">
              <a:extLst>
                <a:ext uri="{FF2B5EF4-FFF2-40B4-BE49-F238E27FC236}">
                  <a16:creationId xmlns:a16="http://schemas.microsoft.com/office/drawing/2014/main" id="{0B782CE8-78A7-B0C1-3628-CA6462FD146A}"/>
                </a:ext>
              </a:extLst>
            </p:cNvPr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5803014" y="5148288"/>
              <a:ext cx="198506" cy="191635"/>
            </a:xfrm>
            <a:custGeom>
              <a:avLst/>
              <a:gdLst>
                <a:gd name="T0" fmla="*/ 0 w 261"/>
                <a:gd name="T1" fmla="*/ 38100 h 240"/>
                <a:gd name="T2" fmla="*/ 0 w 261"/>
                <a:gd name="T3" fmla="*/ 38100 h 240"/>
                <a:gd name="T4" fmla="*/ 3984 w 261"/>
                <a:gd name="T5" fmla="*/ 41275 h 240"/>
                <a:gd name="T6" fmla="*/ 3984 w 261"/>
                <a:gd name="T7" fmla="*/ 47625 h 240"/>
                <a:gd name="T8" fmla="*/ 10358 w 261"/>
                <a:gd name="T9" fmla="*/ 47625 h 240"/>
                <a:gd name="T10" fmla="*/ 20717 w 261"/>
                <a:gd name="T11" fmla="*/ 41275 h 240"/>
                <a:gd name="T12" fmla="*/ 24701 w 261"/>
                <a:gd name="T13" fmla="*/ 44450 h 240"/>
                <a:gd name="T14" fmla="*/ 27888 w 261"/>
                <a:gd name="T15" fmla="*/ 41275 h 240"/>
                <a:gd name="T16" fmla="*/ 42230 w 261"/>
                <a:gd name="T17" fmla="*/ 28575 h 240"/>
                <a:gd name="T18" fmla="*/ 52588 w 261"/>
                <a:gd name="T19" fmla="*/ 22225 h 240"/>
                <a:gd name="T20" fmla="*/ 45417 w 261"/>
                <a:gd name="T21" fmla="*/ 22225 h 240"/>
                <a:gd name="T22" fmla="*/ 42230 w 261"/>
                <a:gd name="T23" fmla="*/ 15875 h 240"/>
                <a:gd name="T24" fmla="*/ 35059 w 261"/>
                <a:gd name="T25" fmla="*/ 9525 h 240"/>
                <a:gd name="T26" fmla="*/ 27888 w 261"/>
                <a:gd name="T27" fmla="*/ 0 h 240"/>
                <a:gd name="T28" fmla="*/ 20717 w 261"/>
                <a:gd name="T29" fmla="*/ 6350 h 240"/>
                <a:gd name="T30" fmla="*/ 17529 w 261"/>
                <a:gd name="T31" fmla="*/ 3175 h 240"/>
                <a:gd name="T32" fmla="*/ 7171 w 261"/>
                <a:gd name="T33" fmla="*/ 3175 h 240"/>
                <a:gd name="T34" fmla="*/ 3984 w 261"/>
                <a:gd name="T35" fmla="*/ 22225 h 240"/>
                <a:gd name="T36" fmla="*/ 0 w 261"/>
                <a:gd name="T37" fmla="*/ 24606 h 240"/>
                <a:gd name="T38" fmla="*/ 0 w 261"/>
                <a:gd name="T39" fmla="*/ 38100 h 24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61"/>
                <a:gd name="T61" fmla="*/ 0 h 240"/>
                <a:gd name="T62" fmla="*/ 261 w 261"/>
                <a:gd name="T63" fmla="*/ 240 h 24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61" h="240">
                  <a:moveTo>
                    <a:pt x="0" y="192"/>
                  </a:moveTo>
                  <a:lnTo>
                    <a:pt x="0" y="192"/>
                  </a:lnTo>
                  <a:lnTo>
                    <a:pt x="18" y="208"/>
                  </a:lnTo>
                  <a:lnTo>
                    <a:pt x="18" y="240"/>
                  </a:lnTo>
                  <a:lnTo>
                    <a:pt x="52" y="240"/>
                  </a:lnTo>
                  <a:lnTo>
                    <a:pt x="104" y="208"/>
                  </a:lnTo>
                  <a:lnTo>
                    <a:pt x="121" y="223"/>
                  </a:lnTo>
                  <a:lnTo>
                    <a:pt x="139" y="208"/>
                  </a:lnTo>
                  <a:lnTo>
                    <a:pt x="210" y="144"/>
                  </a:lnTo>
                  <a:lnTo>
                    <a:pt x="261" y="112"/>
                  </a:lnTo>
                  <a:lnTo>
                    <a:pt x="227" y="112"/>
                  </a:lnTo>
                  <a:lnTo>
                    <a:pt x="210" y="79"/>
                  </a:lnTo>
                  <a:lnTo>
                    <a:pt x="173" y="48"/>
                  </a:lnTo>
                  <a:lnTo>
                    <a:pt x="139" y="0"/>
                  </a:lnTo>
                  <a:lnTo>
                    <a:pt x="104" y="31"/>
                  </a:lnTo>
                  <a:lnTo>
                    <a:pt x="87" y="16"/>
                  </a:lnTo>
                  <a:lnTo>
                    <a:pt x="35" y="16"/>
                  </a:lnTo>
                  <a:lnTo>
                    <a:pt x="18" y="112"/>
                  </a:lnTo>
                  <a:lnTo>
                    <a:pt x="0" y="127"/>
                  </a:lnTo>
                  <a:lnTo>
                    <a:pt x="0" y="192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67" name="Freeform 267">
              <a:extLst>
                <a:ext uri="{FF2B5EF4-FFF2-40B4-BE49-F238E27FC236}">
                  <a16:creationId xmlns:a16="http://schemas.microsoft.com/office/drawing/2014/main" id="{185F3832-2CFF-7E1A-02C0-A31F8166E2C7}"/>
                </a:ext>
              </a:extLst>
            </p:cNvPr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5908569" y="5109960"/>
              <a:ext cx="171723" cy="139977"/>
            </a:xfrm>
            <a:custGeom>
              <a:avLst/>
              <a:gdLst>
                <a:gd name="T0" fmla="*/ 27905 w 225"/>
                <a:gd name="T1" fmla="*/ 0 h 175"/>
                <a:gd name="T2" fmla="*/ 27905 w 225"/>
                <a:gd name="T3" fmla="*/ 0 h 175"/>
                <a:gd name="T4" fmla="*/ 20729 w 225"/>
                <a:gd name="T5" fmla="*/ 0 h 175"/>
                <a:gd name="T6" fmla="*/ 20729 w 225"/>
                <a:gd name="T7" fmla="*/ 3157 h 175"/>
                <a:gd name="T8" fmla="*/ 10365 w 225"/>
                <a:gd name="T9" fmla="*/ 9471 h 175"/>
                <a:gd name="T10" fmla="*/ 0 w 225"/>
                <a:gd name="T11" fmla="*/ 9471 h 175"/>
                <a:gd name="T12" fmla="*/ 7176 w 225"/>
                <a:gd name="T13" fmla="*/ 18941 h 175"/>
                <a:gd name="T14" fmla="*/ 14351 w 225"/>
                <a:gd name="T15" fmla="*/ 24466 h 175"/>
                <a:gd name="T16" fmla="*/ 17540 w 225"/>
                <a:gd name="T17" fmla="*/ 31569 h 175"/>
                <a:gd name="T18" fmla="*/ 24716 w 225"/>
                <a:gd name="T19" fmla="*/ 31569 h 175"/>
                <a:gd name="T20" fmla="*/ 31094 w 225"/>
                <a:gd name="T21" fmla="*/ 33936 h 175"/>
                <a:gd name="T22" fmla="*/ 35080 w 225"/>
                <a:gd name="T23" fmla="*/ 33936 h 175"/>
                <a:gd name="T24" fmla="*/ 41459 w 225"/>
                <a:gd name="T25" fmla="*/ 22098 h 175"/>
                <a:gd name="T26" fmla="*/ 45445 w 225"/>
                <a:gd name="T27" fmla="*/ 9471 h 175"/>
                <a:gd name="T28" fmla="*/ 41459 w 225"/>
                <a:gd name="T29" fmla="*/ 3157 h 175"/>
                <a:gd name="T30" fmla="*/ 35080 w 225"/>
                <a:gd name="T31" fmla="*/ 0 h 175"/>
                <a:gd name="T32" fmla="*/ 27905 w 225"/>
                <a:gd name="T33" fmla="*/ 0 h 17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5"/>
                <a:gd name="T52" fmla="*/ 0 h 175"/>
                <a:gd name="T53" fmla="*/ 225 w 225"/>
                <a:gd name="T54" fmla="*/ 175 h 17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5" h="175">
                  <a:moveTo>
                    <a:pt x="139" y="0"/>
                  </a:moveTo>
                  <a:lnTo>
                    <a:pt x="139" y="0"/>
                  </a:lnTo>
                  <a:lnTo>
                    <a:pt x="104" y="0"/>
                  </a:lnTo>
                  <a:lnTo>
                    <a:pt x="104" y="16"/>
                  </a:lnTo>
                  <a:lnTo>
                    <a:pt x="52" y="48"/>
                  </a:lnTo>
                  <a:lnTo>
                    <a:pt x="0" y="48"/>
                  </a:lnTo>
                  <a:lnTo>
                    <a:pt x="35" y="96"/>
                  </a:lnTo>
                  <a:lnTo>
                    <a:pt x="70" y="127"/>
                  </a:lnTo>
                  <a:lnTo>
                    <a:pt x="87" y="160"/>
                  </a:lnTo>
                  <a:lnTo>
                    <a:pt x="121" y="160"/>
                  </a:lnTo>
                  <a:lnTo>
                    <a:pt x="156" y="175"/>
                  </a:lnTo>
                  <a:lnTo>
                    <a:pt x="173" y="175"/>
                  </a:lnTo>
                  <a:lnTo>
                    <a:pt x="208" y="112"/>
                  </a:lnTo>
                  <a:lnTo>
                    <a:pt x="225" y="48"/>
                  </a:lnTo>
                  <a:lnTo>
                    <a:pt x="208" y="16"/>
                  </a:lnTo>
                  <a:lnTo>
                    <a:pt x="173" y="0"/>
                  </a:lnTo>
                  <a:lnTo>
                    <a:pt x="139" y="0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68" name="Freeform 268">
              <a:extLst>
                <a:ext uri="{FF2B5EF4-FFF2-40B4-BE49-F238E27FC236}">
                  <a16:creationId xmlns:a16="http://schemas.microsoft.com/office/drawing/2014/main" id="{F35CCCC4-6B53-F2CD-6D19-26A3EC1E67D6}"/>
                </a:ext>
              </a:extLst>
            </p:cNvPr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6014123" y="4994979"/>
              <a:ext cx="222138" cy="344943"/>
            </a:xfrm>
            <a:custGeom>
              <a:avLst/>
              <a:gdLst>
                <a:gd name="T0" fmla="*/ 14336 w 293"/>
                <a:gd name="T1" fmla="*/ 85725 h 432"/>
                <a:gd name="T2" fmla="*/ 14336 w 293"/>
                <a:gd name="T3" fmla="*/ 85725 h 432"/>
                <a:gd name="T4" fmla="*/ 14336 w 293"/>
                <a:gd name="T5" fmla="*/ 82550 h 432"/>
                <a:gd name="T6" fmla="*/ 14336 w 293"/>
                <a:gd name="T7" fmla="*/ 79375 h 432"/>
                <a:gd name="T8" fmla="*/ 27876 w 293"/>
                <a:gd name="T9" fmla="*/ 76200 h 432"/>
                <a:gd name="T10" fmla="*/ 31062 w 293"/>
                <a:gd name="T11" fmla="*/ 73025 h 432"/>
                <a:gd name="T12" fmla="*/ 31062 w 293"/>
                <a:gd name="T13" fmla="*/ 63500 h 432"/>
                <a:gd name="T14" fmla="*/ 24690 w 293"/>
                <a:gd name="T15" fmla="*/ 50800 h 432"/>
                <a:gd name="T16" fmla="*/ 38230 w 293"/>
                <a:gd name="T17" fmla="*/ 38100 h 432"/>
                <a:gd name="T18" fmla="*/ 48584 w 293"/>
                <a:gd name="T19" fmla="*/ 34925 h 432"/>
                <a:gd name="T20" fmla="*/ 58938 w 293"/>
                <a:gd name="T21" fmla="*/ 24606 h 432"/>
                <a:gd name="T22" fmla="*/ 54956 w 293"/>
                <a:gd name="T23" fmla="*/ 0 h 432"/>
                <a:gd name="T24" fmla="*/ 48584 w 293"/>
                <a:gd name="T25" fmla="*/ 5556 h 432"/>
                <a:gd name="T26" fmla="*/ 34248 w 293"/>
                <a:gd name="T27" fmla="*/ 5556 h 432"/>
                <a:gd name="T28" fmla="*/ 27876 w 293"/>
                <a:gd name="T29" fmla="*/ 5556 h 432"/>
                <a:gd name="T30" fmla="*/ 24690 w 293"/>
                <a:gd name="T31" fmla="*/ 9525 h 432"/>
                <a:gd name="T32" fmla="*/ 27876 w 293"/>
                <a:gd name="T33" fmla="*/ 15875 h 432"/>
                <a:gd name="T34" fmla="*/ 31062 w 293"/>
                <a:gd name="T35" fmla="*/ 22225 h 432"/>
                <a:gd name="T36" fmla="*/ 31062 w 293"/>
                <a:gd name="T37" fmla="*/ 28575 h 432"/>
                <a:gd name="T38" fmla="*/ 27876 w 293"/>
                <a:gd name="T39" fmla="*/ 34925 h 432"/>
                <a:gd name="T40" fmla="*/ 24690 w 293"/>
                <a:gd name="T41" fmla="*/ 28575 h 432"/>
                <a:gd name="T42" fmla="*/ 24690 w 293"/>
                <a:gd name="T43" fmla="*/ 22225 h 432"/>
                <a:gd name="T44" fmla="*/ 20708 w 293"/>
                <a:gd name="T45" fmla="*/ 22225 h 432"/>
                <a:gd name="T46" fmla="*/ 17522 w 293"/>
                <a:gd name="T47" fmla="*/ 19050 h 432"/>
                <a:gd name="T48" fmla="*/ 0 w 293"/>
                <a:gd name="T49" fmla="*/ 24606 h 432"/>
                <a:gd name="T50" fmla="*/ 0 w 293"/>
                <a:gd name="T51" fmla="*/ 28575 h 432"/>
                <a:gd name="T52" fmla="*/ 7168 w 293"/>
                <a:gd name="T53" fmla="*/ 28575 h 432"/>
                <a:gd name="T54" fmla="*/ 14336 w 293"/>
                <a:gd name="T55" fmla="*/ 31750 h 432"/>
                <a:gd name="T56" fmla="*/ 17522 w 293"/>
                <a:gd name="T57" fmla="*/ 38100 h 432"/>
                <a:gd name="T58" fmla="*/ 14336 w 293"/>
                <a:gd name="T59" fmla="*/ 50800 h 432"/>
                <a:gd name="T60" fmla="*/ 7168 w 293"/>
                <a:gd name="T61" fmla="*/ 63500 h 432"/>
                <a:gd name="T62" fmla="*/ 10354 w 293"/>
                <a:gd name="T63" fmla="*/ 82550 h 432"/>
                <a:gd name="T64" fmla="*/ 10354 w 293"/>
                <a:gd name="T65" fmla="*/ 85725 h 432"/>
                <a:gd name="T66" fmla="*/ 14336 w 293"/>
                <a:gd name="T67" fmla="*/ 85725 h 43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93"/>
                <a:gd name="T103" fmla="*/ 0 h 432"/>
                <a:gd name="T104" fmla="*/ 293 w 293"/>
                <a:gd name="T105" fmla="*/ 432 h 432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93" h="432">
                  <a:moveTo>
                    <a:pt x="69" y="432"/>
                  </a:moveTo>
                  <a:lnTo>
                    <a:pt x="69" y="432"/>
                  </a:lnTo>
                  <a:lnTo>
                    <a:pt x="69" y="415"/>
                  </a:lnTo>
                  <a:lnTo>
                    <a:pt x="69" y="400"/>
                  </a:lnTo>
                  <a:lnTo>
                    <a:pt x="138" y="384"/>
                  </a:lnTo>
                  <a:lnTo>
                    <a:pt x="155" y="367"/>
                  </a:lnTo>
                  <a:lnTo>
                    <a:pt x="155" y="319"/>
                  </a:lnTo>
                  <a:lnTo>
                    <a:pt x="121" y="256"/>
                  </a:lnTo>
                  <a:lnTo>
                    <a:pt x="190" y="192"/>
                  </a:lnTo>
                  <a:lnTo>
                    <a:pt x="242" y="175"/>
                  </a:lnTo>
                  <a:lnTo>
                    <a:pt x="293" y="127"/>
                  </a:lnTo>
                  <a:lnTo>
                    <a:pt x="276" y="0"/>
                  </a:lnTo>
                  <a:lnTo>
                    <a:pt x="242" y="31"/>
                  </a:lnTo>
                  <a:lnTo>
                    <a:pt x="172" y="31"/>
                  </a:lnTo>
                  <a:lnTo>
                    <a:pt x="138" y="31"/>
                  </a:lnTo>
                  <a:lnTo>
                    <a:pt x="121" y="48"/>
                  </a:lnTo>
                  <a:lnTo>
                    <a:pt x="138" y="79"/>
                  </a:lnTo>
                  <a:lnTo>
                    <a:pt x="155" y="112"/>
                  </a:lnTo>
                  <a:lnTo>
                    <a:pt x="155" y="144"/>
                  </a:lnTo>
                  <a:lnTo>
                    <a:pt x="138" y="175"/>
                  </a:lnTo>
                  <a:lnTo>
                    <a:pt x="121" y="144"/>
                  </a:lnTo>
                  <a:lnTo>
                    <a:pt x="121" y="112"/>
                  </a:lnTo>
                  <a:lnTo>
                    <a:pt x="103" y="112"/>
                  </a:lnTo>
                  <a:lnTo>
                    <a:pt x="86" y="96"/>
                  </a:lnTo>
                  <a:lnTo>
                    <a:pt x="0" y="127"/>
                  </a:lnTo>
                  <a:lnTo>
                    <a:pt x="0" y="144"/>
                  </a:lnTo>
                  <a:lnTo>
                    <a:pt x="34" y="144"/>
                  </a:lnTo>
                  <a:lnTo>
                    <a:pt x="69" y="160"/>
                  </a:lnTo>
                  <a:lnTo>
                    <a:pt x="86" y="192"/>
                  </a:lnTo>
                  <a:lnTo>
                    <a:pt x="69" y="256"/>
                  </a:lnTo>
                  <a:lnTo>
                    <a:pt x="34" y="319"/>
                  </a:lnTo>
                  <a:lnTo>
                    <a:pt x="51" y="415"/>
                  </a:lnTo>
                  <a:lnTo>
                    <a:pt x="51" y="432"/>
                  </a:lnTo>
                  <a:lnTo>
                    <a:pt x="69" y="432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69" name="Freeform 269">
              <a:extLst>
                <a:ext uri="{FF2B5EF4-FFF2-40B4-BE49-F238E27FC236}">
                  <a16:creationId xmlns:a16="http://schemas.microsoft.com/office/drawing/2014/main" id="{F7313302-732D-0C65-4920-62D49A64B4CA}"/>
                </a:ext>
              </a:extLst>
            </p:cNvPr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6066113" y="4981648"/>
              <a:ext cx="64593" cy="153308"/>
            </a:xfrm>
            <a:custGeom>
              <a:avLst/>
              <a:gdLst>
                <a:gd name="T0" fmla="*/ 3969 w 86"/>
                <a:gd name="T1" fmla="*/ 22225 h 192"/>
                <a:gd name="T2" fmla="*/ 3969 w 86"/>
                <a:gd name="T3" fmla="*/ 22225 h 192"/>
                <a:gd name="T4" fmla="*/ 0 w 86"/>
                <a:gd name="T5" fmla="*/ 19050 h 192"/>
                <a:gd name="T6" fmla="*/ 3969 w 86"/>
                <a:gd name="T7" fmla="*/ 13494 h 192"/>
                <a:gd name="T8" fmla="*/ 3969 w 86"/>
                <a:gd name="T9" fmla="*/ 9525 h 192"/>
                <a:gd name="T10" fmla="*/ 7144 w 86"/>
                <a:gd name="T11" fmla="*/ 7144 h 192"/>
                <a:gd name="T12" fmla="*/ 3969 w 86"/>
                <a:gd name="T13" fmla="*/ 0 h 192"/>
                <a:gd name="T14" fmla="*/ 7144 w 86"/>
                <a:gd name="T15" fmla="*/ 0 h 192"/>
                <a:gd name="T16" fmla="*/ 10319 w 86"/>
                <a:gd name="T17" fmla="*/ 0 h 192"/>
                <a:gd name="T18" fmla="*/ 14288 w 86"/>
                <a:gd name="T19" fmla="*/ 9525 h 192"/>
                <a:gd name="T20" fmla="*/ 10319 w 86"/>
                <a:gd name="T21" fmla="*/ 13494 h 192"/>
                <a:gd name="T22" fmla="*/ 14288 w 86"/>
                <a:gd name="T23" fmla="*/ 19050 h 192"/>
                <a:gd name="T24" fmla="*/ 17463 w 86"/>
                <a:gd name="T25" fmla="*/ 26194 h 192"/>
                <a:gd name="T26" fmla="*/ 17463 w 86"/>
                <a:gd name="T27" fmla="*/ 32544 h 192"/>
                <a:gd name="T28" fmla="*/ 14288 w 86"/>
                <a:gd name="T29" fmla="*/ 38100 h 192"/>
                <a:gd name="T30" fmla="*/ 10319 w 86"/>
                <a:gd name="T31" fmla="*/ 32544 h 192"/>
                <a:gd name="T32" fmla="*/ 10319 w 86"/>
                <a:gd name="T33" fmla="*/ 26194 h 192"/>
                <a:gd name="T34" fmla="*/ 7144 w 86"/>
                <a:gd name="T35" fmla="*/ 26194 h 192"/>
                <a:gd name="T36" fmla="*/ 3969 w 86"/>
                <a:gd name="T37" fmla="*/ 22225 h 19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86"/>
                <a:gd name="T58" fmla="*/ 0 h 192"/>
                <a:gd name="T59" fmla="*/ 86 w 86"/>
                <a:gd name="T60" fmla="*/ 192 h 19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86" h="192">
                  <a:moveTo>
                    <a:pt x="17" y="113"/>
                  </a:moveTo>
                  <a:lnTo>
                    <a:pt x="17" y="113"/>
                  </a:lnTo>
                  <a:lnTo>
                    <a:pt x="0" y="96"/>
                  </a:lnTo>
                  <a:lnTo>
                    <a:pt x="17" y="65"/>
                  </a:lnTo>
                  <a:lnTo>
                    <a:pt x="17" y="48"/>
                  </a:lnTo>
                  <a:lnTo>
                    <a:pt x="34" y="33"/>
                  </a:lnTo>
                  <a:lnTo>
                    <a:pt x="17" y="0"/>
                  </a:lnTo>
                  <a:lnTo>
                    <a:pt x="34" y="0"/>
                  </a:lnTo>
                  <a:lnTo>
                    <a:pt x="52" y="0"/>
                  </a:lnTo>
                  <a:lnTo>
                    <a:pt x="69" y="48"/>
                  </a:lnTo>
                  <a:lnTo>
                    <a:pt x="52" y="65"/>
                  </a:lnTo>
                  <a:lnTo>
                    <a:pt x="69" y="96"/>
                  </a:lnTo>
                  <a:lnTo>
                    <a:pt x="86" y="129"/>
                  </a:lnTo>
                  <a:lnTo>
                    <a:pt x="86" y="161"/>
                  </a:lnTo>
                  <a:lnTo>
                    <a:pt x="69" y="192"/>
                  </a:lnTo>
                  <a:lnTo>
                    <a:pt x="52" y="161"/>
                  </a:lnTo>
                  <a:lnTo>
                    <a:pt x="52" y="129"/>
                  </a:lnTo>
                  <a:lnTo>
                    <a:pt x="34" y="129"/>
                  </a:lnTo>
                  <a:lnTo>
                    <a:pt x="17" y="113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70" name="Freeform 270">
              <a:extLst>
                <a:ext uri="{FF2B5EF4-FFF2-40B4-BE49-F238E27FC236}">
                  <a16:creationId xmlns:a16="http://schemas.microsoft.com/office/drawing/2014/main" id="{B49D61E3-8160-A6F5-1147-9DD7843D5B9F}"/>
                </a:ext>
              </a:extLst>
            </p:cNvPr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6026727" y="5326591"/>
              <a:ext cx="26783" cy="26662"/>
            </a:xfrm>
            <a:custGeom>
              <a:avLst/>
              <a:gdLst>
                <a:gd name="T0" fmla="*/ 7144 w 34"/>
                <a:gd name="T1" fmla="*/ 4217 h 32"/>
                <a:gd name="T2" fmla="*/ 7144 w 34"/>
                <a:gd name="T3" fmla="*/ 4217 h 32"/>
                <a:gd name="T4" fmla="*/ 7144 w 34"/>
                <a:gd name="T5" fmla="*/ 0 h 32"/>
                <a:gd name="T6" fmla="*/ 3175 w 34"/>
                <a:gd name="T7" fmla="*/ 0 h 32"/>
                <a:gd name="T8" fmla="*/ 0 w 34"/>
                <a:gd name="T9" fmla="*/ 4217 h 32"/>
                <a:gd name="T10" fmla="*/ 3175 w 34"/>
                <a:gd name="T11" fmla="*/ 7590 h 32"/>
                <a:gd name="T12" fmla="*/ 7144 w 34"/>
                <a:gd name="T13" fmla="*/ 4217 h 3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4"/>
                <a:gd name="T22" fmla="*/ 0 h 32"/>
                <a:gd name="T23" fmla="*/ 34 w 34"/>
                <a:gd name="T24" fmla="*/ 32 h 3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4" h="32">
                  <a:moveTo>
                    <a:pt x="34" y="17"/>
                  </a:moveTo>
                  <a:lnTo>
                    <a:pt x="34" y="17"/>
                  </a:lnTo>
                  <a:lnTo>
                    <a:pt x="34" y="0"/>
                  </a:lnTo>
                  <a:lnTo>
                    <a:pt x="17" y="0"/>
                  </a:lnTo>
                  <a:lnTo>
                    <a:pt x="0" y="17"/>
                  </a:lnTo>
                  <a:lnTo>
                    <a:pt x="17" y="32"/>
                  </a:lnTo>
                  <a:lnTo>
                    <a:pt x="34" y="17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71" name="Freeform 271">
              <a:extLst>
                <a:ext uri="{FF2B5EF4-FFF2-40B4-BE49-F238E27FC236}">
                  <a16:creationId xmlns:a16="http://schemas.microsoft.com/office/drawing/2014/main" id="{22C3E328-89B9-7756-B09A-061FE0C0CC73}"/>
                </a:ext>
              </a:extLst>
            </p:cNvPr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6289827" y="5033306"/>
              <a:ext cx="141790" cy="281621"/>
            </a:xfrm>
            <a:custGeom>
              <a:avLst/>
              <a:gdLst>
                <a:gd name="T0" fmla="*/ 0 w 189"/>
                <a:gd name="T1" fmla="*/ 50800 h 352"/>
                <a:gd name="T2" fmla="*/ 0 w 189"/>
                <a:gd name="T3" fmla="*/ 50800 h 352"/>
                <a:gd name="T4" fmla="*/ 3158 w 189"/>
                <a:gd name="T5" fmla="*/ 63500 h 352"/>
                <a:gd name="T6" fmla="*/ 6316 w 189"/>
                <a:gd name="T7" fmla="*/ 69850 h 352"/>
                <a:gd name="T8" fmla="*/ 16581 w 189"/>
                <a:gd name="T9" fmla="*/ 69850 h 352"/>
                <a:gd name="T10" fmla="*/ 20528 w 189"/>
                <a:gd name="T11" fmla="*/ 66675 h 352"/>
                <a:gd name="T12" fmla="*/ 30792 w 189"/>
                <a:gd name="T13" fmla="*/ 31750 h 352"/>
                <a:gd name="T14" fmla="*/ 33951 w 189"/>
                <a:gd name="T15" fmla="*/ 15875 h 352"/>
                <a:gd name="T16" fmla="*/ 37109 w 189"/>
                <a:gd name="T17" fmla="*/ 19050 h 352"/>
                <a:gd name="T18" fmla="*/ 37109 w 189"/>
                <a:gd name="T19" fmla="*/ 15875 h 352"/>
                <a:gd name="T20" fmla="*/ 33951 w 189"/>
                <a:gd name="T21" fmla="*/ 3175 h 352"/>
                <a:gd name="T22" fmla="*/ 30792 w 189"/>
                <a:gd name="T23" fmla="*/ 0 h 352"/>
                <a:gd name="T24" fmla="*/ 26845 w 189"/>
                <a:gd name="T25" fmla="*/ 5556 h 352"/>
                <a:gd name="T26" fmla="*/ 23687 w 189"/>
                <a:gd name="T27" fmla="*/ 5556 h 352"/>
                <a:gd name="T28" fmla="*/ 23687 w 189"/>
                <a:gd name="T29" fmla="*/ 12700 h 352"/>
                <a:gd name="T30" fmla="*/ 6316 w 189"/>
                <a:gd name="T31" fmla="*/ 22225 h 352"/>
                <a:gd name="T32" fmla="*/ 3158 w 189"/>
                <a:gd name="T33" fmla="*/ 28575 h 352"/>
                <a:gd name="T34" fmla="*/ 6316 w 189"/>
                <a:gd name="T35" fmla="*/ 41275 h 352"/>
                <a:gd name="T36" fmla="*/ 0 w 189"/>
                <a:gd name="T37" fmla="*/ 50800 h 35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89"/>
                <a:gd name="T58" fmla="*/ 0 h 352"/>
                <a:gd name="T59" fmla="*/ 189 w 189"/>
                <a:gd name="T60" fmla="*/ 352 h 35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89" h="352">
                  <a:moveTo>
                    <a:pt x="0" y="256"/>
                  </a:moveTo>
                  <a:lnTo>
                    <a:pt x="0" y="256"/>
                  </a:lnTo>
                  <a:lnTo>
                    <a:pt x="18" y="319"/>
                  </a:lnTo>
                  <a:lnTo>
                    <a:pt x="35" y="352"/>
                  </a:lnTo>
                  <a:lnTo>
                    <a:pt x="87" y="352"/>
                  </a:lnTo>
                  <a:lnTo>
                    <a:pt x="104" y="336"/>
                  </a:lnTo>
                  <a:lnTo>
                    <a:pt x="156" y="160"/>
                  </a:lnTo>
                  <a:lnTo>
                    <a:pt x="173" y="79"/>
                  </a:lnTo>
                  <a:lnTo>
                    <a:pt x="189" y="96"/>
                  </a:lnTo>
                  <a:lnTo>
                    <a:pt x="189" y="79"/>
                  </a:lnTo>
                  <a:lnTo>
                    <a:pt x="173" y="16"/>
                  </a:lnTo>
                  <a:lnTo>
                    <a:pt x="156" y="0"/>
                  </a:lnTo>
                  <a:lnTo>
                    <a:pt x="139" y="31"/>
                  </a:lnTo>
                  <a:lnTo>
                    <a:pt x="121" y="31"/>
                  </a:lnTo>
                  <a:lnTo>
                    <a:pt x="121" y="64"/>
                  </a:lnTo>
                  <a:lnTo>
                    <a:pt x="35" y="112"/>
                  </a:lnTo>
                  <a:lnTo>
                    <a:pt x="18" y="144"/>
                  </a:lnTo>
                  <a:lnTo>
                    <a:pt x="35" y="208"/>
                  </a:lnTo>
                  <a:lnTo>
                    <a:pt x="0" y="256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72" name="Freeform 272">
              <a:extLst>
                <a:ext uri="{FF2B5EF4-FFF2-40B4-BE49-F238E27FC236}">
                  <a16:creationId xmlns:a16="http://schemas.microsoft.com/office/drawing/2014/main" id="{82C14703-B3FB-C90E-8035-802DAD3FB4CB}"/>
                </a:ext>
              </a:extLst>
            </p:cNvPr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6578133" y="5199945"/>
              <a:ext cx="11029" cy="11665"/>
            </a:xfrm>
            <a:custGeom>
              <a:avLst/>
              <a:gdLst>
                <a:gd name="T0" fmla="*/ 0 w 16"/>
                <a:gd name="T1" fmla="*/ 2223 h 15"/>
                <a:gd name="T2" fmla="*/ 0 w 16"/>
                <a:gd name="T3" fmla="*/ 2223 h 15"/>
                <a:gd name="T4" fmla="*/ 2084 w 16"/>
                <a:gd name="T5" fmla="*/ 2223 h 15"/>
                <a:gd name="T6" fmla="*/ 0 w 16"/>
                <a:gd name="T7" fmla="*/ 0 h 15"/>
                <a:gd name="T8" fmla="*/ 0 w 16"/>
                <a:gd name="T9" fmla="*/ 2223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15"/>
                <a:gd name="T17" fmla="*/ 16 w 16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15">
                  <a:moveTo>
                    <a:pt x="0" y="15"/>
                  </a:moveTo>
                  <a:lnTo>
                    <a:pt x="0" y="15"/>
                  </a:lnTo>
                  <a:lnTo>
                    <a:pt x="16" y="15"/>
                  </a:lnTo>
                  <a:lnTo>
                    <a:pt x="0" y="0"/>
                  </a:lnTo>
                  <a:lnTo>
                    <a:pt x="0" y="15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73" name="Freeform 273">
              <a:extLst>
                <a:ext uri="{FF2B5EF4-FFF2-40B4-BE49-F238E27FC236}">
                  <a16:creationId xmlns:a16="http://schemas.microsoft.com/office/drawing/2014/main" id="{E3F5CB09-CE33-3CF1-B2FB-B67BCD9E64B9}"/>
                </a:ext>
              </a:extLst>
            </p:cNvPr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5568273" y="4713359"/>
              <a:ext cx="11028" cy="13331"/>
            </a:xfrm>
            <a:custGeom>
              <a:avLst/>
              <a:gdLst>
                <a:gd name="T0" fmla="*/ 0 w 18"/>
                <a:gd name="T1" fmla="*/ 2822 h 18"/>
                <a:gd name="T2" fmla="*/ 0 w 18"/>
                <a:gd name="T3" fmla="*/ 2822 h 18"/>
                <a:gd name="T4" fmla="*/ 2822 w 18"/>
                <a:gd name="T5" fmla="*/ 0 h 18"/>
                <a:gd name="T6" fmla="*/ 0 w 18"/>
                <a:gd name="T7" fmla="*/ 0 h 18"/>
                <a:gd name="T8" fmla="*/ 0 w 18"/>
                <a:gd name="T9" fmla="*/ 2822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8"/>
                  </a:moveTo>
                  <a:lnTo>
                    <a:pt x="0" y="18"/>
                  </a:lnTo>
                  <a:lnTo>
                    <a:pt x="18" y="0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7030A0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74" name="Freeform 274">
              <a:extLst>
                <a:ext uri="{FF2B5EF4-FFF2-40B4-BE49-F238E27FC236}">
                  <a16:creationId xmlns:a16="http://schemas.microsoft.com/office/drawing/2014/main" id="{15D70666-E8D0-131A-FDAE-157BAD4A5B3C}"/>
                </a:ext>
              </a:extLst>
            </p:cNvPr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5947954" y="5378250"/>
              <a:ext cx="53565" cy="51658"/>
            </a:xfrm>
            <a:custGeom>
              <a:avLst/>
              <a:gdLst>
                <a:gd name="T0" fmla="*/ 14495 w 69"/>
                <a:gd name="T1" fmla="*/ 6451 h 63"/>
                <a:gd name="T2" fmla="*/ 14495 w 69"/>
                <a:gd name="T3" fmla="*/ 6451 h 63"/>
                <a:gd name="T4" fmla="*/ 10468 w 69"/>
                <a:gd name="T5" fmla="*/ 9676 h 63"/>
                <a:gd name="T6" fmla="*/ 4026 w 69"/>
                <a:gd name="T7" fmla="*/ 12902 h 63"/>
                <a:gd name="T8" fmla="*/ 0 w 69"/>
                <a:gd name="T9" fmla="*/ 9676 h 63"/>
                <a:gd name="T10" fmla="*/ 7247 w 69"/>
                <a:gd name="T11" fmla="*/ 0 h 63"/>
                <a:gd name="T12" fmla="*/ 10468 w 69"/>
                <a:gd name="T13" fmla="*/ 3225 h 63"/>
                <a:gd name="T14" fmla="*/ 14495 w 69"/>
                <a:gd name="T15" fmla="*/ 6451 h 6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9"/>
                <a:gd name="T25" fmla="*/ 0 h 63"/>
                <a:gd name="T26" fmla="*/ 69 w 69"/>
                <a:gd name="T27" fmla="*/ 63 h 6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9" h="63">
                  <a:moveTo>
                    <a:pt x="69" y="31"/>
                  </a:moveTo>
                  <a:lnTo>
                    <a:pt x="69" y="31"/>
                  </a:lnTo>
                  <a:lnTo>
                    <a:pt x="52" y="48"/>
                  </a:lnTo>
                  <a:lnTo>
                    <a:pt x="18" y="63"/>
                  </a:lnTo>
                  <a:lnTo>
                    <a:pt x="0" y="48"/>
                  </a:lnTo>
                  <a:lnTo>
                    <a:pt x="35" y="0"/>
                  </a:lnTo>
                  <a:lnTo>
                    <a:pt x="52" y="15"/>
                  </a:lnTo>
                  <a:lnTo>
                    <a:pt x="69" y="31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75" name="Freeform 275">
              <a:extLst>
                <a:ext uri="{FF2B5EF4-FFF2-40B4-BE49-F238E27FC236}">
                  <a16:creationId xmlns:a16="http://schemas.microsoft.com/office/drawing/2014/main" id="{C6E8F860-5D97-6C4F-8805-D08214AB9577}"/>
                </a:ext>
              </a:extLst>
            </p:cNvPr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6001520" y="4803344"/>
              <a:ext cx="223713" cy="216631"/>
            </a:xfrm>
            <a:custGeom>
              <a:avLst/>
              <a:gdLst>
                <a:gd name="T0" fmla="*/ 20637 w 296"/>
                <a:gd name="T1" fmla="*/ 44779 h 270"/>
                <a:gd name="T2" fmla="*/ 20637 w 296"/>
                <a:gd name="T3" fmla="*/ 44779 h 270"/>
                <a:gd name="T4" fmla="*/ 10319 w 296"/>
                <a:gd name="T5" fmla="*/ 38382 h 270"/>
                <a:gd name="T6" fmla="*/ 7144 w 296"/>
                <a:gd name="T7" fmla="*/ 38382 h 270"/>
                <a:gd name="T8" fmla="*/ 0 w 296"/>
                <a:gd name="T9" fmla="*/ 28787 h 270"/>
                <a:gd name="T10" fmla="*/ 0 w 296"/>
                <a:gd name="T11" fmla="*/ 19191 h 270"/>
                <a:gd name="T12" fmla="*/ 7144 w 296"/>
                <a:gd name="T13" fmla="*/ 12794 h 270"/>
                <a:gd name="T14" fmla="*/ 7144 w 296"/>
                <a:gd name="T15" fmla="*/ 9596 h 270"/>
                <a:gd name="T16" fmla="*/ 7144 w 296"/>
                <a:gd name="T17" fmla="*/ 6397 h 270"/>
                <a:gd name="T18" fmla="*/ 7144 w 296"/>
                <a:gd name="T19" fmla="*/ 0 h 270"/>
                <a:gd name="T20" fmla="*/ 14288 w 296"/>
                <a:gd name="T21" fmla="*/ 0 h 270"/>
                <a:gd name="T22" fmla="*/ 23812 w 296"/>
                <a:gd name="T23" fmla="*/ 0 h 270"/>
                <a:gd name="T24" fmla="*/ 27781 w 296"/>
                <a:gd name="T25" fmla="*/ 0 h 270"/>
                <a:gd name="T26" fmla="*/ 44450 w 296"/>
                <a:gd name="T27" fmla="*/ 9596 h 270"/>
                <a:gd name="T28" fmla="*/ 44450 w 296"/>
                <a:gd name="T29" fmla="*/ 15993 h 270"/>
                <a:gd name="T30" fmla="*/ 55563 w 296"/>
                <a:gd name="T31" fmla="*/ 19191 h 270"/>
                <a:gd name="T32" fmla="*/ 52388 w 296"/>
                <a:gd name="T33" fmla="*/ 25588 h 270"/>
                <a:gd name="T34" fmla="*/ 55563 w 296"/>
                <a:gd name="T35" fmla="*/ 31985 h 270"/>
                <a:gd name="T36" fmla="*/ 55563 w 296"/>
                <a:gd name="T37" fmla="*/ 41581 h 270"/>
                <a:gd name="T38" fmla="*/ 55563 w 296"/>
                <a:gd name="T39" fmla="*/ 44779 h 270"/>
                <a:gd name="T40" fmla="*/ 58738 w 296"/>
                <a:gd name="T41" fmla="*/ 47978 h 270"/>
                <a:gd name="T42" fmla="*/ 52388 w 296"/>
                <a:gd name="T43" fmla="*/ 55174 h 270"/>
                <a:gd name="T44" fmla="*/ 37306 w 296"/>
                <a:gd name="T45" fmla="*/ 55174 h 270"/>
                <a:gd name="T46" fmla="*/ 30956 w 296"/>
                <a:gd name="T47" fmla="*/ 55174 h 270"/>
                <a:gd name="T48" fmla="*/ 27781 w 296"/>
                <a:gd name="T49" fmla="*/ 44779 h 270"/>
                <a:gd name="T50" fmla="*/ 23812 w 296"/>
                <a:gd name="T51" fmla="*/ 44779 h 270"/>
                <a:gd name="T52" fmla="*/ 20637 w 296"/>
                <a:gd name="T53" fmla="*/ 44779 h 27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96"/>
                <a:gd name="T82" fmla="*/ 0 h 270"/>
                <a:gd name="T83" fmla="*/ 296 w 296"/>
                <a:gd name="T84" fmla="*/ 270 h 27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96" h="270">
                  <a:moveTo>
                    <a:pt x="104" y="222"/>
                  </a:moveTo>
                  <a:lnTo>
                    <a:pt x="104" y="222"/>
                  </a:lnTo>
                  <a:lnTo>
                    <a:pt x="52" y="191"/>
                  </a:lnTo>
                  <a:lnTo>
                    <a:pt x="35" y="191"/>
                  </a:lnTo>
                  <a:lnTo>
                    <a:pt x="0" y="143"/>
                  </a:lnTo>
                  <a:lnTo>
                    <a:pt x="0" y="95"/>
                  </a:lnTo>
                  <a:lnTo>
                    <a:pt x="35" y="63"/>
                  </a:lnTo>
                  <a:lnTo>
                    <a:pt x="35" y="47"/>
                  </a:lnTo>
                  <a:lnTo>
                    <a:pt x="35" y="30"/>
                  </a:lnTo>
                  <a:lnTo>
                    <a:pt x="35" y="0"/>
                  </a:lnTo>
                  <a:lnTo>
                    <a:pt x="69" y="0"/>
                  </a:lnTo>
                  <a:lnTo>
                    <a:pt x="121" y="0"/>
                  </a:lnTo>
                  <a:lnTo>
                    <a:pt x="139" y="0"/>
                  </a:lnTo>
                  <a:lnTo>
                    <a:pt x="225" y="47"/>
                  </a:lnTo>
                  <a:lnTo>
                    <a:pt x="225" y="78"/>
                  </a:lnTo>
                  <a:lnTo>
                    <a:pt x="279" y="95"/>
                  </a:lnTo>
                  <a:lnTo>
                    <a:pt x="261" y="126"/>
                  </a:lnTo>
                  <a:lnTo>
                    <a:pt x="279" y="159"/>
                  </a:lnTo>
                  <a:lnTo>
                    <a:pt x="279" y="207"/>
                  </a:lnTo>
                  <a:lnTo>
                    <a:pt x="279" y="222"/>
                  </a:lnTo>
                  <a:lnTo>
                    <a:pt x="296" y="239"/>
                  </a:lnTo>
                  <a:lnTo>
                    <a:pt x="261" y="270"/>
                  </a:lnTo>
                  <a:lnTo>
                    <a:pt x="190" y="270"/>
                  </a:lnTo>
                  <a:lnTo>
                    <a:pt x="156" y="270"/>
                  </a:lnTo>
                  <a:lnTo>
                    <a:pt x="139" y="222"/>
                  </a:lnTo>
                  <a:lnTo>
                    <a:pt x="121" y="222"/>
                  </a:lnTo>
                  <a:lnTo>
                    <a:pt x="104" y="222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76" name="Freeform 276">
              <a:extLst>
                <a:ext uri="{FF2B5EF4-FFF2-40B4-BE49-F238E27FC236}">
                  <a16:creationId xmlns:a16="http://schemas.microsoft.com/office/drawing/2014/main" id="{2122C3DA-9105-3A5D-356C-221D3D7EC0FE}"/>
                </a:ext>
              </a:extLst>
            </p:cNvPr>
            <p:cNvSpPr>
              <a:spLocks/>
            </p:cNvSpPr>
            <p:nvPr>
              <p:custDataLst>
                <p:tags r:id="rId262"/>
              </p:custDataLst>
            </p:nvPr>
          </p:nvSpPr>
          <p:spPr bwMode="auto">
            <a:xfrm>
              <a:off x="5568273" y="4740021"/>
              <a:ext cx="118158" cy="126646"/>
            </a:xfrm>
            <a:custGeom>
              <a:avLst/>
              <a:gdLst>
                <a:gd name="T0" fmla="*/ 6271 w 160"/>
                <a:gd name="T1" fmla="*/ 7189 h 159"/>
                <a:gd name="T2" fmla="*/ 6271 w 160"/>
                <a:gd name="T3" fmla="*/ 7189 h 159"/>
                <a:gd name="T4" fmla="*/ 13325 w 160"/>
                <a:gd name="T5" fmla="*/ 7189 h 159"/>
                <a:gd name="T6" fmla="*/ 13325 w 160"/>
                <a:gd name="T7" fmla="*/ 0 h 159"/>
                <a:gd name="T8" fmla="*/ 23515 w 160"/>
                <a:gd name="T9" fmla="*/ 0 h 159"/>
                <a:gd name="T10" fmla="*/ 23515 w 160"/>
                <a:gd name="T11" fmla="*/ 7189 h 159"/>
                <a:gd name="T12" fmla="*/ 27434 w 160"/>
                <a:gd name="T13" fmla="*/ 3195 h 159"/>
                <a:gd name="T14" fmla="*/ 30569 w 160"/>
                <a:gd name="T15" fmla="*/ 7189 h 159"/>
                <a:gd name="T16" fmla="*/ 30569 w 160"/>
                <a:gd name="T17" fmla="*/ 9585 h 159"/>
                <a:gd name="T18" fmla="*/ 30569 w 160"/>
                <a:gd name="T19" fmla="*/ 22365 h 159"/>
                <a:gd name="T20" fmla="*/ 20380 w 160"/>
                <a:gd name="T21" fmla="*/ 22365 h 159"/>
                <a:gd name="T22" fmla="*/ 17244 w 160"/>
                <a:gd name="T23" fmla="*/ 25560 h 159"/>
                <a:gd name="T24" fmla="*/ 17244 w 160"/>
                <a:gd name="T25" fmla="*/ 28755 h 159"/>
                <a:gd name="T26" fmla="*/ 13325 w 160"/>
                <a:gd name="T27" fmla="*/ 28755 h 159"/>
                <a:gd name="T28" fmla="*/ 13325 w 160"/>
                <a:gd name="T29" fmla="*/ 31950 h 159"/>
                <a:gd name="T30" fmla="*/ 6271 w 160"/>
                <a:gd name="T31" fmla="*/ 25560 h 159"/>
                <a:gd name="T32" fmla="*/ 0 w 160"/>
                <a:gd name="T33" fmla="*/ 16774 h 159"/>
                <a:gd name="T34" fmla="*/ 3135 w 160"/>
                <a:gd name="T35" fmla="*/ 12780 h 159"/>
                <a:gd name="T36" fmla="*/ 3135 w 160"/>
                <a:gd name="T37" fmla="*/ 9585 h 159"/>
                <a:gd name="T38" fmla="*/ 6271 w 160"/>
                <a:gd name="T39" fmla="*/ 7189 h 15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60"/>
                <a:gd name="T61" fmla="*/ 0 h 159"/>
                <a:gd name="T62" fmla="*/ 160 w 160"/>
                <a:gd name="T63" fmla="*/ 159 h 15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60" h="159">
                  <a:moveTo>
                    <a:pt x="35" y="33"/>
                  </a:moveTo>
                  <a:lnTo>
                    <a:pt x="35" y="33"/>
                  </a:lnTo>
                  <a:lnTo>
                    <a:pt x="71" y="33"/>
                  </a:lnTo>
                  <a:lnTo>
                    <a:pt x="71" y="0"/>
                  </a:lnTo>
                  <a:lnTo>
                    <a:pt x="123" y="0"/>
                  </a:lnTo>
                  <a:lnTo>
                    <a:pt x="123" y="33"/>
                  </a:lnTo>
                  <a:lnTo>
                    <a:pt x="142" y="15"/>
                  </a:lnTo>
                  <a:lnTo>
                    <a:pt x="160" y="33"/>
                  </a:lnTo>
                  <a:lnTo>
                    <a:pt x="160" y="48"/>
                  </a:lnTo>
                  <a:lnTo>
                    <a:pt x="160" y="111"/>
                  </a:lnTo>
                  <a:lnTo>
                    <a:pt x="106" y="111"/>
                  </a:lnTo>
                  <a:lnTo>
                    <a:pt x="89" y="128"/>
                  </a:lnTo>
                  <a:lnTo>
                    <a:pt x="89" y="144"/>
                  </a:lnTo>
                  <a:lnTo>
                    <a:pt x="71" y="144"/>
                  </a:lnTo>
                  <a:lnTo>
                    <a:pt x="71" y="159"/>
                  </a:lnTo>
                  <a:lnTo>
                    <a:pt x="35" y="128"/>
                  </a:lnTo>
                  <a:lnTo>
                    <a:pt x="0" y="81"/>
                  </a:lnTo>
                  <a:lnTo>
                    <a:pt x="18" y="63"/>
                  </a:lnTo>
                  <a:lnTo>
                    <a:pt x="18" y="48"/>
                  </a:lnTo>
                  <a:lnTo>
                    <a:pt x="35" y="33"/>
                  </a:lnTo>
                </a:path>
              </a:pathLst>
            </a:custGeom>
            <a:solidFill>
              <a:srgbClr val="00B050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77" name="Freeform 277">
              <a:extLst>
                <a:ext uri="{FF2B5EF4-FFF2-40B4-BE49-F238E27FC236}">
                  <a16:creationId xmlns:a16="http://schemas.microsoft.com/office/drawing/2014/main" id="{7158FA88-365B-DD85-A10A-B172F0174B3A}"/>
                </a:ext>
              </a:extLst>
            </p:cNvPr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5620262" y="4713359"/>
              <a:ext cx="157545" cy="179970"/>
            </a:xfrm>
            <a:custGeom>
              <a:avLst/>
              <a:gdLst>
                <a:gd name="T0" fmla="*/ 27781 w 208"/>
                <a:gd name="T1" fmla="*/ 3161 h 225"/>
                <a:gd name="T2" fmla="*/ 27781 w 208"/>
                <a:gd name="T3" fmla="*/ 3161 h 225"/>
                <a:gd name="T4" fmla="*/ 27781 w 208"/>
                <a:gd name="T5" fmla="*/ 9483 h 225"/>
                <a:gd name="T6" fmla="*/ 10319 w 208"/>
                <a:gd name="T7" fmla="*/ 6322 h 225"/>
                <a:gd name="T8" fmla="*/ 10319 w 208"/>
                <a:gd name="T9" fmla="*/ 12644 h 225"/>
                <a:gd name="T10" fmla="*/ 14288 w 208"/>
                <a:gd name="T11" fmla="*/ 9483 h 225"/>
                <a:gd name="T12" fmla="*/ 17463 w 208"/>
                <a:gd name="T13" fmla="*/ 12644 h 225"/>
                <a:gd name="T14" fmla="*/ 17463 w 208"/>
                <a:gd name="T15" fmla="*/ 15804 h 225"/>
                <a:gd name="T16" fmla="*/ 17463 w 208"/>
                <a:gd name="T17" fmla="*/ 28448 h 225"/>
                <a:gd name="T18" fmla="*/ 7144 w 208"/>
                <a:gd name="T19" fmla="*/ 28448 h 225"/>
                <a:gd name="T20" fmla="*/ 3969 w 208"/>
                <a:gd name="T21" fmla="*/ 31609 h 225"/>
                <a:gd name="T22" fmla="*/ 3969 w 208"/>
                <a:gd name="T23" fmla="*/ 34770 h 225"/>
                <a:gd name="T24" fmla="*/ 0 w 208"/>
                <a:gd name="T25" fmla="*/ 34770 h 225"/>
                <a:gd name="T26" fmla="*/ 0 w 208"/>
                <a:gd name="T27" fmla="*/ 37931 h 225"/>
                <a:gd name="T28" fmla="*/ 7144 w 208"/>
                <a:gd name="T29" fmla="*/ 44252 h 225"/>
                <a:gd name="T30" fmla="*/ 7144 w 208"/>
                <a:gd name="T31" fmla="*/ 41092 h 225"/>
                <a:gd name="T32" fmla="*/ 10319 w 208"/>
                <a:gd name="T33" fmla="*/ 41092 h 225"/>
                <a:gd name="T34" fmla="*/ 17463 w 208"/>
                <a:gd name="T35" fmla="*/ 41092 h 225"/>
                <a:gd name="T36" fmla="*/ 23812 w 208"/>
                <a:gd name="T37" fmla="*/ 37931 h 225"/>
                <a:gd name="T38" fmla="*/ 27781 w 208"/>
                <a:gd name="T39" fmla="*/ 28448 h 225"/>
                <a:gd name="T40" fmla="*/ 34925 w 208"/>
                <a:gd name="T41" fmla="*/ 22126 h 225"/>
                <a:gd name="T42" fmla="*/ 41275 w 208"/>
                <a:gd name="T43" fmla="*/ 0 h 225"/>
                <a:gd name="T44" fmla="*/ 30956 w 208"/>
                <a:gd name="T45" fmla="*/ 3161 h 225"/>
                <a:gd name="T46" fmla="*/ 27781 w 208"/>
                <a:gd name="T47" fmla="*/ 3161 h 22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08"/>
                <a:gd name="T73" fmla="*/ 0 h 225"/>
                <a:gd name="T74" fmla="*/ 208 w 208"/>
                <a:gd name="T75" fmla="*/ 225 h 22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08" h="225">
                  <a:moveTo>
                    <a:pt x="139" y="18"/>
                  </a:moveTo>
                  <a:lnTo>
                    <a:pt x="139" y="18"/>
                  </a:lnTo>
                  <a:lnTo>
                    <a:pt x="139" y="48"/>
                  </a:lnTo>
                  <a:lnTo>
                    <a:pt x="52" y="33"/>
                  </a:lnTo>
                  <a:lnTo>
                    <a:pt x="52" y="66"/>
                  </a:lnTo>
                  <a:lnTo>
                    <a:pt x="70" y="48"/>
                  </a:lnTo>
                  <a:lnTo>
                    <a:pt x="87" y="66"/>
                  </a:lnTo>
                  <a:lnTo>
                    <a:pt x="87" y="81"/>
                  </a:lnTo>
                  <a:lnTo>
                    <a:pt x="87" y="144"/>
                  </a:lnTo>
                  <a:lnTo>
                    <a:pt x="35" y="144"/>
                  </a:lnTo>
                  <a:lnTo>
                    <a:pt x="18" y="161"/>
                  </a:lnTo>
                  <a:lnTo>
                    <a:pt x="18" y="177"/>
                  </a:lnTo>
                  <a:lnTo>
                    <a:pt x="0" y="177"/>
                  </a:lnTo>
                  <a:lnTo>
                    <a:pt x="0" y="192"/>
                  </a:lnTo>
                  <a:lnTo>
                    <a:pt x="35" y="225"/>
                  </a:lnTo>
                  <a:lnTo>
                    <a:pt x="35" y="209"/>
                  </a:lnTo>
                  <a:lnTo>
                    <a:pt x="52" y="209"/>
                  </a:lnTo>
                  <a:lnTo>
                    <a:pt x="87" y="209"/>
                  </a:lnTo>
                  <a:lnTo>
                    <a:pt x="121" y="192"/>
                  </a:lnTo>
                  <a:lnTo>
                    <a:pt x="139" y="144"/>
                  </a:lnTo>
                  <a:lnTo>
                    <a:pt x="173" y="114"/>
                  </a:lnTo>
                  <a:lnTo>
                    <a:pt x="208" y="0"/>
                  </a:lnTo>
                  <a:lnTo>
                    <a:pt x="156" y="18"/>
                  </a:lnTo>
                  <a:lnTo>
                    <a:pt x="139" y="18"/>
                  </a:lnTo>
                  <a:close/>
                </a:path>
              </a:pathLst>
            </a:custGeom>
            <a:solidFill>
              <a:srgbClr val="00B050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78" name="Freeform 278">
              <a:extLst>
                <a:ext uri="{FF2B5EF4-FFF2-40B4-BE49-F238E27FC236}">
                  <a16:creationId xmlns:a16="http://schemas.microsoft.com/office/drawing/2014/main" id="{B99DBD47-D57C-B113-CD90-0E6788A3E745}"/>
                </a:ext>
              </a:extLst>
            </p:cNvPr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5647045" y="4688363"/>
              <a:ext cx="393861" cy="369939"/>
            </a:xfrm>
            <a:custGeom>
              <a:avLst/>
              <a:gdLst>
                <a:gd name="T0" fmla="*/ 83664 w 520"/>
                <a:gd name="T1" fmla="*/ 0 h 462"/>
                <a:gd name="T2" fmla="*/ 83664 w 520"/>
                <a:gd name="T3" fmla="*/ 0 h 462"/>
                <a:gd name="T4" fmla="*/ 58963 w 520"/>
                <a:gd name="T5" fmla="*/ 0 h 462"/>
                <a:gd name="T6" fmla="*/ 55776 w 520"/>
                <a:gd name="T7" fmla="*/ 3189 h 462"/>
                <a:gd name="T8" fmla="*/ 45418 w 520"/>
                <a:gd name="T9" fmla="*/ 3189 h 462"/>
                <a:gd name="T10" fmla="*/ 41434 w 520"/>
                <a:gd name="T11" fmla="*/ 0 h 462"/>
                <a:gd name="T12" fmla="*/ 38247 w 520"/>
                <a:gd name="T13" fmla="*/ 0 h 462"/>
                <a:gd name="T14" fmla="*/ 35059 w 520"/>
                <a:gd name="T15" fmla="*/ 6377 h 462"/>
                <a:gd name="T16" fmla="*/ 27888 w 520"/>
                <a:gd name="T17" fmla="*/ 28699 h 462"/>
                <a:gd name="T18" fmla="*/ 20717 w 520"/>
                <a:gd name="T19" fmla="*/ 35076 h 462"/>
                <a:gd name="T20" fmla="*/ 17530 w 520"/>
                <a:gd name="T21" fmla="*/ 44642 h 462"/>
                <a:gd name="T22" fmla="*/ 10358 w 520"/>
                <a:gd name="T23" fmla="*/ 47831 h 462"/>
                <a:gd name="T24" fmla="*/ 3984 w 520"/>
                <a:gd name="T25" fmla="*/ 47831 h 462"/>
                <a:gd name="T26" fmla="*/ 0 w 520"/>
                <a:gd name="T27" fmla="*/ 54209 h 462"/>
                <a:gd name="T28" fmla="*/ 0 w 520"/>
                <a:gd name="T29" fmla="*/ 57397 h 462"/>
                <a:gd name="T30" fmla="*/ 7171 w 520"/>
                <a:gd name="T31" fmla="*/ 54209 h 462"/>
                <a:gd name="T32" fmla="*/ 20717 w 520"/>
                <a:gd name="T33" fmla="*/ 54209 h 462"/>
                <a:gd name="T34" fmla="*/ 24701 w 520"/>
                <a:gd name="T35" fmla="*/ 54209 h 462"/>
                <a:gd name="T36" fmla="*/ 24701 w 520"/>
                <a:gd name="T37" fmla="*/ 60586 h 462"/>
                <a:gd name="T38" fmla="*/ 31075 w 520"/>
                <a:gd name="T39" fmla="*/ 66964 h 462"/>
                <a:gd name="T40" fmla="*/ 38247 w 520"/>
                <a:gd name="T41" fmla="*/ 63775 h 462"/>
                <a:gd name="T42" fmla="*/ 38247 w 520"/>
                <a:gd name="T43" fmla="*/ 60586 h 462"/>
                <a:gd name="T44" fmla="*/ 45418 w 520"/>
                <a:gd name="T45" fmla="*/ 60586 h 462"/>
                <a:gd name="T46" fmla="*/ 51792 w 520"/>
                <a:gd name="T47" fmla="*/ 63775 h 462"/>
                <a:gd name="T48" fmla="*/ 51792 w 520"/>
                <a:gd name="T49" fmla="*/ 73341 h 462"/>
                <a:gd name="T50" fmla="*/ 55776 w 520"/>
                <a:gd name="T51" fmla="*/ 76530 h 462"/>
                <a:gd name="T52" fmla="*/ 51792 w 520"/>
                <a:gd name="T53" fmla="*/ 79719 h 462"/>
                <a:gd name="T54" fmla="*/ 51792 w 520"/>
                <a:gd name="T55" fmla="*/ 82907 h 462"/>
                <a:gd name="T56" fmla="*/ 62151 w 520"/>
                <a:gd name="T57" fmla="*/ 79719 h 462"/>
                <a:gd name="T58" fmla="*/ 76493 w 520"/>
                <a:gd name="T59" fmla="*/ 86096 h 462"/>
                <a:gd name="T60" fmla="*/ 79680 w 520"/>
                <a:gd name="T61" fmla="*/ 82907 h 462"/>
                <a:gd name="T62" fmla="*/ 90039 w 520"/>
                <a:gd name="T63" fmla="*/ 89285 h 462"/>
                <a:gd name="T64" fmla="*/ 94023 w 520"/>
                <a:gd name="T65" fmla="*/ 93271 h 462"/>
                <a:gd name="T66" fmla="*/ 94023 w 520"/>
                <a:gd name="T67" fmla="*/ 86096 h 462"/>
                <a:gd name="T68" fmla="*/ 90039 w 520"/>
                <a:gd name="T69" fmla="*/ 86096 h 462"/>
                <a:gd name="T70" fmla="*/ 90039 w 520"/>
                <a:gd name="T71" fmla="*/ 82907 h 462"/>
                <a:gd name="T72" fmla="*/ 90039 w 520"/>
                <a:gd name="T73" fmla="*/ 70152 h 462"/>
                <a:gd name="T74" fmla="*/ 90039 w 520"/>
                <a:gd name="T75" fmla="*/ 66964 h 462"/>
                <a:gd name="T76" fmla="*/ 100397 w 520"/>
                <a:gd name="T77" fmla="*/ 66964 h 462"/>
                <a:gd name="T78" fmla="*/ 94023 w 520"/>
                <a:gd name="T79" fmla="*/ 57397 h 462"/>
                <a:gd name="T80" fmla="*/ 94023 w 520"/>
                <a:gd name="T81" fmla="*/ 47831 h 462"/>
                <a:gd name="T82" fmla="*/ 94023 w 520"/>
                <a:gd name="T83" fmla="*/ 41454 h 462"/>
                <a:gd name="T84" fmla="*/ 94023 w 520"/>
                <a:gd name="T85" fmla="*/ 38265 h 462"/>
                <a:gd name="T86" fmla="*/ 90039 w 520"/>
                <a:gd name="T87" fmla="*/ 38265 h 462"/>
                <a:gd name="T88" fmla="*/ 94023 w 520"/>
                <a:gd name="T89" fmla="*/ 31887 h 462"/>
                <a:gd name="T90" fmla="*/ 97210 w 520"/>
                <a:gd name="T91" fmla="*/ 22321 h 462"/>
                <a:gd name="T92" fmla="*/ 100397 w 520"/>
                <a:gd name="T93" fmla="*/ 19132 h 462"/>
                <a:gd name="T94" fmla="*/ 104381 w 520"/>
                <a:gd name="T95" fmla="*/ 12755 h 462"/>
                <a:gd name="T96" fmla="*/ 100397 w 520"/>
                <a:gd name="T97" fmla="*/ 12755 h 462"/>
                <a:gd name="T98" fmla="*/ 100397 w 520"/>
                <a:gd name="T99" fmla="*/ 6377 h 462"/>
                <a:gd name="T100" fmla="*/ 97210 w 520"/>
                <a:gd name="T101" fmla="*/ 3189 h 462"/>
                <a:gd name="T102" fmla="*/ 86852 w 520"/>
                <a:gd name="T103" fmla="*/ 3189 h 462"/>
                <a:gd name="T104" fmla="*/ 83664 w 520"/>
                <a:gd name="T105" fmla="*/ 0 h 46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20"/>
                <a:gd name="T160" fmla="*/ 0 h 462"/>
                <a:gd name="T161" fmla="*/ 520 w 520"/>
                <a:gd name="T162" fmla="*/ 462 h 46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20" h="462">
                  <a:moveTo>
                    <a:pt x="417" y="0"/>
                  </a:moveTo>
                  <a:lnTo>
                    <a:pt x="417" y="0"/>
                  </a:lnTo>
                  <a:lnTo>
                    <a:pt x="294" y="0"/>
                  </a:lnTo>
                  <a:lnTo>
                    <a:pt x="276" y="15"/>
                  </a:lnTo>
                  <a:lnTo>
                    <a:pt x="225" y="15"/>
                  </a:lnTo>
                  <a:lnTo>
                    <a:pt x="207" y="0"/>
                  </a:lnTo>
                  <a:lnTo>
                    <a:pt x="190" y="0"/>
                  </a:lnTo>
                  <a:lnTo>
                    <a:pt x="173" y="30"/>
                  </a:lnTo>
                  <a:lnTo>
                    <a:pt x="138" y="144"/>
                  </a:lnTo>
                  <a:lnTo>
                    <a:pt x="104" y="174"/>
                  </a:lnTo>
                  <a:lnTo>
                    <a:pt x="86" y="222"/>
                  </a:lnTo>
                  <a:lnTo>
                    <a:pt x="52" y="239"/>
                  </a:lnTo>
                  <a:lnTo>
                    <a:pt x="17" y="239"/>
                  </a:lnTo>
                  <a:lnTo>
                    <a:pt x="0" y="270"/>
                  </a:lnTo>
                  <a:lnTo>
                    <a:pt x="0" y="287"/>
                  </a:lnTo>
                  <a:lnTo>
                    <a:pt x="35" y="270"/>
                  </a:lnTo>
                  <a:lnTo>
                    <a:pt x="104" y="270"/>
                  </a:lnTo>
                  <a:lnTo>
                    <a:pt x="121" y="270"/>
                  </a:lnTo>
                  <a:lnTo>
                    <a:pt x="121" y="303"/>
                  </a:lnTo>
                  <a:lnTo>
                    <a:pt x="155" y="335"/>
                  </a:lnTo>
                  <a:lnTo>
                    <a:pt x="190" y="318"/>
                  </a:lnTo>
                  <a:lnTo>
                    <a:pt x="190" y="303"/>
                  </a:lnTo>
                  <a:lnTo>
                    <a:pt x="225" y="303"/>
                  </a:lnTo>
                  <a:lnTo>
                    <a:pt x="259" y="318"/>
                  </a:lnTo>
                  <a:lnTo>
                    <a:pt x="259" y="366"/>
                  </a:lnTo>
                  <a:lnTo>
                    <a:pt x="276" y="383"/>
                  </a:lnTo>
                  <a:lnTo>
                    <a:pt x="259" y="399"/>
                  </a:lnTo>
                  <a:lnTo>
                    <a:pt x="259" y="414"/>
                  </a:lnTo>
                  <a:lnTo>
                    <a:pt x="311" y="399"/>
                  </a:lnTo>
                  <a:lnTo>
                    <a:pt x="380" y="431"/>
                  </a:lnTo>
                  <a:lnTo>
                    <a:pt x="397" y="414"/>
                  </a:lnTo>
                  <a:lnTo>
                    <a:pt x="451" y="447"/>
                  </a:lnTo>
                  <a:lnTo>
                    <a:pt x="468" y="462"/>
                  </a:lnTo>
                  <a:lnTo>
                    <a:pt x="468" y="431"/>
                  </a:lnTo>
                  <a:lnTo>
                    <a:pt x="451" y="431"/>
                  </a:lnTo>
                  <a:lnTo>
                    <a:pt x="451" y="414"/>
                  </a:lnTo>
                  <a:lnTo>
                    <a:pt x="451" y="351"/>
                  </a:lnTo>
                  <a:lnTo>
                    <a:pt x="451" y="335"/>
                  </a:lnTo>
                  <a:lnTo>
                    <a:pt x="503" y="335"/>
                  </a:lnTo>
                  <a:lnTo>
                    <a:pt x="468" y="287"/>
                  </a:lnTo>
                  <a:lnTo>
                    <a:pt x="468" y="239"/>
                  </a:lnTo>
                  <a:lnTo>
                    <a:pt x="468" y="207"/>
                  </a:lnTo>
                  <a:lnTo>
                    <a:pt x="468" y="191"/>
                  </a:lnTo>
                  <a:lnTo>
                    <a:pt x="451" y="191"/>
                  </a:lnTo>
                  <a:lnTo>
                    <a:pt x="468" y="159"/>
                  </a:lnTo>
                  <a:lnTo>
                    <a:pt x="486" y="111"/>
                  </a:lnTo>
                  <a:lnTo>
                    <a:pt x="503" y="96"/>
                  </a:lnTo>
                  <a:lnTo>
                    <a:pt x="520" y="63"/>
                  </a:lnTo>
                  <a:lnTo>
                    <a:pt x="503" y="63"/>
                  </a:lnTo>
                  <a:lnTo>
                    <a:pt x="503" y="30"/>
                  </a:lnTo>
                  <a:lnTo>
                    <a:pt x="486" y="15"/>
                  </a:lnTo>
                  <a:lnTo>
                    <a:pt x="434" y="15"/>
                  </a:lnTo>
                  <a:lnTo>
                    <a:pt x="417" y="0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79" name="Freeform 279">
              <a:extLst>
                <a:ext uri="{FF2B5EF4-FFF2-40B4-BE49-F238E27FC236}">
                  <a16:creationId xmlns:a16="http://schemas.microsoft.com/office/drawing/2014/main" id="{AFC177EB-149B-6201-F3D2-4BA5DC21AFA1}"/>
                </a:ext>
              </a:extLst>
            </p:cNvPr>
            <p:cNvSpPr>
              <a:spLocks/>
            </p:cNvSpPr>
            <p:nvPr>
              <p:custDataLst>
                <p:tags r:id="rId265"/>
              </p:custDataLst>
            </p:nvPr>
          </p:nvSpPr>
          <p:spPr bwMode="auto">
            <a:xfrm>
              <a:off x="5842400" y="4956652"/>
              <a:ext cx="248920" cy="191636"/>
            </a:xfrm>
            <a:custGeom>
              <a:avLst/>
              <a:gdLst>
                <a:gd name="T0" fmla="*/ 10319 w 330"/>
                <a:gd name="T1" fmla="*/ 12700 h 240"/>
                <a:gd name="T2" fmla="*/ 10319 w 330"/>
                <a:gd name="T3" fmla="*/ 12700 h 240"/>
                <a:gd name="T4" fmla="*/ 23813 w 330"/>
                <a:gd name="T5" fmla="*/ 19050 h 240"/>
                <a:gd name="T6" fmla="*/ 27781 w 330"/>
                <a:gd name="T7" fmla="*/ 15875 h 240"/>
                <a:gd name="T8" fmla="*/ 38100 w 330"/>
                <a:gd name="T9" fmla="*/ 22225 h 240"/>
                <a:gd name="T10" fmla="*/ 41275 w 330"/>
                <a:gd name="T11" fmla="*/ 24606 h 240"/>
                <a:gd name="T12" fmla="*/ 41275 w 330"/>
                <a:gd name="T13" fmla="*/ 19050 h 240"/>
                <a:gd name="T14" fmla="*/ 38100 w 330"/>
                <a:gd name="T15" fmla="*/ 19050 h 240"/>
                <a:gd name="T16" fmla="*/ 38100 w 330"/>
                <a:gd name="T17" fmla="*/ 15875 h 240"/>
                <a:gd name="T18" fmla="*/ 38100 w 330"/>
                <a:gd name="T19" fmla="*/ 3175 h 240"/>
                <a:gd name="T20" fmla="*/ 38100 w 330"/>
                <a:gd name="T21" fmla="*/ 0 h 240"/>
                <a:gd name="T22" fmla="*/ 48419 w 330"/>
                <a:gd name="T23" fmla="*/ 0 h 240"/>
                <a:gd name="T24" fmla="*/ 52388 w 330"/>
                <a:gd name="T25" fmla="*/ 0 h 240"/>
                <a:gd name="T26" fmla="*/ 62706 w 330"/>
                <a:gd name="T27" fmla="*/ 6350 h 240"/>
                <a:gd name="T28" fmla="*/ 65881 w 330"/>
                <a:gd name="T29" fmla="*/ 12700 h 240"/>
                <a:gd name="T30" fmla="*/ 62706 w 330"/>
                <a:gd name="T31" fmla="*/ 15875 h 240"/>
                <a:gd name="T32" fmla="*/ 62706 w 330"/>
                <a:gd name="T33" fmla="*/ 19050 h 240"/>
                <a:gd name="T34" fmla="*/ 58738 w 330"/>
                <a:gd name="T35" fmla="*/ 24606 h 240"/>
                <a:gd name="T36" fmla="*/ 62706 w 330"/>
                <a:gd name="T37" fmla="*/ 28575 h 240"/>
                <a:gd name="T38" fmla="*/ 44450 w 330"/>
                <a:gd name="T39" fmla="*/ 34925 h 240"/>
                <a:gd name="T40" fmla="*/ 44450 w 330"/>
                <a:gd name="T41" fmla="*/ 38100 h 240"/>
                <a:gd name="T42" fmla="*/ 38100 w 330"/>
                <a:gd name="T43" fmla="*/ 38100 h 240"/>
                <a:gd name="T44" fmla="*/ 38100 w 330"/>
                <a:gd name="T45" fmla="*/ 41275 h 240"/>
                <a:gd name="T46" fmla="*/ 27781 w 330"/>
                <a:gd name="T47" fmla="*/ 47625 h 240"/>
                <a:gd name="T48" fmla="*/ 17463 w 330"/>
                <a:gd name="T49" fmla="*/ 47625 h 240"/>
                <a:gd name="T50" fmla="*/ 10319 w 330"/>
                <a:gd name="T51" fmla="*/ 44450 h 240"/>
                <a:gd name="T52" fmla="*/ 7144 w 330"/>
                <a:gd name="T53" fmla="*/ 47625 h 240"/>
                <a:gd name="T54" fmla="*/ 0 w 330"/>
                <a:gd name="T55" fmla="*/ 41275 h 240"/>
                <a:gd name="T56" fmla="*/ 0 w 330"/>
                <a:gd name="T57" fmla="*/ 24606 h 240"/>
                <a:gd name="T58" fmla="*/ 14288 w 330"/>
                <a:gd name="T59" fmla="*/ 22225 h 240"/>
                <a:gd name="T60" fmla="*/ 10319 w 330"/>
                <a:gd name="T61" fmla="*/ 12700 h 24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330"/>
                <a:gd name="T94" fmla="*/ 0 h 240"/>
                <a:gd name="T95" fmla="*/ 330 w 330"/>
                <a:gd name="T96" fmla="*/ 240 h 24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330" h="240">
                  <a:moveTo>
                    <a:pt x="52" y="64"/>
                  </a:moveTo>
                  <a:lnTo>
                    <a:pt x="52" y="64"/>
                  </a:lnTo>
                  <a:lnTo>
                    <a:pt x="123" y="96"/>
                  </a:lnTo>
                  <a:lnTo>
                    <a:pt x="140" y="79"/>
                  </a:lnTo>
                  <a:lnTo>
                    <a:pt x="192" y="112"/>
                  </a:lnTo>
                  <a:lnTo>
                    <a:pt x="209" y="127"/>
                  </a:lnTo>
                  <a:lnTo>
                    <a:pt x="209" y="96"/>
                  </a:lnTo>
                  <a:lnTo>
                    <a:pt x="192" y="96"/>
                  </a:lnTo>
                  <a:lnTo>
                    <a:pt x="192" y="79"/>
                  </a:lnTo>
                  <a:lnTo>
                    <a:pt x="192" y="16"/>
                  </a:lnTo>
                  <a:lnTo>
                    <a:pt x="192" y="0"/>
                  </a:lnTo>
                  <a:lnTo>
                    <a:pt x="244" y="0"/>
                  </a:lnTo>
                  <a:lnTo>
                    <a:pt x="261" y="0"/>
                  </a:lnTo>
                  <a:lnTo>
                    <a:pt x="313" y="31"/>
                  </a:lnTo>
                  <a:lnTo>
                    <a:pt x="330" y="64"/>
                  </a:lnTo>
                  <a:lnTo>
                    <a:pt x="313" y="79"/>
                  </a:lnTo>
                  <a:lnTo>
                    <a:pt x="313" y="96"/>
                  </a:lnTo>
                  <a:lnTo>
                    <a:pt x="296" y="127"/>
                  </a:lnTo>
                  <a:lnTo>
                    <a:pt x="313" y="144"/>
                  </a:lnTo>
                  <a:lnTo>
                    <a:pt x="227" y="175"/>
                  </a:lnTo>
                  <a:lnTo>
                    <a:pt x="227" y="192"/>
                  </a:lnTo>
                  <a:lnTo>
                    <a:pt x="192" y="192"/>
                  </a:lnTo>
                  <a:lnTo>
                    <a:pt x="192" y="208"/>
                  </a:lnTo>
                  <a:lnTo>
                    <a:pt x="140" y="240"/>
                  </a:lnTo>
                  <a:lnTo>
                    <a:pt x="88" y="240"/>
                  </a:lnTo>
                  <a:lnTo>
                    <a:pt x="52" y="223"/>
                  </a:lnTo>
                  <a:lnTo>
                    <a:pt x="35" y="240"/>
                  </a:lnTo>
                  <a:lnTo>
                    <a:pt x="0" y="208"/>
                  </a:lnTo>
                  <a:lnTo>
                    <a:pt x="0" y="127"/>
                  </a:lnTo>
                  <a:lnTo>
                    <a:pt x="69" y="112"/>
                  </a:lnTo>
                  <a:lnTo>
                    <a:pt x="52" y="64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80" name="Freeform 280">
              <a:extLst>
                <a:ext uri="{FF2B5EF4-FFF2-40B4-BE49-F238E27FC236}">
                  <a16:creationId xmlns:a16="http://schemas.microsoft.com/office/drawing/2014/main" id="{E610FE07-E704-190A-8B8C-702E0D299669}"/>
                </a:ext>
              </a:extLst>
            </p:cNvPr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5636016" y="4904994"/>
              <a:ext cx="261524" cy="256624"/>
            </a:xfrm>
            <a:custGeom>
              <a:avLst/>
              <a:gdLst>
                <a:gd name="T0" fmla="*/ 0 w 345"/>
                <a:gd name="T1" fmla="*/ 56972 h 321"/>
                <a:gd name="T2" fmla="*/ 0 w 345"/>
                <a:gd name="T3" fmla="*/ 56972 h 321"/>
                <a:gd name="T4" fmla="*/ 7164 w 345"/>
                <a:gd name="T5" fmla="*/ 56972 h 321"/>
                <a:gd name="T6" fmla="*/ 14329 w 345"/>
                <a:gd name="T7" fmla="*/ 56972 h 321"/>
                <a:gd name="T8" fmla="*/ 34230 w 345"/>
                <a:gd name="T9" fmla="*/ 60137 h 321"/>
                <a:gd name="T10" fmla="*/ 41395 w 345"/>
                <a:gd name="T11" fmla="*/ 60137 h 321"/>
                <a:gd name="T12" fmla="*/ 54928 w 345"/>
                <a:gd name="T13" fmla="*/ 63302 h 321"/>
                <a:gd name="T14" fmla="*/ 62092 w 345"/>
                <a:gd name="T15" fmla="*/ 60137 h 321"/>
                <a:gd name="T16" fmla="*/ 54928 w 345"/>
                <a:gd name="T17" fmla="*/ 53807 h 321"/>
                <a:gd name="T18" fmla="*/ 54928 w 345"/>
                <a:gd name="T19" fmla="*/ 37981 h 321"/>
                <a:gd name="T20" fmla="*/ 69257 w 345"/>
                <a:gd name="T21" fmla="*/ 34816 h 321"/>
                <a:gd name="T22" fmla="*/ 65276 w 345"/>
                <a:gd name="T23" fmla="*/ 25321 h 321"/>
                <a:gd name="T24" fmla="*/ 54928 w 345"/>
                <a:gd name="T25" fmla="*/ 28486 h 321"/>
                <a:gd name="T26" fmla="*/ 54928 w 345"/>
                <a:gd name="T27" fmla="*/ 25321 h 321"/>
                <a:gd name="T28" fmla="*/ 58908 w 345"/>
                <a:gd name="T29" fmla="*/ 22156 h 321"/>
                <a:gd name="T30" fmla="*/ 54928 w 345"/>
                <a:gd name="T31" fmla="*/ 18991 h 321"/>
                <a:gd name="T32" fmla="*/ 54928 w 345"/>
                <a:gd name="T33" fmla="*/ 9495 h 321"/>
                <a:gd name="T34" fmla="*/ 48559 w 345"/>
                <a:gd name="T35" fmla="*/ 6330 h 321"/>
                <a:gd name="T36" fmla="*/ 41395 w 345"/>
                <a:gd name="T37" fmla="*/ 6330 h 321"/>
                <a:gd name="T38" fmla="*/ 41395 w 345"/>
                <a:gd name="T39" fmla="*/ 9495 h 321"/>
                <a:gd name="T40" fmla="*/ 34230 w 345"/>
                <a:gd name="T41" fmla="*/ 12660 h 321"/>
                <a:gd name="T42" fmla="*/ 27862 w 345"/>
                <a:gd name="T43" fmla="*/ 6330 h 321"/>
                <a:gd name="T44" fmla="*/ 27862 w 345"/>
                <a:gd name="T45" fmla="*/ 0 h 321"/>
                <a:gd name="T46" fmla="*/ 24678 w 345"/>
                <a:gd name="T47" fmla="*/ 0 h 321"/>
                <a:gd name="T48" fmla="*/ 10349 w 345"/>
                <a:gd name="T49" fmla="*/ 0 h 321"/>
                <a:gd name="T50" fmla="*/ 3980 w 345"/>
                <a:gd name="T51" fmla="*/ 3165 h 321"/>
                <a:gd name="T52" fmla="*/ 7164 w 345"/>
                <a:gd name="T53" fmla="*/ 12660 h 321"/>
                <a:gd name="T54" fmla="*/ 7164 w 345"/>
                <a:gd name="T55" fmla="*/ 15826 h 321"/>
                <a:gd name="T56" fmla="*/ 10349 w 345"/>
                <a:gd name="T57" fmla="*/ 28486 h 321"/>
                <a:gd name="T58" fmla="*/ 10349 w 345"/>
                <a:gd name="T59" fmla="*/ 34816 h 321"/>
                <a:gd name="T60" fmla="*/ 3980 w 345"/>
                <a:gd name="T61" fmla="*/ 37981 h 321"/>
                <a:gd name="T62" fmla="*/ 0 w 345"/>
                <a:gd name="T63" fmla="*/ 50642 h 321"/>
                <a:gd name="T64" fmla="*/ 0 w 345"/>
                <a:gd name="T65" fmla="*/ 56972 h 3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45"/>
                <a:gd name="T100" fmla="*/ 0 h 321"/>
                <a:gd name="T101" fmla="*/ 345 w 345"/>
                <a:gd name="T102" fmla="*/ 321 h 32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45" h="321">
                  <a:moveTo>
                    <a:pt x="0" y="288"/>
                  </a:moveTo>
                  <a:lnTo>
                    <a:pt x="0" y="288"/>
                  </a:lnTo>
                  <a:lnTo>
                    <a:pt x="34" y="288"/>
                  </a:lnTo>
                  <a:lnTo>
                    <a:pt x="69" y="288"/>
                  </a:lnTo>
                  <a:lnTo>
                    <a:pt x="172" y="305"/>
                  </a:lnTo>
                  <a:lnTo>
                    <a:pt x="207" y="305"/>
                  </a:lnTo>
                  <a:lnTo>
                    <a:pt x="276" y="321"/>
                  </a:lnTo>
                  <a:lnTo>
                    <a:pt x="311" y="305"/>
                  </a:lnTo>
                  <a:lnTo>
                    <a:pt x="276" y="273"/>
                  </a:lnTo>
                  <a:lnTo>
                    <a:pt x="276" y="192"/>
                  </a:lnTo>
                  <a:lnTo>
                    <a:pt x="345" y="177"/>
                  </a:lnTo>
                  <a:lnTo>
                    <a:pt x="328" y="129"/>
                  </a:lnTo>
                  <a:lnTo>
                    <a:pt x="276" y="144"/>
                  </a:lnTo>
                  <a:lnTo>
                    <a:pt x="276" y="129"/>
                  </a:lnTo>
                  <a:lnTo>
                    <a:pt x="293" y="113"/>
                  </a:lnTo>
                  <a:lnTo>
                    <a:pt x="276" y="96"/>
                  </a:lnTo>
                  <a:lnTo>
                    <a:pt x="276" y="48"/>
                  </a:lnTo>
                  <a:lnTo>
                    <a:pt x="241" y="33"/>
                  </a:lnTo>
                  <a:lnTo>
                    <a:pt x="207" y="33"/>
                  </a:lnTo>
                  <a:lnTo>
                    <a:pt x="207" y="48"/>
                  </a:lnTo>
                  <a:lnTo>
                    <a:pt x="172" y="65"/>
                  </a:lnTo>
                  <a:lnTo>
                    <a:pt x="138" y="33"/>
                  </a:lnTo>
                  <a:lnTo>
                    <a:pt x="138" y="0"/>
                  </a:lnTo>
                  <a:lnTo>
                    <a:pt x="121" y="0"/>
                  </a:lnTo>
                  <a:lnTo>
                    <a:pt x="51" y="0"/>
                  </a:lnTo>
                  <a:lnTo>
                    <a:pt x="17" y="17"/>
                  </a:lnTo>
                  <a:lnTo>
                    <a:pt x="34" y="65"/>
                  </a:lnTo>
                  <a:lnTo>
                    <a:pt x="34" y="81"/>
                  </a:lnTo>
                  <a:lnTo>
                    <a:pt x="51" y="144"/>
                  </a:lnTo>
                  <a:lnTo>
                    <a:pt x="51" y="177"/>
                  </a:lnTo>
                  <a:lnTo>
                    <a:pt x="17" y="192"/>
                  </a:lnTo>
                  <a:lnTo>
                    <a:pt x="0" y="257"/>
                  </a:lnTo>
                  <a:lnTo>
                    <a:pt x="0" y="288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81" name="Freeform 281">
              <a:extLst>
                <a:ext uri="{FF2B5EF4-FFF2-40B4-BE49-F238E27FC236}">
                  <a16:creationId xmlns:a16="http://schemas.microsoft.com/office/drawing/2014/main" id="{4885A876-DEEC-6BA8-33C1-5A312EEECAF1}"/>
                </a:ext>
              </a:extLst>
            </p:cNvPr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5579300" y="4086795"/>
              <a:ext cx="329269" cy="308283"/>
            </a:xfrm>
            <a:custGeom>
              <a:avLst/>
              <a:gdLst>
                <a:gd name="T0" fmla="*/ 14320 w 435"/>
                <a:gd name="T1" fmla="*/ 54769 h 384"/>
                <a:gd name="T2" fmla="*/ 14320 w 435"/>
                <a:gd name="T3" fmla="*/ 54769 h 384"/>
                <a:gd name="T4" fmla="*/ 10342 w 435"/>
                <a:gd name="T5" fmla="*/ 47625 h 384"/>
                <a:gd name="T6" fmla="*/ 7160 w 435"/>
                <a:gd name="T7" fmla="*/ 47625 h 384"/>
                <a:gd name="T8" fmla="*/ 0 w 435"/>
                <a:gd name="T9" fmla="*/ 38100 h 384"/>
                <a:gd name="T10" fmla="*/ 3978 w 435"/>
                <a:gd name="T11" fmla="*/ 35719 h 384"/>
                <a:gd name="T12" fmla="*/ 3978 w 435"/>
                <a:gd name="T13" fmla="*/ 28575 h 384"/>
                <a:gd name="T14" fmla="*/ 3978 w 435"/>
                <a:gd name="T15" fmla="*/ 22225 h 384"/>
                <a:gd name="T16" fmla="*/ 0 w 435"/>
                <a:gd name="T17" fmla="*/ 19050 h 384"/>
                <a:gd name="T18" fmla="*/ 0 w 435"/>
                <a:gd name="T19" fmla="*/ 16669 h 384"/>
                <a:gd name="T20" fmla="*/ 3978 w 435"/>
                <a:gd name="T21" fmla="*/ 12700 h 384"/>
                <a:gd name="T22" fmla="*/ 3978 w 435"/>
                <a:gd name="T23" fmla="*/ 9525 h 384"/>
                <a:gd name="T24" fmla="*/ 10342 w 435"/>
                <a:gd name="T25" fmla="*/ 3175 h 384"/>
                <a:gd name="T26" fmla="*/ 10342 w 435"/>
                <a:gd name="T27" fmla="*/ 0 h 384"/>
                <a:gd name="T28" fmla="*/ 17503 w 435"/>
                <a:gd name="T29" fmla="*/ 0 h 384"/>
                <a:gd name="T30" fmla="*/ 27845 w 435"/>
                <a:gd name="T31" fmla="*/ 3175 h 384"/>
                <a:gd name="T32" fmla="*/ 35005 w 435"/>
                <a:gd name="T33" fmla="*/ 3175 h 384"/>
                <a:gd name="T34" fmla="*/ 35005 w 435"/>
                <a:gd name="T35" fmla="*/ 9525 h 384"/>
                <a:gd name="T36" fmla="*/ 55690 w 435"/>
                <a:gd name="T37" fmla="*/ 16669 h 384"/>
                <a:gd name="T38" fmla="*/ 58873 w 435"/>
                <a:gd name="T39" fmla="*/ 12700 h 384"/>
                <a:gd name="T40" fmla="*/ 58873 w 435"/>
                <a:gd name="T41" fmla="*/ 7144 h 384"/>
                <a:gd name="T42" fmla="*/ 70011 w 435"/>
                <a:gd name="T43" fmla="*/ 0 h 384"/>
                <a:gd name="T44" fmla="*/ 76375 w 435"/>
                <a:gd name="T45" fmla="*/ 3175 h 384"/>
                <a:gd name="T46" fmla="*/ 76375 w 435"/>
                <a:gd name="T47" fmla="*/ 7144 h 384"/>
                <a:gd name="T48" fmla="*/ 86718 w 435"/>
                <a:gd name="T49" fmla="*/ 7144 h 384"/>
                <a:gd name="T50" fmla="*/ 83535 w 435"/>
                <a:gd name="T51" fmla="*/ 19050 h 384"/>
                <a:gd name="T52" fmla="*/ 86718 w 435"/>
                <a:gd name="T53" fmla="*/ 26194 h 384"/>
                <a:gd name="T54" fmla="*/ 86718 w 435"/>
                <a:gd name="T55" fmla="*/ 60325 h 384"/>
                <a:gd name="T56" fmla="*/ 86718 w 435"/>
                <a:gd name="T57" fmla="*/ 69850 h 384"/>
                <a:gd name="T58" fmla="*/ 83535 w 435"/>
                <a:gd name="T59" fmla="*/ 73819 h 384"/>
                <a:gd name="T60" fmla="*/ 80353 w 435"/>
                <a:gd name="T61" fmla="*/ 76200 h 384"/>
                <a:gd name="T62" fmla="*/ 38188 w 435"/>
                <a:gd name="T63" fmla="*/ 54769 h 384"/>
                <a:gd name="T64" fmla="*/ 31823 w 435"/>
                <a:gd name="T65" fmla="*/ 57150 h 384"/>
                <a:gd name="T66" fmla="*/ 27845 w 435"/>
                <a:gd name="T67" fmla="*/ 54769 h 384"/>
                <a:gd name="T68" fmla="*/ 14320 w 435"/>
                <a:gd name="T69" fmla="*/ 54769 h 38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435"/>
                <a:gd name="T106" fmla="*/ 0 h 384"/>
                <a:gd name="T107" fmla="*/ 435 w 435"/>
                <a:gd name="T108" fmla="*/ 384 h 38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435" h="384">
                  <a:moveTo>
                    <a:pt x="69" y="273"/>
                  </a:moveTo>
                  <a:lnTo>
                    <a:pt x="69" y="273"/>
                  </a:lnTo>
                  <a:lnTo>
                    <a:pt x="51" y="240"/>
                  </a:lnTo>
                  <a:lnTo>
                    <a:pt x="34" y="240"/>
                  </a:lnTo>
                  <a:lnTo>
                    <a:pt x="0" y="192"/>
                  </a:lnTo>
                  <a:lnTo>
                    <a:pt x="17" y="177"/>
                  </a:lnTo>
                  <a:lnTo>
                    <a:pt x="17" y="144"/>
                  </a:lnTo>
                  <a:lnTo>
                    <a:pt x="17" y="112"/>
                  </a:lnTo>
                  <a:lnTo>
                    <a:pt x="0" y="96"/>
                  </a:lnTo>
                  <a:lnTo>
                    <a:pt x="0" y="81"/>
                  </a:lnTo>
                  <a:lnTo>
                    <a:pt x="17" y="64"/>
                  </a:lnTo>
                  <a:lnTo>
                    <a:pt x="17" y="48"/>
                  </a:lnTo>
                  <a:lnTo>
                    <a:pt x="51" y="16"/>
                  </a:lnTo>
                  <a:lnTo>
                    <a:pt x="51" y="0"/>
                  </a:lnTo>
                  <a:lnTo>
                    <a:pt x="86" y="0"/>
                  </a:lnTo>
                  <a:lnTo>
                    <a:pt x="140" y="16"/>
                  </a:lnTo>
                  <a:lnTo>
                    <a:pt x="174" y="16"/>
                  </a:lnTo>
                  <a:lnTo>
                    <a:pt x="174" y="48"/>
                  </a:lnTo>
                  <a:lnTo>
                    <a:pt x="278" y="81"/>
                  </a:lnTo>
                  <a:lnTo>
                    <a:pt x="295" y="64"/>
                  </a:lnTo>
                  <a:lnTo>
                    <a:pt x="295" y="33"/>
                  </a:lnTo>
                  <a:lnTo>
                    <a:pt x="349" y="0"/>
                  </a:lnTo>
                  <a:lnTo>
                    <a:pt x="384" y="16"/>
                  </a:lnTo>
                  <a:lnTo>
                    <a:pt x="384" y="33"/>
                  </a:lnTo>
                  <a:lnTo>
                    <a:pt x="435" y="33"/>
                  </a:lnTo>
                  <a:lnTo>
                    <a:pt x="418" y="96"/>
                  </a:lnTo>
                  <a:lnTo>
                    <a:pt x="435" y="129"/>
                  </a:lnTo>
                  <a:lnTo>
                    <a:pt x="435" y="304"/>
                  </a:lnTo>
                  <a:lnTo>
                    <a:pt x="435" y="352"/>
                  </a:lnTo>
                  <a:lnTo>
                    <a:pt x="418" y="369"/>
                  </a:lnTo>
                  <a:lnTo>
                    <a:pt x="401" y="384"/>
                  </a:lnTo>
                  <a:lnTo>
                    <a:pt x="192" y="273"/>
                  </a:lnTo>
                  <a:lnTo>
                    <a:pt x="157" y="288"/>
                  </a:lnTo>
                  <a:lnTo>
                    <a:pt x="140" y="273"/>
                  </a:lnTo>
                  <a:lnTo>
                    <a:pt x="69" y="273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82" name="Freeform 283">
              <a:extLst>
                <a:ext uri="{FF2B5EF4-FFF2-40B4-BE49-F238E27FC236}">
                  <a16:creationId xmlns:a16="http://schemas.microsoft.com/office/drawing/2014/main" id="{BC37E8C7-BA8F-DDB1-8091-68F2F2E78323}"/>
                </a:ext>
              </a:extLst>
            </p:cNvPr>
            <p:cNvSpPr>
              <a:spLocks/>
            </p:cNvSpPr>
            <p:nvPr>
              <p:custDataLst>
                <p:tags r:id="rId268"/>
              </p:custDataLst>
            </p:nvPr>
          </p:nvSpPr>
          <p:spPr bwMode="auto">
            <a:xfrm>
              <a:off x="6236261" y="4548386"/>
              <a:ext cx="209534" cy="268289"/>
            </a:xfrm>
            <a:custGeom>
              <a:avLst/>
              <a:gdLst>
                <a:gd name="T0" fmla="*/ 6327 w 279"/>
                <a:gd name="T1" fmla="*/ 40481 h 336"/>
                <a:gd name="T2" fmla="*/ 6327 w 279"/>
                <a:gd name="T3" fmla="*/ 40481 h 336"/>
                <a:gd name="T4" fmla="*/ 0 w 279"/>
                <a:gd name="T5" fmla="*/ 47625 h 336"/>
                <a:gd name="T6" fmla="*/ 0 w 279"/>
                <a:gd name="T7" fmla="*/ 64294 h 336"/>
                <a:gd name="T8" fmla="*/ 3164 w 279"/>
                <a:gd name="T9" fmla="*/ 66675 h 336"/>
                <a:gd name="T10" fmla="*/ 13445 w 279"/>
                <a:gd name="T11" fmla="*/ 57150 h 336"/>
                <a:gd name="T12" fmla="*/ 27682 w 279"/>
                <a:gd name="T13" fmla="*/ 47625 h 336"/>
                <a:gd name="T14" fmla="*/ 37964 w 279"/>
                <a:gd name="T15" fmla="*/ 38100 h 336"/>
                <a:gd name="T16" fmla="*/ 44291 w 279"/>
                <a:gd name="T17" fmla="*/ 31750 h 336"/>
                <a:gd name="T18" fmla="*/ 54573 w 279"/>
                <a:gd name="T19" fmla="*/ 7144 h 336"/>
                <a:gd name="T20" fmla="*/ 54573 w 279"/>
                <a:gd name="T21" fmla="*/ 0 h 336"/>
                <a:gd name="T22" fmla="*/ 51409 w 279"/>
                <a:gd name="T23" fmla="*/ 0 h 336"/>
                <a:gd name="T24" fmla="*/ 44291 w 279"/>
                <a:gd name="T25" fmla="*/ 2381 h 336"/>
                <a:gd name="T26" fmla="*/ 20564 w 279"/>
                <a:gd name="T27" fmla="*/ 9525 h 336"/>
                <a:gd name="T28" fmla="*/ 16609 w 279"/>
                <a:gd name="T29" fmla="*/ 7144 h 336"/>
                <a:gd name="T30" fmla="*/ 13445 w 279"/>
                <a:gd name="T31" fmla="*/ 2381 h 336"/>
                <a:gd name="T32" fmla="*/ 10282 w 279"/>
                <a:gd name="T33" fmla="*/ 7144 h 336"/>
                <a:gd name="T34" fmla="*/ 10282 w 279"/>
                <a:gd name="T35" fmla="*/ 9525 h 336"/>
                <a:gd name="T36" fmla="*/ 16609 w 279"/>
                <a:gd name="T37" fmla="*/ 16669 h 336"/>
                <a:gd name="T38" fmla="*/ 34009 w 279"/>
                <a:gd name="T39" fmla="*/ 19050 h 336"/>
                <a:gd name="T40" fmla="*/ 37964 w 279"/>
                <a:gd name="T41" fmla="*/ 19050 h 336"/>
                <a:gd name="T42" fmla="*/ 23727 w 279"/>
                <a:gd name="T43" fmla="*/ 34925 h 336"/>
                <a:gd name="T44" fmla="*/ 13445 w 279"/>
                <a:gd name="T45" fmla="*/ 34925 h 336"/>
                <a:gd name="T46" fmla="*/ 6327 w 279"/>
                <a:gd name="T47" fmla="*/ 40481 h 3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79"/>
                <a:gd name="T73" fmla="*/ 0 h 336"/>
                <a:gd name="T74" fmla="*/ 279 w 279"/>
                <a:gd name="T75" fmla="*/ 336 h 3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79" h="336">
                  <a:moveTo>
                    <a:pt x="35" y="207"/>
                  </a:moveTo>
                  <a:lnTo>
                    <a:pt x="35" y="207"/>
                  </a:lnTo>
                  <a:lnTo>
                    <a:pt x="0" y="240"/>
                  </a:lnTo>
                  <a:lnTo>
                    <a:pt x="0" y="321"/>
                  </a:lnTo>
                  <a:lnTo>
                    <a:pt x="18" y="336"/>
                  </a:lnTo>
                  <a:lnTo>
                    <a:pt x="69" y="288"/>
                  </a:lnTo>
                  <a:lnTo>
                    <a:pt x="141" y="240"/>
                  </a:lnTo>
                  <a:lnTo>
                    <a:pt x="192" y="192"/>
                  </a:lnTo>
                  <a:lnTo>
                    <a:pt x="227" y="159"/>
                  </a:lnTo>
                  <a:lnTo>
                    <a:pt x="279" y="33"/>
                  </a:lnTo>
                  <a:lnTo>
                    <a:pt x="279" y="0"/>
                  </a:lnTo>
                  <a:lnTo>
                    <a:pt x="261" y="0"/>
                  </a:lnTo>
                  <a:lnTo>
                    <a:pt x="227" y="15"/>
                  </a:lnTo>
                  <a:lnTo>
                    <a:pt x="104" y="48"/>
                  </a:lnTo>
                  <a:lnTo>
                    <a:pt x="87" y="33"/>
                  </a:lnTo>
                  <a:lnTo>
                    <a:pt x="69" y="15"/>
                  </a:lnTo>
                  <a:lnTo>
                    <a:pt x="52" y="33"/>
                  </a:lnTo>
                  <a:lnTo>
                    <a:pt x="52" y="48"/>
                  </a:lnTo>
                  <a:lnTo>
                    <a:pt x="87" y="81"/>
                  </a:lnTo>
                  <a:lnTo>
                    <a:pt x="175" y="96"/>
                  </a:lnTo>
                  <a:lnTo>
                    <a:pt x="192" y="96"/>
                  </a:lnTo>
                  <a:lnTo>
                    <a:pt x="121" y="177"/>
                  </a:lnTo>
                  <a:lnTo>
                    <a:pt x="69" y="177"/>
                  </a:lnTo>
                  <a:lnTo>
                    <a:pt x="35" y="207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83" name="Freeform 284">
              <a:extLst>
                <a:ext uri="{FF2B5EF4-FFF2-40B4-BE49-F238E27FC236}">
                  <a16:creationId xmlns:a16="http://schemas.microsoft.com/office/drawing/2014/main" id="{D753E0E3-75CF-02BC-8B9F-1953E0ABCFDA}"/>
                </a:ext>
              </a:extLst>
            </p:cNvPr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5686431" y="4560050"/>
              <a:ext cx="274127" cy="166639"/>
            </a:xfrm>
            <a:custGeom>
              <a:avLst/>
              <a:gdLst>
                <a:gd name="T0" fmla="*/ 44572 w 363"/>
                <a:gd name="T1" fmla="*/ 0 h 210"/>
                <a:gd name="T2" fmla="*/ 44572 w 363"/>
                <a:gd name="T3" fmla="*/ 0 h 210"/>
                <a:gd name="T4" fmla="*/ 51736 w 363"/>
                <a:gd name="T5" fmla="*/ 6290 h 210"/>
                <a:gd name="T6" fmla="*/ 51736 w 363"/>
                <a:gd name="T7" fmla="*/ 12579 h 210"/>
                <a:gd name="T8" fmla="*/ 58899 w 363"/>
                <a:gd name="T9" fmla="*/ 15724 h 210"/>
                <a:gd name="T10" fmla="*/ 72430 w 363"/>
                <a:gd name="T11" fmla="*/ 31448 h 210"/>
                <a:gd name="T12" fmla="*/ 48552 w 363"/>
                <a:gd name="T13" fmla="*/ 31448 h 210"/>
                <a:gd name="T14" fmla="*/ 44572 w 363"/>
                <a:gd name="T15" fmla="*/ 34592 h 210"/>
                <a:gd name="T16" fmla="*/ 35021 w 363"/>
                <a:gd name="T17" fmla="*/ 34592 h 210"/>
                <a:gd name="T18" fmla="*/ 31042 w 363"/>
                <a:gd name="T19" fmla="*/ 31448 h 210"/>
                <a:gd name="T20" fmla="*/ 27858 w 363"/>
                <a:gd name="T21" fmla="*/ 31448 h 210"/>
                <a:gd name="T22" fmla="*/ 24674 w 363"/>
                <a:gd name="T23" fmla="*/ 36951 h 210"/>
                <a:gd name="T24" fmla="*/ 14327 w 363"/>
                <a:gd name="T25" fmla="*/ 40882 h 210"/>
                <a:gd name="T26" fmla="*/ 10347 w 363"/>
                <a:gd name="T27" fmla="*/ 40882 h 210"/>
                <a:gd name="T28" fmla="*/ 3980 w 363"/>
                <a:gd name="T29" fmla="*/ 31448 h 210"/>
                <a:gd name="T30" fmla="*/ 0 w 363"/>
                <a:gd name="T31" fmla="*/ 27517 h 210"/>
                <a:gd name="T32" fmla="*/ 7163 w 363"/>
                <a:gd name="T33" fmla="*/ 18869 h 210"/>
                <a:gd name="T34" fmla="*/ 24674 w 363"/>
                <a:gd name="T35" fmla="*/ 15724 h 210"/>
                <a:gd name="T36" fmla="*/ 27858 w 363"/>
                <a:gd name="T37" fmla="*/ 12579 h 210"/>
                <a:gd name="T38" fmla="*/ 24674 w 363"/>
                <a:gd name="T39" fmla="*/ 12579 h 210"/>
                <a:gd name="T40" fmla="*/ 35021 w 363"/>
                <a:gd name="T41" fmla="*/ 9434 h 210"/>
                <a:gd name="T42" fmla="*/ 41389 w 363"/>
                <a:gd name="T43" fmla="*/ 3145 h 210"/>
                <a:gd name="T44" fmla="*/ 44572 w 363"/>
                <a:gd name="T45" fmla="*/ 0 h 21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363"/>
                <a:gd name="T70" fmla="*/ 0 h 210"/>
                <a:gd name="T71" fmla="*/ 363 w 363"/>
                <a:gd name="T72" fmla="*/ 210 h 21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363" h="210">
                  <a:moveTo>
                    <a:pt x="224" y="0"/>
                  </a:moveTo>
                  <a:lnTo>
                    <a:pt x="224" y="0"/>
                  </a:lnTo>
                  <a:lnTo>
                    <a:pt x="259" y="33"/>
                  </a:lnTo>
                  <a:lnTo>
                    <a:pt x="259" y="66"/>
                  </a:lnTo>
                  <a:lnTo>
                    <a:pt x="294" y="81"/>
                  </a:lnTo>
                  <a:lnTo>
                    <a:pt x="363" y="162"/>
                  </a:lnTo>
                  <a:lnTo>
                    <a:pt x="242" y="162"/>
                  </a:lnTo>
                  <a:lnTo>
                    <a:pt x="224" y="177"/>
                  </a:lnTo>
                  <a:lnTo>
                    <a:pt x="173" y="177"/>
                  </a:lnTo>
                  <a:lnTo>
                    <a:pt x="155" y="162"/>
                  </a:lnTo>
                  <a:lnTo>
                    <a:pt x="138" y="162"/>
                  </a:lnTo>
                  <a:lnTo>
                    <a:pt x="121" y="192"/>
                  </a:lnTo>
                  <a:lnTo>
                    <a:pt x="69" y="210"/>
                  </a:lnTo>
                  <a:lnTo>
                    <a:pt x="52" y="210"/>
                  </a:lnTo>
                  <a:lnTo>
                    <a:pt x="17" y="162"/>
                  </a:lnTo>
                  <a:lnTo>
                    <a:pt x="0" y="144"/>
                  </a:lnTo>
                  <a:lnTo>
                    <a:pt x="34" y="96"/>
                  </a:lnTo>
                  <a:lnTo>
                    <a:pt x="121" y="81"/>
                  </a:lnTo>
                  <a:lnTo>
                    <a:pt x="138" y="66"/>
                  </a:lnTo>
                  <a:lnTo>
                    <a:pt x="121" y="66"/>
                  </a:lnTo>
                  <a:lnTo>
                    <a:pt x="173" y="48"/>
                  </a:lnTo>
                  <a:lnTo>
                    <a:pt x="207" y="18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00B050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84" name="Freeform 285">
              <a:extLst>
                <a:ext uri="{FF2B5EF4-FFF2-40B4-BE49-F238E27FC236}">
                  <a16:creationId xmlns:a16="http://schemas.microsoft.com/office/drawing/2014/main" id="{04C4A9CF-2184-E4E3-9C0C-30ECAA7B18E7}"/>
                </a:ext>
              </a:extLst>
            </p:cNvPr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5675403" y="4305093"/>
              <a:ext cx="206383" cy="331612"/>
            </a:xfrm>
            <a:custGeom>
              <a:avLst/>
              <a:gdLst>
                <a:gd name="T0" fmla="*/ 6327 w 275"/>
                <a:gd name="T1" fmla="*/ 3190 h 414"/>
                <a:gd name="T2" fmla="*/ 6327 w 275"/>
                <a:gd name="T3" fmla="*/ 3190 h 414"/>
                <a:gd name="T4" fmla="*/ 6327 w 275"/>
                <a:gd name="T5" fmla="*/ 9571 h 414"/>
                <a:gd name="T6" fmla="*/ 13445 w 275"/>
                <a:gd name="T7" fmla="*/ 15952 h 414"/>
                <a:gd name="T8" fmla="*/ 10281 w 275"/>
                <a:gd name="T9" fmla="*/ 35094 h 414"/>
                <a:gd name="T10" fmla="*/ 0 w 275"/>
                <a:gd name="T11" fmla="*/ 48653 h 414"/>
                <a:gd name="T12" fmla="*/ 0 w 275"/>
                <a:gd name="T13" fmla="*/ 51045 h 414"/>
                <a:gd name="T14" fmla="*/ 3163 w 275"/>
                <a:gd name="T15" fmla="*/ 54236 h 414"/>
                <a:gd name="T16" fmla="*/ 3163 w 275"/>
                <a:gd name="T17" fmla="*/ 58224 h 414"/>
                <a:gd name="T18" fmla="*/ 10281 w 275"/>
                <a:gd name="T19" fmla="*/ 70187 h 414"/>
                <a:gd name="T20" fmla="*/ 3163 w 275"/>
                <a:gd name="T21" fmla="*/ 70187 h 414"/>
                <a:gd name="T22" fmla="*/ 3163 w 275"/>
                <a:gd name="T23" fmla="*/ 73378 h 414"/>
                <a:gd name="T24" fmla="*/ 6327 w 275"/>
                <a:gd name="T25" fmla="*/ 77366 h 414"/>
                <a:gd name="T26" fmla="*/ 10281 w 275"/>
                <a:gd name="T27" fmla="*/ 83746 h 414"/>
                <a:gd name="T28" fmla="*/ 26889 w 275"/>
                <a:gd name="T29" fmla="*/ 79758 h 414"/>
                <a:gd name="T30" fmla="*/ 30053 w 275"/>
                <a:gd name="T31" fmla="*/ 77366 h 414"/>
                <a:gd name="T32" fmla="*/ 26889 w 275"/>
                <a:gd name="T33" fmla="*/ 77366 h 414"/>
                <a:gd name="T34" fmla="*/ 37171 w 275"/>
                <a:gd name="T35" fmla="*/ 73378 h 414"/>
                <a:gd name="T36" fmla="*/ 43498 w 275"/>
                <a:gd name="T37" fmla="*/ 67795 h 414"/>
                <a:gd name="T38" fmla="*/ 47452 w 275"/>
                <a:gd name="T39" fmla="*/ 63807 h 414"/>
                <a:gd name="T40" fmla="*/ 50615 w 275"/>
                <a:gd name="T41" fmla="*/ 63807 h 414"/>
                <a:gd name="T42" fmla="*/ 43498 w 275"/>
                <a:gd name="T43" fmla="*/ 54236 h 414"/>
                <a:gd name="T44" fmla="*/ 50615 w 275"/>
                <a:gd name="T45" fmla="*/ 41474 h 414"/>
                <a:gd name="T46" fmla="*/ 53779 w 275"/>
                <a:gd name="T47" fmla="*/ 41474 h 414"/>
                <a:gd name="T48" fmla="*/ 53779 w 275"/>
                <a:gd name="T49" fmla="*/ 38284 h 414"/>
                <a:gd name="T50" fmla="*/ 53779 w 275"/>
                <a:gd name="T51" fmla="*/ 22332 h 414"/>
                <a:gd name="T52" fmla="*/ 13445 w 275"/>
                <a:gd name="T53" fmla="*/ 0 h 414"/>
                <a:gd name="T54" fmla="*/ 6327 w 275"/>
                <a:gd name="T55" fmla="*/ 3190 h 41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75"/>
                <a:gd name="T85" fmla="*/ 0 h 414"/>
                <a:gd name="T86" fmla="*/ 275 w 275"/>
                <a:gd name="T87" fmla="*/ 414 h 414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75" h="414">
                  <a:moveTo>
                    <a:pt x="35" y="15"/>
                  </a:moveTo>
                  <a:lnTo>
                    <a:pt x="35" y="15"/>
                  </a:lnTo>
                  <a:lnTo>
                    <a:pt x="35" y="48"/>
                  </a:lnTo>
                  <a:lnTo>
                    <a:pt x="70" y="79"/>
                  </a:lnTo>
                  <a:lnTo>
                    <a:pt x="52" y="175"/>
                  </a:lnTo>
                  <a:lnTo>
                    <a:pt x="0" y="240"/>
                  </a:lnTo>
                  <a:lnTo>
                    <a:pt x="0" y="255"/>
                  </a:lnTo>
                  <a:lnTo>
                    <a:pt x="18" y="270"/>
                  </a:lnTo>
                  <a:lnTo>
                    <a:pt x="18" y="288"/>
                  </a:lnTo>
                  <a:lnTo>
                    <a:pt x="52" y="351"/>
                  </a:lnTo>
                  <a:lnTo>
                    <a:pt x="18" y="351"/>
                  </a:lnTo>
                  <a:lnTo>
                    <a:pt x="18" y="366"/>
                  </a:lnTo>
                  <a:lnTo>
                    <a:pt x="35" y="384"/>
                  </a:lnTo>
                  <a:lnTo>
                    <a:pt x="52" y="414"/>
                  </a:lnTo>
                  <a:lnTo>
                    <a:pt x="137" y="399"/>
                  </a:lnTo>
                  <a:lnTo>
                    <a:pt x="154" y="384"/>
                  </a:lnTo>
                  <a:lnTo>
                    <a:pt x="137" y="384"/>
                  </a:lnTo>
                  <a:lnTo>
                    <a:pt x="189" y="366"/>
                  </a:lnTo>
                  <a:lnTo>
                    <a:pt x="223" y="336"/>
                  </a:lnTo>
                  <a:lnTo>
                    <a:pt x="240" y="318"/>
                  </a:lnTo>
                  <a:lnTo>
                    <a:pt x="258" y="318"/>
                  </a:lnTo>
                  <a:lnTo>
                    <a:pt x="223" y="270"/>
                  </a:lnTo>
                  <a:lnTo>
                    <a:pt x="258" y="207"/>
                  </a:lnTo>
                  <a:lnTo>
                    <a:pt x="275" y="207"/>
                  </a:lnTo>
                  <a:lnTo>
                    <a:pt x="275" y="192"/>
                  </a:lnTo>
                  <a:lnTo>
                    <a:pt x="275" y="111"/>
                  </a:lnTo>
                  <a:lnTo>
                    <a:pt x="70" y="0"/>
                  </a:lnTo>
                  <a:lnTo>
                    <a:pt x="35" y="15"/>
                  </a:lnTo>
                  <a:close/>
                </a:path>
              </a:pathLst>
            </a:custGeom>
            <a:solidFill>
              <a:srgbClr val="00B050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85" name="Freeform 286">
              <a:extLst>
                <a:ext uri="{FF2B5EF4-FFF2-40B4-BE49-F238E27FC236}">
                  <a16:creationId xmlns:a16="http://schemas.microsoft.com/office/drawing/2014/main" id="{E3E97D3D-B441-29FE-571F-042C06D0F8D2}"/>
                </a:ext>
              </a:extLst>
            </p:cNvPr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6146461" y="4420074"/>
              <a:ext cx="127612" cy="114982"/>
            </a:xfrm>
            <a:custGeom>
              <a:avLst/>
              <a:gdLst>
                <a:gd name="T0" fmla="*/ 29986 w 171"/>
                <a:gd name="T1" fmla="*/ 28575 h 144"/>
                <a:gd name="T2" fmla="*/ 29986 w 171"/>
                <a:gd name="T3" fmla="*/ 28575 h 144"/>
                <a:gd name="T4" fmla="*/ 33143 w 171"/>
                <a:gd name="T5" fmla="*/ 28575 h 144"/>
                <a:gd name="T6" fmla="*/ 22884 w 171"/>
                <a:gd name="T7" fmla="*/ 19050 h 144"/>
                <a:gd name="T8" fmla="*/ 16571 w 171"/>
                <a:gd name="T9" fmla="*/ 11906 h 144"/>
                <a:gd name="T10" fmla="*/ 10258 w 171"/>
                <a:gd name="T11" fmla="*/ 0 h 144"/>
                <a:gd name="T12" fmla="*/ 10258 w 171"/>
                <a:gd name="T13" fmla="*/ 2381 h 144"/>
                <a:gd name="T14" fmla="*/ 3156 w 171"/>
                <a:gd name="T15" fmla="*/ 5556 h 144"/>
                <a:gd name="T16" fmla="*/ 0 w 171"/>
                <a:gd name="T17" fmla="*/ 19050 h 144"/>
                <a:gd name="T18" fmla="*/ 3156 w 171"/>
                <a:gd name="T19" fmla="*/ 19050 h 144"/>
                <a:gd name="T20" fmla="*/ 6313 w 171"/>
                <a:gd name="T21" fmla="*/ 21431 h 144"/>
                <a:gd name="T22" fmla="*/ 6313 w 171"/>
                <a:gd name="T23" fmla="*/ 15081 h 144"/>
                <a:gd name="T24" fmla="*/ 10258 w 171"/>
                <a:gd name="T25" fmla="*/ 19050 h 144"/>
                <a:gd name="T26" fmla="*/ 19728 w 171"/>
                <a:gd name="T27" fmla="*/ 19050 h 144"/>
                <a:gd name="T28" fmla="*/ 29986 w 171"/>
                <a:gd name="T29" fmla="*/ 28575 h 14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71"/>
                <a:gd name="T46" fmla="*/ 0 h 144"/>
                <a:gd name="T47" fmla="*/ 171 w 171"/>
                <a:gd name="T48" fmla="*/ 144 h 14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71" h="144">
                  <a:moveTo>
                    <a:pt x="154" y="144"/>
                  </a:moveTo>
                  <a:lnTo>
                    <a:pt x="154" y="144"/>
                  </a:lnTo>
                  <a:lnTo>
                    <a:pt x="171" y="144"/>
                  </a:lnTo>
                  <a:lnTo>
                    <a:pt x="119" y="96"/>
                  </a:lnTo>
                  <a:lnTo>
                    <a:pt x="85" y="63"/>
                  </a:lnTo>
                  <a:lnTo>
                    <a:pt x="52" y="0"/>
                  </a:lnTo>
                  <a:lnTo>
                    <a:pt x="52" y="15"/>
                  </a:lnTo>
                  <a:lnTo>
                    <a:pt x="18" y="31"/>
                  </a:lnTo>
                  <a:lnTo>
                    <a:pt x="0" y="96"/>
                  </a:lnTo>
                  <a:lnTo>
                    <a:pt x="18" y="96"/>
                  </a:lnTo>
                  <a:lnTo>
                    <a:pt x="35" y="111"/>
                  </a:lnTo>
                  <a:lnTo>
                    <a:pt x="35" y="78"/>
                  </a:lnTo>
                  <a:lnTo>
                    <a:pt x="52" y="96"/>
                  </a:lnTo>
                  <a:lnTo>
                    <a:pt x="102" y="96"/>
                  </a:lnTo>
                  <a:lnTo>
                    <a:pt x="154" y="144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86" name="Freeform 287b">
              <a:extLst>
                <a:ext uri="{FF2B5EF4-FFF2-40B4-BE49-F238E27FC236}">
                  <a16:creationId xmlns:a16="http://schemas.microsoft.com/office/drawing/2014/main" id="{D9C3A925-FED2-BC1F-CAED-2348623466F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3362" y="4540054"/>
              <a:ext cx="250495" cy="173305"/>
            </a:xfrm>
            <a:custGeom>
              <a:avLst/>
              <a:gdLst/>
              <a:ahLst/>
              <a:cxnLst>
                <a:cxn ang="0">
                  <a:pos x="248" y="137"/>
                </a:cxn>
                <a:cxn ang="0">
                  <a:pos x="220" y="99"/>
                </a:cxn>
                <a:cxn ang="0">
                  <a:pos x="205" y="85"/>
                </a:cxn>
                <a:cxn ang="0">
                  <a:pos x="217" y="75"/>
                </a:cxn>
                <a:cxn ang="0">
                  <a:pos x="220" y="73"/>
                </a:cxn>
                <a:cxn ang="0">
                  <a:pos x="231" y="40"/>
                </a:cxn>
                <a:cxn ang="0">
                  <a:pos x="213" y="28"/>
                </a:cxn>
                <a:cxn ang="0">
                  <a:pos x="213" y="0"/>
                </a:cxn>
                <a:cxn ang="0">
                  <a:pos x="187" y="4"/>
                </a:cxn>
                <a:cxn ang="0">
                  <a:pos x="189" y="35"/>
                </a:cxn>
                <a:cxn ang="0">
                  <a:pos x="170" y="56"/>
                </a:cxn>
                <a:cxn ang="0">
                  <a:pos x="139" y="44"/>
                </a:cxn>
                <a:cxn ang="0">
                  <a:pos x="99" y="61"/>
                </a:cxn>
                <a:cxn ang="0">
                  <a:pos x="73" y="59"/>
                </a:cxn>
                <a:cxn ang="0">
                  <a:pos x="52" y="37"/>
                </a:cxn>
                <a:cxn ang="0">
                  <a:pos x="38" y="40"/>
                </a:cxn>
                <a:cxn ang="0">
                  <a:pos x="28" y="54"/>
                </a:cxn>
                <a:cxn ang="0">
                  <a:pos x="12" y="73"/>
                </a:cxn>
                <a:cxn ang="0">
                  <a:pos x="0" y="73"/>
                </a:cxn>
                <a:cxn ang="0">
                  <a:pos x="5" y="75"/>
                </a:cxn>
                <a:cxn ang="0">
                  <a:pos x="28" y="85"/>
                </a:cxn>
                <a:cxn ang="0">
                  <a:pos x="83" y="151"/>
                </a:cxn>
                <a:cxn ang="0">
                  <a:pos x="97" y="163"/>
                </a:cxn>
                <a:cxn ang="0">
                  <a:pos x="137" y="163"/>
                </a:cxn>
                <a:cxn ang="0">
                  <a:pos x="151" y="174"/>
                </a:cxn>
                <a:cxn ang="0">
                  <a:pos x="179" y="174"/>
                </a:cxn>
                <a:cxn ang="0">
                  <a:pos x="220" y="163"/>
                </a:cxn>
                <a:cxn ang="0">
                  <a:pos x="234" y="163"/>
                </a:cxn>
                <a:cxn ang="0">
                  <a:pos x="262" y="163"/>
                </a:cxn>
                <a:cxn ang="0">
                  <a:pos x="262" y="137"/>
                </a:cxn>
                <a:cxn ang="0">
                  <a:pos x="248" y="137"/>
                </a:cxn>
              </a:cxnLst>
              <a:rect l="0" t="0" r="r" b="b"/>
              <a:pathLst>
                <a:path w="262" h="174">
                  <a:moveTo>
                    <a:pt x="248" y="137"/>
                  </a:moveTo>
                  <a:lnTo>
                    <a:pt x="220" y="99"/>
                  </a:lnTo>
                  <a:lnTo>
                    <a:pt x="205" y="85"/>
                  </a:lnTo>
                  <a:lnTo>
                    <a:pt x="217" y="75"/>
                  </a:lnTo>
                  <a:lnTo>
                    <a:pt x="220" y="73"/>
                  </a:lnTo>
                  <a:lnTo>
                    <a:pt x="231" y="40"/>
                  </a:lnTo>
                  <a:lnTo>
                    <a:pt x="213" y="28"/>
                  </a:lnTo>
                  <a:lnTo>
                    <a:pt x="213" y="0"/>
                  </a:lnTo>
                  <a:lnTo>
                    <a:pt x="187" y="4"/>
                  </a:lnTo>
                  <a:lnTo>
                    <a:pt x="189" y="35"/>
                  </a:lnTo>
                  <a:lnTo>
                    <a:pt x="170" y="56"/>
                  </a:lnTo>
                  <a:lnTo>
                    <a:pt x="139" y="44"/>
                  </a:lnTo>
                  <a:lnTo>
                    <a:pt x="99" y="61"/>
                  </a:lnTo>
                  <a:lnTo>
                    <a:pt x="73" y="59"/>
                  </a:lnTo>
                  <a:lnTo>
                    <a:pt x="52" y="37"/>
                  </a:lnTo>
                  <a:lnTo>
                    <a:pt x="38" y="40"/>
                  </a:lnTo>
                  <a:lnTo>
                    <a:pt x="28" y="54"/>
                  </a:lnTo>
                  <a:lnTo>
                    <a:pt x="12" y="73"/>
                  </a:lnTo>
                  <a:lnTo>
                    <a:pt x="0" y="73"/>
                  </a:lnTo>
                  <a:lnTo>
                    <a:pt x="5" y="75"/>
                  </a:lnTo>
                  <a:lnTo>
                    <a:pt x="28" y="85"/>
                  </a:lnTo>
                  <a:lnTo>
                    <a:pt x="83" y="151"/>
                  </a:lnTo>
                  <a:lnTo>
                    <a:pt x="97" y="163"/>
                  </a:lnTo>
                  <a:lnTo>
                    <a:pt x="137" y="163"/>
                  </a:lnTo>
                  <a:lnTo>
                    <a:pt x="151" y="174"/>
                  </a:lnTo>
                  <a:lnTo>
                    <a:pt x="179" y="174"/>
                  </a:lnTo>
                  <a:lnTo>
                    <a:pt x="220" y="163"/>
                  </a:lnTo>
                  <a:lnTo>
                    <a:pt x="234" y="163"/>
                  </a:lnTo>
                  <a:lnTo>
                    <a:pt x="262" y="163"/>
                  </a:lnTo>
                  <a:lnTo>
                    <a:pt x="262" y="137"/>
                  </a:lnTo>
                  <a:lnTo>
                    <a:pt x="248" y="137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87" name="Freeform 287a">
              <a:extLst>
                <a:ext uri="{FF2B5EF4-FFF2-40B4-BE49-F238E27FC236}">
                  <a16:creationId xmlns:a16="http://schemas.microsoft.com/office/drawing/2014/main" id="{B9FCBC01-C837-2D12-0871-4217CF69B0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2400" y="4316757"/>
              <a:ext cx="343447" cy="296618"/>
            </a:xfrm>
            <a:custGeom>
              <a:avLst/>
              <a:gdLst/>
              <a:ahLst/>
              <a:cxnLst>
                <a:cxn ang="0">
                  <a:pos x="347" y="90"/>
                </a:cxn>
                <a:cxn ang="0">
                  <a:pos x="332" y="15"/>
                </a:cxn>
                <a:cxn ang="0">
                  <a:pos x="304" y="0"/>
                </a:cxn>
                <a:cxn ang="0">
                  <a:pos x="262" y="26"/>
                </a:cxn>
                <a:cxn ang="0">
                  <a:pos x="247" y="15"/>
                </a:cxn>
                <a:cxn ang="0">
                  <a:pos x="70" y="15"/>
                </a:cxn>
                <a:cxn ang="0">
                  <a:pos x="70" y="52"/>
                </a:cxn>
                <a:cxn ang="0">
                  <a:pos x="56" y="67"/>
                </a:cxn>
                <a:cxn ang="0">
                  <a:pos x="42" y="78"/>
                </a:cxn>
                <a:cxn ang="0">
                  <a:pos x="42" y="142"/>
                </a:cxn>
                <a:cxn ang="0">
                  <a:pos x="42" y="154"/>
                </a:cxn>
                <a:cxn ang="0">
                  <a:pos x="28" y="154"/>
                </a:cxn>
                <a:cxn ang="0">
                  <a:pos x="0" y="206"/>
                </a:cxn>
                <a:cxn ang="0">
                  <a:pos x="28" y="244"/>
                </a:cxn>
                <a:cxn ang="0">
                  <a:pos x="14" y="244"/>
                </a:cxn>
                <a:cxn ang="0">
                  <a:pos x="42" y="270"/>
                </a:cxn>
                <a:cxn ang="0">
                  <a:pos x="42" y="296"/>
                </a:cxn>
                <a:cxn ang="0">
                  <a:pos x="42" y="296"/>
                </a:cxn>
                <a:cxn ang="0">
                  <a:pos x="54" y="296"/>
                </a:cxn>
                <a:cxn ang="0">
                  <a:pos x="70" y="277"/>
                </a:cxn>
                <a:cxn ang="0">
                  <a:pos x="80" y="263"/>
                </a:cxn>
                <a:cxn ang="0">
                  <a:pos x="94" y="260"/>
                </a:cxn>
                <a:cxn ang="0">
                  <a:pos x="115" y="282"/>
                </a:cxn>
                <a:cxn ang="0">
                  <a:pos x="141" y="284"/>
                </a:cxn>
                <a:cxn ang="0">
                  <a:pos x="181" y="267"/>
                </a:cxn>
                <a:cxn ang="0">
                  <a:pos x="212" y="279"/>
                </a:cxn>
                <a:cxn ang="0">
                  <a:pos x="231" y="258"/>
                </a:cxn>
                <a:cxn ang="0">
                  <a:pos x="229" y="227"/>
                </a:cxn>
                <a:cxn ang="0">
                  <a:pos x="255" y="223"/>
                </a:cxn>
                <a:cxn ang="0">
                  <a:pos x="255" y="251"/>
                </a:cxn>
                <a:cxn ang="0">
                  <a:pos x="273" y="263"/>
                </a:cxn>
                <a:cxn ang="0">
                  <a:pos x="276" y="258"/>
                </a:cxn>
                <a:cxn ang="0">
                  <a:pos x="318" y="206"/>
                </a:cxn>
                <a:cxn ang="0">
                  <a:pos x="318" y="182"/>
                </a:cxn>
                <a:cxn ang="0">
                  <a:pos x="332" y="130"/>
                </a:cxn>
                <a:cxn ang="0">
                  <a:pos x="358" y="116"/>
                </a:cxn>
                <a:cxn ang="0">
                  <a:pos x="358" y="104"/>
                </a:cxn>
                <a:cxn ang="0">
                  <a:pos x="347" y="90"/>
                </a:cxn>
              </a:cxnLst>
              <a:rect l="0" t="0" r="r" b="b"/>
              <a:pathLst>
                <a:path w="358" h="296">
                  <a:moveTo>
                    <a:pt x="347" y="90"/>
                  </a:moveTo>
                  <a:lnTo>
                    <a:pt x="332" y="15"/>
                  </a:lnTo>
                  <a:lnTo>
                    <a:pt x="304" y="0"/>
                  </a:lnTo>
                  <a:lnTo>
                    <a:pt x="262" y="26"/>
                  </a:lnTo>
                  <a:lnTo>
                    <a:pt x="247" y="15"/>
                  </a:lnTo>
                  <a:lnTo>
                    <a:pt x="70" y="15"/>
                  </a:lnTo>
                  <a:lnTo>
                    <a:pt x="70" y="52"/>
                  </a:lnTo>
                  <a:lnTo>
                    <a:pt x="56" y="67"/>
                  </a:lnTo>
                  <a:lnTo>
                    <a:pt x="42" y="78"/>
                  </a:lnTo>
                  <a:lnTo>
                    <a:pt x="42" y="142"/>
                  </a:lnTo>
                  <a:lnTo>
                    <a:pt x="42" y="154"/>
                  </a:lnTo>
                  <a:lnTo>
                    <a:pt x="28" y="154"/>
                  </a:lnTo>
                  <a:lnTo>
                    <a:pt x="0" y="206"/>
                  </a:lnTo>
                  <a:lnTo>
                    <a:pt x="28" y="244"/>
                  </a:lnTo>
                  <a:lnTo>
                    <a:pt x="14" y="244"/>
                  </a:lnTo>
                  <a:lnTo>
                    <a:pt x="42" y="270"/>
                  </a:lnTo>
                  <a:lnTo>
                    <a:pt x="42" y="296"/>
                  </a:lnTo>
                  <a:lnTo>
                    <a:pt x="42" y="296"/>
                  </a:lnTo>
                  <a:lnTo>
                    <a:pt x="54" y="296"/>
                  </a:lnTo>
                  <a:lnTo>
                    <a:pt x="70" y="277"/>
                  </a:lnTo>
                  <a:lnTo>
                    <a:pt x="80" y="263"/>
                  </a:lnTo>
                  <a:lnTo>
                    <a:pt x="94" y="260"/>
                  </a:lnTo>
                  <a:lnTo>
                    <a:pt x="115" y="282"/>
                  </a:lnTo>
                  <a:lnTo>
                    <a:pt x="141" y="284"/>
                  </a:lnTo>
                  <a:lnTo>
                    <a:pt x="181" y="267"/>
                  </a:lnTo>
                  <a:lnTo>
                    <a:pt x="212" y="279"/>
                  </a:lnTo>
                  <a:lnTo>
                    <a:pt x="231" y="258"/>
                  </a:lnTo>
                  <a:lnTo>
                    <a:pt x="229" y="227"/>
                  </a:lnTo>
                  <a:lnTo>
                    <a:pt x="255" y="223"/>
                  </a:lnTo>
                  <a:lnTo>
                    <a:pt x="255" y="251"/>
                  </a:lnTo>
                  <a:lnTo>
                    <a:pt x="273" y="263"/>
                  </a:lnTo>
                  <a:lnTo>
                    <a:pt x="276" y="258"/>
                  </a:lnTo>
                  <a:lnTo>
                    <a:pt x="318" y="206"/>
                  </a:lnTo>
                  <a:lnTo>
                    <a:pt x="318" y="182"/>
                  </a:lnTo>
                  <a:lnTo>
                    <a:pt x="332" y="130"/>
                  </a:lnTo>
                  <a:lnTo>
                    <a:pt x="358" y="116"/>
                  </a:lnTo>
                  <a:lnTo>
                    <a:pt x="358" y="104"/>
                  </a:lnTo>
                  <a:lnTo>
                    <a:pt x="347" y="90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88" name="Freeform 288">
              <a:extLst>
                <a:ext uri="{FF2B5EF4-FFF2-40B4-BE49-F238E27FC236}">
                  <a16:creationId xmlns:a16="http://schemas.microsoft.com/office/drawing/2014/main" id="{37A70863-9285-4811-74BF-D5A9DA7F0250}"/>
                </a:ext>
              </a:extLst>
            </p:cNvPr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5568273" y="4521724"/>
              <a:ext cx="157545" cy="229962"/>
            </a:xfrm>
            <a:custGeom>
              <a:avLst/>
              <a:gdLst>
                <a:gd name="T0" fmla="*/ 0 w 212"/>
                <a:gd name="T1" fmla="*/ 41275 h 288"/>
                <a:gd name="T2" fmla="*/ 0 w 212"/>
                <a:gd name="T3" fmla="*/ 41275 h 288"/>
                <a:gd name="T4" fmla="*/ 6290 w 212"/>
                <a:gd name="T5" fmla="*/ 31750 h 288"/>
                <a:gd name="T6" fmla="*/ 10221 w 212"/>
                <a:gd name="T7" fmla="*/ 31750 h 288"/>
                <a:gd name="T8" fmla="*/ 13366 w 212"/>
                <a:gd name="T9" fmla="*/ 34925 h 288"/>
                <a:gd name="T10" fmla="*/ 17298 w 212"/>
                <a:gd name="T11" fmla="*/ 31750 h 288"/>
                <a:gd name="T12" fmla="*/ 23588 w 212"/>
                <a:gd name="T13" fmla="*/ 22225 h 288"/>
                <a:gd name="T14" fmla="*/ 27519 w 212"/>
                <a:gd name="T15" fmla="*/ 13494 h 288"/>
                <a:gd name="T16" fmla="*/ 30664 w 212"/>
                <a:gd name="T17" fmla="*/ 7144 h 288"/>
                <a:gd name="T18" fmla="*/ 30664 w 212"/>
                <a:gd name="T19" fmla="*/ 3969 h 288"/>
                <a:gd name="T20" fmla="*/ 30664 w 212"/>
                <a:gd name="T21" fmla="*/ 0 h 288"/>
                <a:gd name="T22" fmla="*/ 30664 w 212"/>
                <a:gd name="T23" fmla="*/ 3969 h 288"/>
                <a:gd name="T24" fmla="*/ 37741 w 212"/>
                <a:gd name="T25" fmla="*/ 15875 h 288"/>
                <a:gd name="T26" fmla="*/ 30664 w 212"/>
                <a:gd name="T27" fmla="*/ 15875 h 288"/>
                <a:gd name="T28" fmla="*/ 30664 w 212"/>
                <a:gd name="T29" fmla="*/ 19050 h 288"/>
                <a:gd name="T30" fmla="*/ 34596 w 212"/>
                <a:gd name="T31" fmla="*/ 22225 h 288"/>
                <a:gd name="T32" fmla="*/ 37741 w 212"/>
                <a:gd name="T33" fmla="*/ 28575 h 288"/>
                <a:gd name="T34" fmla="*/ 30664 w 212"/>
                <a:gd name="T35" fmla="*/ 38100 h 288"/>
                <a:gd name="T36" fmla="*/ 34596 w 212"/>
                <a:gd name="T37" fmla="*/ 41275 h 288"/>
                <a:gd name="T38" fmla="*/ 40886 w 212"/>
                <a:gd name="T39" fmla="*/ 51594 h 288"/>
                <a:gd name="T40" fmla="*/ 40886 w 212"/>
                <a:gd name="T41" fmla="*/ 57150 h 288"/>
                <a:gd name="T42" fmla="*/ 23588 w 212"/>
                <a:gd name="T43" fmla="*/ 54769 h 288"/>
                <a:gd name="T44" fmla="*/ 13366 w 212"/>
                <a:gd name="T45" fmla="*/ 54769 h 288"/>
                <a:gd name="T46" fmla="*/ 6290 w 212"/>
                <a:gd name="T47" fmla="*/ 54769 h 288"/>
                <a:gd name="T48" fmla="*/ 6290 w 212"/>
                <a:gd name="T49" fmla="*/ 51594 h 288"/>
                <a:gd name="T50" fmla="*/ 3145 w 212"/>
                <a:gd name="T51" fmla="*/ 47625 h 288"/>
                <a:gd name="T52" fmla="*/ 0 w 212"/>
                <a:gd name="T53" fmla="*/ 44450 h 288"/>
                <a:gd name="T54" fmla="*/ 0 w 212"/>
                <a:gd name="T55" fmla="*/ 41275 h 288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12"/>
                <a:gd name="T85" fmla="*/ 0 h 288"/>
                <a:gd name="T86" fmla="*/ 212 w 212"/>
                <a:gd name="T87" fmla="*/ 288 h 288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12" h="288">
                  <a:moveTo>
                    <a:pt x="0" y="210"/>
                  </a:moveTo>
                  <a:lnTo>
                    <a:pt x="0" y="210"/>
                  </a:lnTo>
                  <a:lnTo>
                    <a:pt x="35" y="162"/>
                  </a:lnTo>
                  <a:lnTo>
                    <a:pt x="52" y="162"/>
                  </a:lnTo>
                  <a:lnTo>
                    <a:pt x="69" y="177"/>
                  </a:lnTo>
                  <a:lnTo>
                    <a:pt x="89" y="162"/>
                  </a:lnTo>
                  <a:lnTo>
                    <a:pt x="123" y="114"/>
                  </a:lnTo>
                  <a:lnTo>
                    <a:pt x="141" y="66"/>
                  </a:lnTo>
                  <a:lnTo>
                    <a:pt x="158" y="33"/>
                  </a:lnTo>
                  <a:lnTo>
                    <a:pt x="158" y="18"/>
                  </a:lnTo>
                  <a:lnTo>
                    <a:pt x="158" y="0"/>
                  </a:lnTo>
                  <a:lnTo>
                    <a:pt x="158" y="18"/>
                  </a:lnTo>
                  <a:lnTo>
                    <a:pt x="194" y="81"/>
                  </a:lnTo>
                  <a:lnTo>
                    <a:pt x="158" y="81"/>
                  </a:lnTo>
                  <a:lnTo>
                    <a:pt x="158" y="96"/>
                  </a:lnTo>
                  <a:lnTo>
                    <a:pt x="177" y="114"/>
                  </a:lnTo>
                  <a:lnTo>
                    <a:pt x="194" y="144"/>
                  </a:lnTo>
                  <a:lnTo>
                    <a:pt x="158" y="192"/>
                  </a:lnTo>
                  <a:lnTo>
                    <a:pt x="177" y="210"/>
                  </a:lnTo>
                  <a:lnTo>
                    <a:pt x="212" y="258"/>
                  </a:lnTo>
                  <a:lnTo>
                    <a:pt x="212" y="288"/>
                  </a:lnTo>
                  <a:lnTo>
                    <a:pt x="123" y="273"/>
                  </a:lnTo>
                  <a:lnTo>
                    <a:pt x="69" y="273"/>
                  </a:lnTo>
                  <a:lnTo>
                    <a:pt x="35" y="273"/>
                  </a:lnTo>
                  <a:lnTo>
                    <a:pt x="35" y="258"/>
                  </a:lnTo>
                  <a:lnTo>
                    <a:pt x="18" y="240"/>
                  </a:lnTo>
                  <a:lnTo>
                    <a:pt x="0" y="225"/>
                  </a:lnTo>
                  <a:lnTo>
                    <a:pt x="0" y="210"/>
                  </a:lnTo>
                  <a:close/>
                </a:path>
              </a:pathLst>
            </a:custGeom>
            <a:solidFill>
              <a:srgbClr val="00B050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89" name="Freeform 289">
              <a:extLst>
                <a:ext uri="{FF2B5EF4-FFF2-40B4-BE49-F238E27FC236}">
                  <a16:creationId xmlns:a16="http://schemas.microsoft.com/office/drawing/2014/main" id="{FDF79AF0-CF5D-FE33-C6BD-1645B5EFD1A7}"/>
                </a:ext>
              </a:extLst>
            </p:cNvPr>
            <p:cNvSpPr>
              <a:spLocks/>
            </p:cNvSpPr>
            <p:nvPr>
              <p:custDataLst>
                <p:tags r:id="rId273"/>
              </p:custDataLst>
            </p:nvPr>
          </p:nvSpPr>
          <p:spPr bwMode="auto">
            <a:xfrm>
              <a:off x="5579300" y="4740021"/>
              <a:ext cx="40962" cy="24996"/>
            </a:xfrm>
            <a:custGeom>
              <a:avLst/>
              <a:gdLst>
                <a:gd name="T0" fmla="*/ 11322 w 53"/>
                <a:gd name="T1" fmla="*/ 0 h 33"/>
                <a:gd name="T2" fmla="*/ 11322 w 53"/>
                <a:gd name="T3" fmla="*/ 0 h 33"/>
                <a:gd name="T4" fmla="*/ 11322 w 53"/>
                <a:gd name="T5" fmla="*/ 6158 h 33"/>
                <a:gd name="T6" fmla="*/ 4044 w 53"/>
                <a:gd name="T7" fmla="*/ 6158 h 33"/>
                <a:gd name="T8" fmla="*/ 0 w 53"/>
                <a:gd name="T9" fmla="*/ 6158 h 33"/>
                <a:gd name="T10" fmla="*/ 4044 w 53"/>
                <a:gd name="T11" fmla="*/ 0 h 33"/>
                <a:gd name="T12" fmla="*/ 11322 w 53"/>
                <a:gd name="T13" fmla="*/ 0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3"/>
                <a:gd name="T22" fmla="*/ 0 h 33"/>
                <a:gd name="T23" fmla="*/ 53 w 53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3" h="33">
                  <a:moveTo>
                    <a:pt x="53" y="0"/>
                  </a:moveTo>
                  <a:lnTo>
                    <a:pt x="53" y="0"/>
                  </a:lnTo>
                  <a:lnTo>
                    <a:pt x="53" y="33"/>
                  </a:lnTo>
                  <a:lnTo>
                    <a:pt x="17" y="33"/>
                  </a:lnTo>
                  <a:lnTo>
                    <a:pt x="0" y="33"/>
                  </a:lnTo>
                  <a:lnTo>
                    <a:pt x="17" y="0"/>
                  </a:lnTo>
                  <a:lnTo>
                    <a:pt x="53" y="0"/>
                  </a:lnTo>
                </a:path>
              </a:pathLst>
            </a:custGeom>
            <a:solidFill>
              <a:srgbClr val="0081C8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90" name="Freeform 290">
              <a:extLst>
                <a:ext uri="{FF2B5EF4-FFF2-40B4-BE49-F238E27FC236}">
                  <a16:creationId xmlns:a16="http://schemas.microsoft.com/office/drawing/2014/main" id="{A3F41D64-146B-7811-1F28-36EE97197338}"/>
                </a:ext>
              </a:extLst>
            </p:cNvPr>
            <p:cNvSpPr>
              <a:spLocks/>
            </p:cNvSpPr>
            <p:nvPr>
              <p:custDataLst>
                <p:tags r:id="rId274"/>
              </p:custDataLst>
            </p:nvPr>
          </p:nvSpPr>
          <p:spPr bwMode="auto">
            <a:xfrm>
              <a:off x="6080292" y="4483396"/>
              <a:ext cx="300911" cy="229962"/>
            </a:xfrm>
            <a:custGeom>
              <a:avLst/>
              <a:gdLst>
                <a:gd name="T0" fmla="*/ 48297 w 399"/>
                <a:gd name="T1" fmla="*/ 13494 h 288"/>
                <a:gd name="T2" fmla="*/ 48297 w 399"/>
                <a:gd name="T3" fmla="*/ 13494 h 288"/>
                <a:gd name="T4" fmla="*/ 48297 w 399"/>
                <a:gd name="T5" fmla="*/ 19050 h 288"/>
                <a:gd name="T6" fmla="*/ 48297 w 399"/>
                <a:gd name="T7" fmla="*/ 22225 h 288"/>
                <a:gd name="T8" fmla="*/ 51465 w 399"/>
                <a:gd name="T9" fmla="*/ 22225 h 288"/>
                <a:gd name="T10" fmla="*/ 51465 w 399"/>
                <a:gd name="T11" fmla="*/ 26194 h 288"/>
                <a:gd name="T12" fmla="*/ 58590 w 399"/>
                <a:gd name="T13" fmla="*/ 31750 h 288"/>
                <a:gd name="T14" fmla="*/ 75217 w 399"/>
                <a:gd name="T15" fmla="*/ 34925 h 288"/>
                <a:gd name="T16" fmla="*/ 78384 w 399"/>
                <a:gd name="T17" fmla="*/ 34925 h 288"/>
                <a:gd name="T18" fmla="*/ 64924 w 399"/>
                <a:gd name="T19" fmla="*/ 51594 h 288"/>
                <a:gd name="T20" fmla="*/ 54632 w 399"/>
                <a:gd name="T21" fmla="*/ 51594 h 288"/>
                <a:gd name="T22" fmla="*/ 48297 w 399"/>
                <a:gd name="T23" fmla="*/ 57150 h 288"/>
                <a:gd name="T24" fmla="*/ 40380 w 399"/>
                <a:gd name="T25" fmla="*/ 54769 h 288"/>
                <a:gd name="T26" fmla="*/ 30879 w 399"/>
                <a:gd name="T27" fmla="*/ 57150 h 288"/>
                <a:gd name="T28" fmla="*/ 13460 w 399"/>
                <a:gd name="T29" fmla="*/ 54769 h 288"/>
                <a:gd name="T30" fmla="*/ 13460 w 399"/>
                <a:gd name="T31" fmla="*/ 47625 h 288"/>
                <a:gd name="T32" fmla="*/ 10293 w 399"/>
                <a:gd name="T33" fmla="*/ 47625 h 288"/>
                <a:gd name="T34" fmla="*/ 3167 w 399"/>
                <a:gd name="T35" fmla="*/ 38100 h 288"/>
                <a:gd name="T36" fmla="*/ 0 w 399"/>
                <a:gd name="T37" fmla="*/ 34925 h 288"/>
                <a:gd name="T38" fmla="*/ 3167 w 399"/>
                <a:gd name="T39" fmla="*/ 31750 h 288"/>
                <a:gd name="T40" fmla="*/ 6334 w 399"/>
                <a:gd name="T41" fmla="*/ 22225 h 288"/>
                <a:gd name="T42" fmla="*/ 16627 w 399"/>
                <a:gd name="T43" fmla="*/ 9525 h 288"/>
                <a:gd name="T44" fmla="*/ 16627 w 399"/>
                <a:gd name="T45" fmla="*/ 3969 h 288"/>
                <a:gd name="T46" fmla="*/ 20586 w 399"/>
                <a:gd name="T47" fmla="*/ 3969 h 288"/>
                <a:gd name="T48" fmla="*/ 23753 w 399"/>
                <a:gd name="T49" fmla="*/ 7144 h 288"/>
                <a:gd name="T50" fmla="*/ 23753 w 399"/>
                <a:gd name="T51" fmla="*/ 0 h 288"/>
                <a:gd name="T52" fmla="*/ 26920 w 399"/>
                <a:gd name="T53" fmla="*/ 3969 h 288"/>
                <a:gd name="T54" fmla="*/ 37213 w 399"/>
                <a:gd name="T55" fmla="*/ 3969 h 288"/>
                <a:gd name="T56" fmla="*/ 48297 w 399"/>
                <a:gd name="T57" fmla="*/ 13494 h 288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99"/>
                <a:gd name="T88" fmla="*/ 0 h 288"/>
                <a:gd name="T89" fmla="*/ 399 w 399"/>
                <a:gd name="T90" fmla="*/ 288 h 288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99" h="288">
                  <a:moveTo>
                    <a:pt x="244" y="66"/>
                  </a:moveTo>
                  <a:lnTo>
                    <a:pt x="244" y="66"/>
                  </a:lnTo>
                  <a:lnTo>
                    <a:pt x="244" y="96"/>
                  </a:lnTo>
                  <a:lnTo>
                    <a:pt x="244" y="114"/>
                  </a:lnTo>
                  <a:lnTo>
                    <a:pt x="261" y="114"/>
                  </a:lnTo>
                  <a:lnTo>
                    <a:pt x="261" y="129"/>
                  </a:lnTo>
                  <a:lnTo>
                    <a:pt x="296" y="162"/>
                  </a:lnTo>
                  <a:lnTo>
                    <a:pt x="382" y="177"/>
                  </a:lnTo>
                  <a:lnTo>
                    <a:pt x="399" y="177"/>
                  </a:lnTo>
                  <a:lnTo>
                    <a:pt x="330" y="258"/>
                  </a:lnTo>
                  <a:lnTo>
                    <a:pt x="278" y="258"/>
                  </a:lnTo>
                  <a:lnTo>
                    <a:pt x="244" y="288"/>
                  </a:lnTo>
                  <a:lnTo>
                    <a:pt x="207" y="273"/>
                  </a:lnTo>
                  <a:lnTo>
                    <a:pt x="156" y="288"/>
                  </a:lnTo>
                  <a:lnTo>
                    <a:pt x="69" y="273"/>
                  </a:lnTo>
                  <a:lnTo>
                    <a:pt x="69" y="240"/>
                  </a:lnTo>
                  <a:lnTo>
                    <a:pt x="52" y="240"/>
                  </a:lnTo>
                  <a:lnTo>
                    <a:pt x="17" y="192"/>
                  </a:lnTo>
                  <a:lnTo>
                    <a:pt x="0" y="177"/>
                  </a:lnTo>
                  <a:lnTo>
                    <a:pt x="17" y="162"/>
                  </a:lnTo>
                  <a:lnTo>
                    <a:pt x="35" y="114"/>
                  </a:lnTo>
                  <a:lnTo>
                    <a:pt x="86" y="48"/>
                  </a:lnTo>
                  <a:lnTo>
                    <a:pt x="86" y="18"/>
                  </a:lnTo>
                  <a:lnTo>
                    <a:pt x="104" y="18"/>
                  </a:lnTo>
                  <a:lnTo>
                    <a:pt x="121" y="33"/>
                  </a:lnTo>
                  <a:lnTo>
                    <a:pt x="121" y="0"/>
                  </a:lnTo>
                  <a:lnTo>
                    <a:pt x="138" y="18"/>
                  </a:lnTo>
                  <a:lnTo>
                    <a:pt x="190" y="18"/>
                  </a:lnTo>
                  <a:lnTo>
                    <a:pt x="244" y="66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91" name="Freeform 291">
              <a:extLst>
                <a:ext uri="{FF2B5EF4-FFF2-40B4-BE49-F238E27FC236}">
                  <a16:creationId xmlns:a16="http://schemas.microsoft.com/office/drawing/2014/main" id="{671B81E6-26C9-9646-AA4B-A66B3E7CC6D5}"/>
                </a:ext>
              </a:extLst>
            </p:cNvPr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6263044" y="4535055"/>
              <a:ext cx="26783" cy="38326"/>
            </a:xfrm>
            <a:custGeom>
              <a:avLst/>
              <a:gdLst>
                <a:gd name="T0" fmla="*/ 4202 w 34"/>
                <a:gd name="T1" fmla="*/ 9525 h 48"/>
                <a:gd name="T2" fmla="*/ 4202 w 34"/>
                <a:gd name="T3" fmla="*/ 9525 h 48"/>
                <a:gd name="T4" fmla="*/ 0 w 34"/>
                <a:gd name="T5" fmla="*/ 9525 h 48"/>
                <a:gd name="T6" fmla="*/ 0 w 34"/>
                <a:gd name="T7" fmla="*/ 5556 h 48"/>
                <a:gd name="T8" fmla="*/ 0 w 34"/>
                <a:gd name="T9" fmla="*/ 0 h 48"/>
                <a:gd name="T10" fmla="*/ 4202 w 34"/>
                <a:gd name="T11" fmla="*/ 0 h 48"/>
                <a:gd name="T12" fmla="*/ 8404 w 34"/>
                <a:gd name="T13" fmla="*/ 0 h 48"/>
                <a:gd name="T14" fmla="*/ 8404 w 34"/>
                <a:gd name="T15" fmla="*/ 2381 h 48"/>
                <a:gd name="T16" fmla="*/ 4202 w 34"/>
                <a:gd name="T17" fmla="*/ 2381 h 48"/>
                <a:gd name="T18" fmla="*/ 8404 w 34"/>
                <a:gd name="T19" fmla="*/ 5556 h 48"/>
                <a:gd name="T20" fmla="*/ 4202 w 34"/>
                <a:gd name="T21" fmla="*/ 9525 h 4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4"/>
                <a:gd name="T34" fmla="*/ 0 h 48"/>
                <a:gd name="T35" fmla="*/ 34 w 34"/>
                <a:gd name="T36" fmla="*/ 48 h 4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4" h="48">
                  <a:moveTo>
                    <a:pt x="17" y="48"/>
                  </a:moveTo>
                  <a:lnTo>
                    <a:pt x="17" y="48"/>
                  </a:lnTo>
                  <a:lnTo>
                    <a:pt x="0" y="48"/>
                  </a:lnTo>
                  <a:lnTo>
                    <a:pt x="0" y="30"/>
                  </a:lnTo>
                  <a:lnTo>
                    <a:pt x="0" y="0"/>
                  </a:lnTo>
                  <a:lnTo>
                    <a:pt x="17" y="0"/>
                  </a:lnTo>
                  <a:lnTo>
                    <a:pt x="34" y="0"/>
                  </a:lnTo>
                  <a:lnTo>
                    <a:pt x="34" y="15"/>
                  </a:lnTo>
                  <a:lnTo>
                    <a:pt x="17" y="15"/>
                  </a:lnTo>
                  <a:lnTo>
                    <a:pt x="34" y="30"/>
                  </a:lnTo>
                  <a:lnTo>
                    <a:pt x="17" y="48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92" name="Freeform 292">
              <a:extLst>
                <a:ext uri="{FF2B5EF4-FFF2-40B4-BE49-F238E27FC236}">
                  <a16:creationId xmlns:a16="http://schemas.microsoft.com/office/drawing/2014/main" id="{3E15A2AF-AF37-4363-1E5A-85287E3AED25}"/>
                </a:ext>
              </a:extLst>
            </p:cNvPr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6091321" y="4701694"/>
              <a:ext cx="171723" cy="178303"/>
            </a:xfrm>
            <a:custGeom>
              <a:avLst/>
              <a:gdLst>
                <a:gd name="T0" fmla="*/ 44254 w 227"/>
                <a:gd name="T1" fmla="*/ 3175 h 224"/>
                <a:gd name="T2" fmla="*/ 44254 w 227"/>
                <a:gd name="T3" fmla="*/ 3175 h 224"/>
                <a:gd name="T4" fmla="*/ 37932 w 227"/>
                <a:gd name="T5" fmla="*/ 0 h 224"/>
                <a:gd name="T6" fmla="*/ 27659 w 227"/>
                <a:gd name="T7" fmla="*/ 3175 h 224"/>
                <a:gd name="T8" fmla="*/ 10273 w 227"/>
                <a:gd name="T9" fmla="*/ 0 h 224"/>
                <a:gd name="T10" fmla="*/ 3161 w 227"/>
                <a:gd name="T11" fmla="*/ 0 h 224"/>
                <a:gd name="T12" fmla="*/ 0 w 227"/>
                <a:gd name="T13" fmla="*/ 0 h 224"/>
                <a:gd name="T14" fmla="*/ 3161 w 227"/>
                <a:gd name="T15" fmla="*/ 3175 h 224"/>
                <a:gd name="T16" fmla="*/ 6322 w 227"/>
                <a:gd name="T17" fmla="*/ 11906 h 224"/>
                <a:gd name="T18" fmla="*/ 0 w 227"/>
                <a:gd name="T19" fmla="*/ 22225 h 224"/>
                <a:gd name="T20" fmla="*/ 0 w 227"/>
                <a:gd name="T21" fmla="*/ 26194 h 224"/>
                <a:gd name="T22" fmla="*/ 3161 w 227"/>
                <a:gd name="T23" fmla="*/ 26194 h 224"/>
                <a:gd name="T24" fmla="*/ 20547 w 227"/>
                <a:gd name="T25" fmla="*/ 34925 h 224"/>
                <a:gd name="T26" fmla="*/ 20547 w 227"/>
                <a:gd name="T27" fmla="*/ 41275 h 224"/>
                <a:gd name="T28" fmla="*/ 30820 w 227"/>
                <a:gd name="T29" fmla="*/ 44450 h 224"/>
                <a:gd name="T30" fmla="*/ 33981 w 227"/>
                <a:gd name="T31" fmla="*/ 34925 h 224"/>
                <a:gd name="T32" fmla="*/ 37932 w 227"/>
                <a:gd name="T33" fmla="*/ 34925 h 224"/>
                <a:gd name="T34" fmla="*/ 41093 w 227"/>
                <a:gd name="T35" fmla="*/ 28575 h 224"/>
                <a:gd name="T36" fmla="*/ 37932 w 227"/>
                <a:gd name="T37" fmla="*/ 26194 h 224"/>
                <a:gd name="T38" fmla="*/ 37932 w 227"/>
                <a:gd name="T39" fmla="*/ 9525 h 224"/>
                <a:gd name="T40" fmla="*/ 44254 w 227"/>
                <a:gd name="T41" fmla="*/ 3175 h 22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27"/>
                <a:gd name="T64" fmla="*/ 0 h 224"/>
                <a:gd name="T65" fmla="*/ 227 w 227"/>
                <a:gd name="T66" fmla="*/ 224 h 22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27" h="224">
                  <a:moveTo>
                    <a:pt x="227" y="15"/>
                  </a:moveTo>
                  <a:lnTo>
                    <a:pt x="227" y="15"/>
                  </a:lnTo>
                  <a:lnTo>
                    <a:pt x="192" y="0"/>
                  </a:lnTo>
                  <a:lnTo>
                    <a:pt x="140" y="15"/>
                  </a:lnTo>
                  <a:lnTo>
                    <a:pt x="52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18" y="15"/>
                  </a:lnTo>
                  <a:lnTo>
                    <a:pt x="35" y="63"/>
                  </a:lnTo>
                  <a:lnTo>
                    <a:pt x="0" y="111"/>
                  </a:lnTo>
                  <a:lnTo>
                    <a:pt x="0" y="129"/>
                  </a:lnTo>
                  <a:lnTo>
                    <a:pt x="18" y="129"/>
                  </a:lnTo>
                  <a:lnTo>
                    <a:pt x="104" y="176"/>
                  </a:lnTo>
                  <a:lnTo>
                    <a:pt x="104" y="207"/>
                  </a:lnTo>
                  <a:lnTo>
                    <a:pt x="158" y="224"/>
                  </a:lnTo>
                  <a:lnTo>
                    <a:pt x="175" y="176"/>
                  </a:lnTo>
                  <a:lnTo>
                    <a:pt x="192" y="176"/>
                  </a:lnTo>
                  <a:lnTo>
                    <a:pt x="210" y="144"/>
                  </a:lnTo>
                  <a:lnTo>
                    <a:pt x="192" y="129"/>
                  </a:lnTo>
                  <a:lnTo>
                    <a:pt x="192" y="48"/>
                  </a:lnTo>
                  <a:lnTo>
                    <a:pt x="227" y="15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93" name="Freeform 293">
              <a:extLst>
                <a:ext uri="{FF2B5EF4-FFF2-40B4-BE49-F238E27FC236}">
                  <a16:creationId xmlns:a16="http://schemas.microsoft.com/office/drawing/2014/main" id="{6BAED883-DAEF-43A2-9EA8-63548E3CF967}"/>
                </a:ext>
              </a:extLst>
            </p:cNvPr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6001520" y="4701694"/>
              <a:ext cx="116583" cy="114981"/>
            </a:xfrm>
            <a:custGeom>
              <a:avLst/>
              <a:gdLst>
                <a:gd name="T0" fmla="*/ 23507 w 156"/>
                <a:gd name="T1" fmla="*/ 0 h 144"/>
                <a:gd name="T2" fmla="*/ 23507 w 156"/>
                <a:gd name="T3" fmla="*/ 0 h 144"/>
                <a:gd name="T4" fmla="*/ 26642 w 156"/>
                <a:gd name="T5" fmla="*/ 2381 h 144"/>
                <a:gd name="T6" fmla="*/ 29776 w 156"/>
                <a:gd name="T7" fmla="*/ 11906 h 144"/>
                <a:gd name="T8" fmla="*/ 23507 w 156"/>
                <a:gd name="T9" fmla="*/ 21431 h 144"/>
                <a:gd name="T10" fmla="*/ 23507 w 156"/>
                <a:gd name="T11" fmla="*/ 26194 h 144"/>
                <a:gd name="T12" fmla="*/ 13321 w 156"/>
                <a:gd name="T13" fmla="*/ 26194 h 144"/>
                <a:gd name="T14" fmla="*/ 6269 w 156"/>
                <a:gd name="T15" fmla="*/ 26194 h 144"/>
                <a:gd name="T16" fmla="*/ 0 w 156"/>
                <a:gd name="T17" fmla="*/ 28575 h 144"/>
                <a:gd name="T18" fmla="*/ 3134 w 156"/>
                <a:gd name="T19" fmla="*/ 19050 h 144"/>
                <a:gd name="T20" fmla="*/ 6269 w 156"/>
                <a:gd name="T21" fmla="*/ 15875 h 144"/>
                <a:gd name="T22" fmla="*/ 10186 w 156"/>
                <a:gd name="T23" fmla="*/ 9525 h 144"/>
                <a:gd name="T24" fmla="*/ 6269 w 156"/>
                <a:gd name="T25" fmla="*/ 9525 h 144"/>
                <a:gd name="T26" fmla="*/ 6269 w 156"/>
                <a:gd name="T27" fmla="*/ 2381 h 144"/>
                <a:gd name="T28" fmla="*/ 13321 w 156"/>
                <a:gd name="T29" fmla="*/ 2381 h 144"/>
                <a:gd name="T30" fmla="*/ 23507 w 156"/>
                <a:gd name="T31" fmla="*/ 0 h 14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56"/>
                <a:gd name="T49" fmla="*/ 0 h 144"/>
                <a:gd name="T50" fmla="*/ 156 w 156"/>
                <a:gd name="T51" fmla="*/ 144 h 14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56" h="144">
                  <a:moveTo>
                    <a:pt x="121" y="0"/>
                  </a:moveTo>
                  <a:lnTo>
                    <a:pt x="121" y="0"/>
                  </a:lnTo>
                  <a:lnTo>
                    <a:pt x="139" y="15"/>
                  </a:lnTo>
                  <a:lnTo>
                    <a:pt x="156" y="63"/>
                  </a:lnTo>
                  <a:lnTo>
                    <a:pt x="121" y="111"/>
                  </a:lnTo>
                  <a:lnTo>
                    <a:pt x="121" y="129"/>
                  </a:lnTo>
                  <a:lnTo>
                    <a:pt x="69" y="129"/>
                  </a:lnTo>
                  <a:lnTo>
                    <a:pt x="35" y="129"/>
                  </a:lnTo>
                  <a:lnTo>
                    <a:pt x="0" y="144"/>
                  </a:lnTo>
                  <a:lnTo>
                    <a:pt x="18" y="96"/>
                  </a:lnTo>
                  <a:lnTo>
                    <a:pt x="35" y="81"/>
                  </a:lnTo>
                  <a:lnTo>
                    <a:pt x="52" y="48"/>
                  </a:lnTo>
                  <a:lnTo>
                    <a:pt x="35" y="48"/>
                  </a:lnTo>
                  <a:lnTo>
                    <a:pt x="35" y="15"/>
                  </a:lnTo>
                  <a:lnTo>
                    <a:pt x="69" y="15"/>
                  </a:lnTo>
                  <a:lnTo>
                    <a:pt x="121" y="0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94" name="Freeform 294">
              <a:extLst>
                <a:ext uri="{FF2B5EF4-FFF2-40B4-BE49-F238E27FC236}">
                  <a16:creationId xmlns:a16="http://schemas.microsoft.com/office/drawing/2014/main" id="{1281990D-323D-D920-F300-15A8E5E4DFD9}"/>
                </a:ext>
              </a:extLst>
            </p:cNvPr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5987341" y="4803344"/>
              <a:ext cx="39386" cy="38328"/>
            </a:xfrm>
            <a:custGeom>
              <a:avLst/>
              <a:gdLst>
                <a:gd name="T0" fmla="*/ 10319 w 52"/>
                <a:gd name="T1" fmla="*/ 9728 h 47"/>
                <a:gd name="T2" fmla="*/ 10319 w 52"/>
                <a:gd name="T3" fmla="*/ 9728 h 47"/>
                <a:gd name="T4" fmla="*/ 3969 w 52"/>
                <a:gd name="T5" fmla="*/ 9728 h 47"/>
                <a:gd name="T6" fmla="*/ 0 w 52"/>
                <a:gd name="T7" fmla="*/ 9728 h 47"/>
                <a:gd name="T8" fmla="*/ 3969 w 52"/>
                <a:gd name="T9" fmla="*/ 3243 h 47"/>
                <a:gd name="T10" fmla="*/ 10319 w 52"/>
                <a:gd name="T11" fmla="*/ 0 h 47"/>
                <a:gd name="T12" fmla="*/ 10319 w 52"/>
                <a:gd name="T13" fmla="*/ 6485 h 47"/>
                <a:gd name="T14" fmla="*/ 10319 w 52"/>
                <a:gd name="T15" fmla="*/ 9728 h 4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2"/>
                <a:gd name="T25" fmla="*/ 0 h 47"/>
                <a:gd name="T26" fmla="*/ 52 w 52"/>
                <a:gd name="T27" fmla="*/ 47 h 4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2" h="47">
                  <a:moveTo>
                    <a:pt x="52" y="47"/>
                  </a:moveTo>
                  <a:lnTo>
                    <a:pt x="52" y="47"/>
                  </a:lnTo>
                  <a:lnTo>
                    <a:pt x="17" y="47"/>
                  </a:lnTo>
                  <a:lnTo>
                    <a:pt x="0" y="47"/>
                  </a:lnTo>
                  <a:lnTo>
                    <a:pt x="17" y="15"/>
                  </a:lnTo>
                  <a:lnTo>
                    <a:pt x="52" y="0"/>
                  </a:lnTo>
                  <a:lnTo>
                    <a:pt x="52" y="30"/>
                  </a:lnTo>
                  <a:lnTo>
                    <a:pt x="52" y="47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95" name="Freeform 295">
              <a:extLst>
                <a:ext uri="{FF2B5EF4-FFF2-40B4-BE49-F238E27FC236}">
                  <a16:creationId xmlns:a16="http://schemas.microsoft.com/office/drawing/2014/main" id="{3EFD5229-11C0-7833-A7B1-045D1F662359}"/>
                </a:ext>
              </a:extLst>
            </p:cNvPr>
            <p:cNvSpPr>
              <a:spLocks/>
            </p:cNvSpPr>
            <p:nvPr>
              <p:custDataLst>
                <p:tags r:id="rId279"/>
              </p:custDataLst>
            </p:nvPr>
          </p:nvSpPr>
          <p:spPr bwMode="auto">
            <a:xfrm>
              <a:off x="6001520" y="4841671"/>
              <a:ext cx="25207" cy="38326"/>
            </a:xfrm>
            <a:custGeom>
              <a:avLst/>
              <a:gdLst>
                <a:gd name="T0" fmla="*/ 6169 w 35"/>
                <a:gd name="T1" fmla="*/ 0 h 48"/>
                <a:gd name="T2" fmla="*/ 6169 w 35"/>
                <a:gd name="T3" fmla="*/ 0 h 48"/>
                <a:gd name="T4" fmla="*/ 6169 w 35"/>
                <a:gd name="T5" fmla="*/ 3175 h 48"/>
                <a:gd name="T6" fmla="*/ 0 w 35"/>
                <a:gd name="T7" fmla="*/ 9525 h 48"/>
                <a:gd name="T8" fmla="*/ 0 w 35"/>
                <a:gd name="T9" fmla="*/ 3175 h 48"/>
                <a:gd name="T10" fmla="*/ 0 w 35"/>
                <a:gd name="T11" fmla="*/ 0 h 48"/>
                <a:gd name="T12" fmla="*/ 6169 w 35"/>
                <a:gd name="T13" fmla="*/ 0 h 4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5"/>
                <a:gd name="T22" fmla="*/ 0 h 48"/>
                <a:gd name="T23" fmla="*/ 35 w 35"/>
                <a:gd name="T24" fmla="*/ 48 h 4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5" h="48">
                  <a:moveTo>
                    <a:pt x="35" y="0"/>
                  </a:moveTo>
                  <a:lnTo>
                    <a:pt x="35" y="0"/>
                  </a:lnTo>
                  <a:lnTo>
                    <a:pt x="35" y="16"/>
                  </a:lnTo>
                  <a:lnTo>
                    <a:pt x="0" y="48"/>
                  </a:lnTo>
                  <a:lnTo>
                    <a:pt x="0" y="16"/>
                  </a:lnTo>
                  <a:lnTo>
                    <a:pt x="0" y="0"/>
                  </a:lnTo>
                  <a:lnTo>
                    <a:pt x="35" y="0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96" name="Freeform 297">
              <a:extLst>
                <a:ext uri="{FF2B5EF4-FFF2-40B4-BE49-F238E27FC236}">
                  <a16:creationId xmlns:a16="http://schemas.microsoft.com/office/drawing/2014/main" id="{B11AB412-E4AD-3396-F2D6-D437302040FD}"/>
                </a:ext>
              </a:extLst>
            </p:cNvPr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5213797" y="3986811"/>
              <a:ext cx="420644" cy="408267"/>
            </a:xfrm>
            <a:custGeom>
              <a:avLst/>
              <a:gdLst>
                <a:gd name="T0" fmla="*/ 34988 w 555"/>
                <a:gd name="T1" fmla="*/ 12700 h 512"/>
                <a:gd name="T2" fmla="*/ 34988 w 555"/>
                <a:gd name="T3" fmla="*/ 12700 h 512"/>
                <a:gd name="T4" fmla="*/ 38169 w 555"/>
                <a:gd name="T5" fmla="*/ 12700 h 512"/>
                <a:gd name="T6" fmla="*/ 42145 w 555"/>
                <a:gd name="T7" fmla="*/ 28575 h 512"/>
                <a:gd name="T8" fmla="*/ 27831 w 555"/>
                <a:gd name="T9" fmla="*/ 31750 h 512"/>
                <a:gd name="T10" fmla="*/ 27831 w 555"/>
                <a:gd name="T11" fmla="*/ 34925 h 512"/>
                <a:gd name="T12" fmla="*/ 17494 w 555"/>
                <a:gd name="T13" fmla="*/ 41275 h 512"/>
                <a:gd name="T14" fmla="*/ 3976 w 555"/>
                <a:gd name="T15" fmla="*/ 47625 h 512"/>
                <a:gd name="T16" fmla="*/ 0 w 555"/>
                <a:gd name="T17" fmla="*/ 50800 h 512"/>
                <a:gd name="T18" fmla="*/ 0 w 555"/>
                <a:gd name="T19" fmla="*/ 57150 h 512"/>
                <a:gd name="T20" fmla="*/ 20675 w 555"/>
                <a:gd name="T21" fmla="*/ 69850 h 512"/>
                <a:gd name="T22" fmla="*/ 52482 w 555"/>
                <a:gd name="T23" fmla="*/ 92075 h 512"/>
                <a:gd name="T24" fmla="*/ 55663 w 555"/>
                <a:gd name="T25" fmla="*/ 95250 h 512"/>
                <a:gd name="T26" fmla="*/ 62819 w 555"/>
                <a:gd name="T27" fmla="*/ 98425 h 512"/>
                <a:gd name="T28" fmla="*/ 66000 w 555"/>
                <a:gd name="T29" fmla="*/ 101600 h 512"/>
                <a:gd name="T30" fmla="*/ 69181 w 555"/>
                <a:gd name="T31" fmla="*/ 101600 h 512"/>
                <a:gd name="T32" fmla="*/ 76337 w 555"/>
                <a:gd name="T33" fmla="*/ 101600 h 512"/>
                <a:gd name="T34" fmla="*/ 110530 w 555"/>
                <a:gd name="T35" fmla="*/ 79375 h 512"/>
                <a:gd name="T36" fmla="*/ 107349 w 555"/>
                <a:gd name="T37" fmla="*/ 73025 h 512"/>
                <a:gd name="T38" fmla="*/ 103373 w 555"/>
                <a:gd name="T39" fmla="*/ 73025 h 512"/>
                <a:gd name="T40" fmla="*/ 97012 w 555"/>
                <a:gd name="T41" fmla="*/ 63500 h 512"/>
                <a:gd name="T42" fmla="*/ 100193 w 555"/>
                <a:gd name="T43" fmla="*/ 60325 h 512"/>
                <a:gd name="T44" fmla="*/ 100193 w 555"/>
                <a:gd name="T45" fmla="*/ 53975 h 512"/>
                <a:gd name="T46" fmla="*/ 100193 w 555"/>
                <a:gd name="T47" fmla="*/ 47625 h 512"/>
                <a:gd name="T48" fmla="*/ 97012 w 555"/>
                <a:gd name="T49" fmla="*/ 44450 h 512"/>
                <a:gd name="T50" fmla="*/ 97012 w 555"/>
                <a:gd name="T51" fmla="*/ 41275 h 512"/>
                <a:gd name="T52" fmla="*/ 97012 w 555"/>
                <a:gd name="T53" fmla="*/ 31750 h 512"/>
                <a:gd name="T54" fmla="*/ 89855 w 555"/>
                <a:gd name="T55" fmla="*/ 28575 h 512"/>
                <a:gd name="T56" fmla="*/ 86675 w 555"/>
                <a:gd name="T57" fmla="*/ 22225 h 512"/>
                <a:gd name="T58" fmla="*/ 93036 w 555"/>
                <a:gd name="T59" fmla="*/ 15875 h 512"/>
                <a:gd name="T60" fmla="*/ 89855 w 555"/>
                <a:gd name="T61" fmla="*/ 3175 h 512"/>
                <a:gd name="T62" fmla="*/ 93036 w 555"/>
                <a:gd name="T63" fmla="*/ 0 h 512"/>
                <a:gd name="T64" fmla="*/ 89855 w 555"/>
                <a:gd name="T65" fmla="*/ 3175 h 512"/>
                <a:gd name="T66" fmla="*/ 79518 w 555"/>
                <a:gd name="T67" fmla="*/ 0 h 512"/>
                <a:gd name="T68" fmla="*/ 76337 w 555"/>
                <a:gd name="T69" fmla="*/ 3175 h 512"/>
                <a:gd name="T70" fmla="*/ 69181 w 555"/>
                <a:gd name="T71" fmla="*/ 0 h 512"/>
                <a:gd name="T72" fmla="*/ 62819 w 555"/>
                <a:gd name="T73" fmla="*/ 3175 h 512"/>
                <a:gd name="T74" fmla="*/ 52482 w 555"/>
                <a:gd name="T75" fmla="*/ 3175 h 512"/>
                <a:gd name="T76" fmla="*/ 34988 w 555"/>
                <a:gd name="T77" fmla="*/ 12700 h 51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555"/>
                <a:gd name="T118" fmla="*/ 0 h 512"/>
                <a:gd name="T119" fmla="*/ 555 w 555"/>
                <a:gd name="T120" fmla="*/ 512 h 512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555" h="512">
                  <a:moveTo>
                    <a:pt x="173" y="65"/>
                  </a:moveTo>
                  <a:lnTo>
                    <a:pt x="173" y="65"/>
                  </a:lnTo>
                  <a:lnTo>
                    <a:pt x="192" y="65"/>
                  </a:lnTo>
                  <a:lnTo>
                    <a:pt x="209" y="144"/>
                  </a:lnTo>
                  <a:lnTo>
                    <a:pt x="138" y="161"/>
                  </a:lnTo>
                  <a:lnTo>
                    <a:pt x="138" y="176"/>
                  </a:lnTo>
                  <a:lnTo>
                    <a:pt x="86" y="209"/>
                  </a:lnTo>
                  <a:lnTo>
                    <a:pt x="17" y="240"/>
                  </a:lnTo>
                  <a:lnTo>
                    <a:pt x="0" y="257"/>
                  </a:lnTo>
                  <a:lnTo>
                    <a:pt x="0" y="288"/>
                  </a:lnTo>
                  <a:lnTo>
                    <a:pt x="104" y="353"/>
                  </a:lnTo>
                  <a:lnTo>
                    <a:pt x="261" y="464"/>
                  </a:lnTo>
                  <a:lnTo>
                    <a:pt x="278" y="480"/>
                  </a:lnTo>
                  <a:lnTo>
                    <a:pt x="313" y="497"/>
                  </a:lnTo>
                  <a:lnTo>
                    <a:pt x="330" y="512"/>
                  </a:lnTo>
                  <a:lnTo>
                    <a:pt x="347" y="512"/>
                  </a:lnTo>
                  <a:lnTo>
                    <a:pt x="382" y="512"/>
                  </a:lnTo>
                  <a:lnTo>
                    <a:pt x="555" y="401"/>
                  </a:lnTo>
                  <a:lnTo>
                    <a:pt x="537" y="368"/>
                  </a:lnTo>
                  <a:lnTo>
                    <a:pt x="520" y="368"/>
                  </a:lnTo>
                  <a:lnTo>
                    <a:pt x="486" y="320"/>
                  </a:lnTo>
                  <a:lnTo>
                    <a:pt x="503" y="305"/>
                  </a:lnTo>
                  <a:lnTo>
                    <a:pt x="503" y="272"/>
                  </a:lnTo>
                  <a:lnTo>
                    <a:pt x="503" y="240"/>
                  </a:lnTo>
                  <a:lnTo>
                    <a:pt x="486" y="224"/>
                  </a:lnTo>
                  <a:lnTo>
                    <a:pt x="486" y="209"/>
                  </a:lnTo>
                  <a:lnTo>
                    <a:pt x="486" y="161"/>
                  </a:lnTo>
                  <a:lnTo>
                    <a:pt x="451" y="144"/>
                  </a:lnTo>
                  <a:lnTo>
                    <a:pt x="434" y="113"/>
                  </a:lnTo>
                  <a:lnTo>
                    <a:pt x="468" y="80"/>
                  </a:lnTo>
                  <a:lnTo>
                    <a:pt x="451" y="17"/>
                  </a:lnTo>
                  <a:lnTo>
                    <a:pt x="468" y="0"/>
                  </a:lnTo>
                  <a:lnTo>
                    <a:pt x="451" y="17"/>
                  </a:lnTo>
                  <a:lnTo>
                    <a:pt x="399" y="0"/>
                  </a:lnTo>
                  <a:lnTo>
                    <a:pt x="382" y="17"/>
                  </a:lnTo>
                  <a:lnTo>
                    <a:pt x="347" y="0"/>
                  </a:lnTo>
                  <a:lnTo>
                    <a:pt x="313" y="17"/>
                  </a:lnTo>
                  <a:lnTo>
                    <a:pt x="261" y="17"/>
                  </a:lnTo>
                  <a:lnTo>
                    <a:pt x="173" y="65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97" name="Freeform 299">
              <a:extLst>
                <a:ext uri="{FF2B5EF4-FFF2-40B4-BE49-F238E27FC236}">
                  <a16:creationId xmlns:a16="http://schemas.microsoft.com/office/drawing/2014/main" id="{3D711252-9A7E-8B20-48E7-A923B113B232}"/>
                </a:ext>
              </a:extLst>
            </p:cNvPr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5136601" y="4266765"/>
              <a:ext cx="338720" cy="319947"/>
            </a:xfrm>
            <a:custGeom>
              <a:avLst/>
              <a:gdLst>
                <a:gd name="T0" fmla="*/ 41183 w 449"/>
                <a:gd name="T1" fmla="*/ 0 h 399"/>
                <a:gd name="T2" fmla="*/ 41183 w 449"/>
                <a:gd name="T3" fmla="*/ 0 h 399"/>
                <a:gd name="T4" fmla="*/ 71278 w 449"/>
                <a:gd name="T5" fmla="*/ 22281 h 399"/>
                <a:gd name="T6" fmla="*/ 75238 w 449"/>
                <a:gd name="T7" fmla="*/ 25464 h 399"/>
                <a:gd name="T8" fmla="*/ 81574 w 449"/>
                <a:gd name="T9" fmla="*/ 28647 h 399"/>
                <a:gd name="T10" fmla="*/ 85534 w 449"/>
                <a:gd name="T11" fmla="*/ 31830 h 399"/>
                <a:gd name="T12" fmla="*/ 88702 w 449"/>
                <a:gd name="T13" fmla="*/ 31830 h 399"/>
                <a:gd name="T14" fmla="*/ 88702 w 449"/>
                <a:gd name="T15" fmla="*/ 47744 h 399"/>
                <a:gd name="T16" fmla="*/ 85534 w 449"/>
                <a:gd name="T17" fmla="*/ 50927 h 399"/>
                <a:gd name="T18" fmla="*/ 68110 w 449"/>
                <a:gd name="T19" fmla="*/ 54110 h 399"/>
                <a:gd name="T20" fmla="*/ 60983 w 449"/>
                <a:gd name="T21" fmla="*/ 54110 h 399"/>
                <a:gd name="T22" fmla="*/ 54647 w 449"/>
                <a:gd name="T23" fmla="*/ 60476 h 399"/>
                <a:gd name="T24" fmla="*/ 47519 w 449"/>
                <a:gd name="T25" fmla="*/ 63659 h 399"/>
                <a:gd name="T26" fmla="*/ 41183 w 449"/>
                <a:gd name="T27" fmla="*/ 73208 h 399"/>
                <a:gd name="T28" fmla="*/ 37223 w 449"/>
                <a:gd name="T29" fmla="*/ 76391 h 399"/>
                <a:gd name="T30" fmla="*/ 34055 w 449"/>
                <a:gd name="T31" fmla="*/ 79574 h 399"/>
                <a:gd name="T32" fmla="*/ 30887 w 449"/>
                <a:gd name="T33" fmla="*/ 76391 h 399"/>
                <a:gd name="T34" fmla="*/ 26927 w 449"/>
                <a:gd name="T35" fmla="*/ 79574 h 399"/>
                <a:gd name="T36" fmla="*/ 23759 w 449"/>
                <a:gd name="T37" fmla="*/ 79574 h 399"/>
                <a:gd name="T38" fmla="*/ 16632 w 449"/>
                <a:gd name="T39" fmla="*/ 66842 h 399"/>
                <a:gd name="T40" fmla="*/ 10296 w 449"/>
                <a:gd name="T41" fmla="*/ 70025 h 399"/>
                <a:gd name="T42" fmla="*/ 3168 w 449"/>
                <a:gd name="T43" fmla="*/ 70025 h 399"/>
                <a:gd name="T44" fmla="*/ 6336 w 449"/>
                <a:gd name="T45" fmla="*/ 66842 h 399"/>
                <a:gd name="T46" fmla="*/ 0 w 449"/>
                <a:gd name="T47" fmla="*/ 54110 h 399"/>
                <a:gd name="T48" fmla="*/ 6336 w 449"/>
                <a:gd name="T49" fmla="*/ 50927 h 399"/>
                <a:gd name="T50" fmla="*/ 10296 w 449"/>
                <a:gd name="T51" fmla="*/ 54110 h 399"/>
                <a:gd name="T52" fmla="*/ 13464 w 449"/>
                <a:gd name="T53" fmla="*/ 50927 h 399"/>
                <a:gd name="T54" fmla="*/ 37223 w 449"/>
                <a:gd name="T55" fmla="*/ 50927 h 399"/>
                <a:gd name="T56" fmla="*/ 30887 w 449"/>
                <a:gd name="T57" fmla="*/ 0 h 399"/>
                <a:gd name="T58" fmla="*/ 41183 w 449"/>
                <a:gd name="T59" fmla="*/ 0 h 399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449"/>
                <a:gd name="T91" fmla="*/ 0 h 399"/>
                <a:gd name="T92" fmla="*/ 449 w 449"/>
                <a:gd name="T93" fmla="*/ 399 h 399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449" h="399">
                  <a:moveTo>
                    <a:pt x="208" y="0"/>
                  </a:moveTo>
                  <a:lnTo>
                    <a:pt x="208" y="0"/>
                  </a:lnTo>
                  <a:lnTo>
                    <a:pt x="363" y="111"/>
                  </a:lnTo>
                  <a:lnTo>
                    <a:pt x="380" y="127"/>
                  </a:lnTo>
                  <a:lnTo>
                    <a:pt x="415" y="144"/>
                  </a:lnTo>
                  <a:lnTo>
                    <a:pt x="432" y="159"/>
                  </a:lnTo>
                  <a:lnTo>
                    <a:pt x="449" y="159"/>
                  </a:lnTo>
                  <a:lnTo>
                    <a:pt x="449" y="240"/>
                  </a:lnTo>
                  <a:lnTo>
                    <a:pt x="432" y="255"/>
                  </a:lnTo>
                  <a:lnTo>
                    <a:pt x="346" y="270"/>
                  </a:lnTo>
                  <a:lnTo>
                    <a:pt x="311" y="270"/>
                  </a:lnTo>
                  <a:lnTo>
                    <a:pt x="277" y="303"/>
                  </a:lnTo>
                  <a:lnTo>
                    <a:pt x="242" y="318"/>
                  </a:lnTo>
                  <a:lnTo>
                    <a:pt x="208" y="366"/>
                  </a:lnTo>
                  <a:lnTo>
                    <a:pt x="190" y="384"/>
                  </a:lnTo>
                  <a:lnTo>
                    <a:pt x="173" y="399"/>
                  </a:lnTo>
                  <a:lnTo>
                    <a:pt x="156" y="384"/>
                  </a:lnTo>
                  <a:lnTo>
                    <a:pt x="138" y="399"/>
                  </a:lnTo>
                  <a:lnTo>
                    <a:pt x="121" y="399"/>
                  </a:lnTo>
                  <a:lnTo>
                    <a:pt x="87" y="336"/>
                  </a:lnTo>
                  <a:lnTo>
                    <a:pt x="52" y="351"/>
                  </a:lnTo>
                  <a:lnTo>
                    <a:pt x="17" y="351"/>
                  </a:lnTo>
                  <a:lnTo>
                    <a:pt x="35" y="336"/>
                  </a:lnTo>
                  <a:lnTo>
                    <a:pt x="0" y="270"/>
                  </a:lnTo>
                  <a:lnTo>
                    <a:pt x="35" y="255"/>
                  </a:lnTo>
                  <a:lnTo>
                    <a:pt x="52" y="270"/>
                  </a:lnTo>
                  <a:lnTo>
                    <a:pt x="69" y="255"/>
                  </a:lnTo>
                  <a:lnTo>
                    <a:pt x="190" y="255"/>
                  </a:lnTo>
                  <a:lnTo>
                    <a:pt x="156" y="0"/>
                  </a:lnTo>
                  <a:lnTo>
                    <a:pt x="208" y="0"/>
                  </a:lnTo>
                  <a:close/>
                </a:path>
              </a:pathLst>
            </a:custGeom>
            <a:solidFill>
              <a:srgbClr val="00B050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98" name="Freeform 300">
              <a:extLst>
                <a:ext uri="{FF2B5EF4-FFF2-40B4-BE49-F238E27FC236}">
                  <a16:creationId xmlns:a16="http://schemas.microsoft.com/office/drawing/2014/main" id="{B34C9EA8-47FB-4D13-202C-FFA0F1F24CA3}"/>
                </a:ext>
              </a:extLst>
            </p:cNvPr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5043649" y="4216774"/>
              <a:ext cx="248920" cy="268290"/>
            </a:xfrm>
            <a:custGeom>
              <a:avLst/>
              <a:gdLst>
                <a:gd name="T0" fmla="*/ 0 w 331"/>
                <a:gd name="T1" fmla="*/ 35029 h 335"/>
                <a:gd name="T2" fmla="*/ 0 w 331"/>
                <a:gd name="T3" fmla="*/ 35029 h 335"/>
                <a:gd name="T4" fmla="*/ 3165 w 331"/>
                <a:gd name="T5" fmla="*/ 32641 h 335"/>
                <a:gd name="T6" fmla="*/ 20575 w 331"/>
                <a:gd name="T7" fmla="*/ 32641 h 335"/>
                <a:gd name="T8" fmla="*/ 20575 w 331"/>
                <a:gd name="T9" fmla="*/ 25476 h 335"/>
                <a:gd name="T10" fmla="*/ 27697 w 331"/>
                <a:gd name="T11" fmla="*/ 23087 h 335"/>
                <a:gd name="T12" fmla="*/ 27697 w 331"/>
                <a:gd name="T13" fmla="*/ 6369 h 335"/>
                <a:gd name="T14" fmla="*/ 44316 w 331"/>
                <a:gd name="T15" fmla="*/ 6369 h 335"/>
                <a:gd name="T16" fmla="*/ 44316 w 331"/>
                <a:gd name="T17" fmla="*/ 0 h 335"/>
                <a:gd name="T18" fmla="*/ 64891 w 331"/>
                <a:gd name="T19" fmla="*/ 13534 h 335"/>
                <a:gd name="T20" fmla="*/ 54603 w 331"/>
                <a:gd name="T21" fmla="*/ 13534 h 335"/>
                <a:gd name="T22" fmla="*/ 61726 w 331"/>
                <a:gd name="T23" fmla="*/ 63690 h 335"/>
                <a:gd name="T24" fmla="*/ 37985 w 331"/>
                <a:gd name="T25" fmla="*/ 63690 h 335"/>
                <a:gd name="T26" fmla="*/ 34028 w 331"/>
                <a:gd name="T27" fmla="*/ 66874 h 335"/>
                <a:gd name="T28" fmla="*/ 30863 w 331"/>
                <a:gd name="T29" fmla="*/ 63690 h 335"/>
                <a:gd name="T30" fmla="*/ 23741 w 331"/>
                <a:gd name="T31" fmla="*/ 66874 h 335"/>
                <a:gd name="T32" fmla="*/ 20575 w 331"/>
                <a:gd name="T33" fmla="*/ 61301 h 335"/>
                <a:gd name="T34" fmla="*/ 10288 w 331"/>
                <a:gd name="T35" fmla="*/ 57321 h 335"/>
                <a:gd name="T36" fmla="*/ 3165 w 331"/>
                <a:gd name="T37" fmla="*/ 57321 h 335"/>
                <a:gd name="T38" fmla="*/ 0 w 331"/>
                <a:gd name="T39" fmla="*/ 61301 h 335"/>
                <a:gd name="T40" fmla="*/ 3165 w 331"/>
                <a:gd name="T41" fmla="*/ 47767 h 335"/>
                <a:gd name="T42" fmla="*/ 0 w 331"/>
                <a:gd name="T43" fmla="*/ 44583 h 335"/>
                <a:gd name="T44" fmla="*/ 3165 w 331"/>
                <a:gd name="T45" fmla="*/ 38214 h 335"/>
                <a:gd name="T46" fmla="*/ 0 w 331"/>
                <a:gd name="T47" fmla="*/ 35029 h 33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331"/>
                <a:gd name="T73" fmla="*/ 0 h 335"/>
                <a:gd name="T74" fmla="*/ 331 w 331"/>
                <a:gd name="T75" fmla="*/ 335 h 33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331" h="335">
                  <a:moveTo>
                    <a:pt x="0" y="176"/>
                  </a:moveTo>
                  <a:lnTo>
                    <a:pt x="0" y="176"/>
                  </a:lnTo>
                  <a:lnTo>
                    <a:pt x="18" y="161"/>
                  </a:lnTo>
                  <a:lnTo>
                    <a:pt x="106" y="161"/>
                  </a:lnTo>
                  <a:lnTo>
                    <a:pt x="106" y="128"/>
                  </a:lnTo>
                  <a:lnTo>
                    <a:pt x="140" y="113"/>
                  </a:lnTo>
                  <a:lnTo>
                    <a:pt x="140" y="32"/>
                  </a:lnTo>
                  <a:lnTo>
                    <a:pt x="227" y="32"/>
                  </a:lnTo>
                  <a:lnTo>
                    <a:pt x="227" y="0"/>
                  </a:lnTo>
                  <a:lnTo>
                    <a:pt x="331" y="65"/>
                  </a:lnTo>
                  <a:lnTo>
                    <a:pt x="279" y="65"/>
                  </a:lnTo>
                  <a:lnTo>
                    <a:pt x="313" y="320"/>
                  </a:lnTo>
                  <a:lnTo>
                    <a:pt x="192" y="320"/>
                  </a:lnTo>
                  <a:lnTo>
                    <a:pt x="175" y="335"/>
                  </a:lnTo>
                  <a:lnTo>
                    <a:pt x="158" y="320"/>
                  </a:lnTo>
                  <a:lnTo>
                    <a:pt x="123" y="335"/>
                  </a:lnTo>
                  <a:lnTo>
                    <a:pt x="106" y="305"/>
                  </a:lnTo>
                  <a:lnTo>
                    <a:pt x="52" y="288"/>
                  </a:lnTo>
                  <a:lnTo>
                    <a:pt x="18" y="288"/>
                  </a:lnTo>
                  <a:lnTo>
                    <a:pt x="0" y="305"/>
                  </a:lnTo>
                  <a:lnTo>
                    <a:pt x="18" y="240"/>
                  </a:lnTo>
                  <a:lnTo>
                    <a:pt x="0" y="224"/>
                  </a:lnTo>
                  <a:lnTo>
                    <a:pt x="18" y="192"/>
                  </a:lnTo>
                  <a:lnTo>
                    <a:pt x="0" y="176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99" name="Freeform 302">
              <a:extLst>
                <a:ext uri="{FF2B5EF4-FFF2-40B4-BE49-F238E27FC236}">
                  <a16:creationId xmlns:a16="http://schemas.microsoft.com/office/drawing/2014/main" id="{E20D7946-2E67-6F47-8997-339B3F42D112}"/>
                </a:ext>
              </a:extLst>
            </p:cNvPr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5042074" y="4510059"/>
              <a:ext cx="64593" cy="11665"/>
            </a:xfrm>
            <a:custGeom>
              <a:avLst/>
              <a:gdLst>
                <a:gd name="T0" fmla="*/ 0 w 87"/>
                <a:gd name="T1" fmla="*/ 3387 h 15"/>
                <a:gd name="T2" fmla="*/ 0 w 87"/>
                <a:gd name="T3" fmla="*/ 3387 h 15"/>
                <a:gd name="T4" fmla="*/ 3139 w 87"/>
                <a:gd name="T5" fmla="*/ 3387 h 15"/>
                <a:gd name="T6" fmla="*/ 10200 w 87"/>
                <a:gd name="T7" fmla="*/ 0 h 15"/>
                <a:gd name="T8" fmla="*/ 13339 w 87"/>
                <a:gd name="T9" fmla="*/ 3387 h 15"/>
                <a:gd name="T10" fmla="*/ 16477 w 87"/>
                <a:gd name="T11" fmla="*/ 0 h 15"/>
                <a:gd name="T12" fmla="*/ 10200 w 87"/>
                <a:gd name="T13" fmla="*/ 0 h 15"/>
                <a:gd name="T14" fmla="*/ 0 w 87"/>
                <a:gd name="T15" fmla="*/ 0 h 15"/>
                <a:gd name="T16" fmla="*/ 0 w 87"/>
                <a:gd name="T17" fmla="*/ 3387 h 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7"/>
                <a:gd name="T28" fmla="*/ 0 h 15"/>
                <a:gd name="T29" fmla="*/ 87 w 87"/>
                <a:gd name="T30" fmla="*/ 15 h 1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7" h="15">
                  <a:moveTo>
                    <a:pt x="0" y="15"/>
                  </a:moveTo>
                  <a:lnTo>
                    <a:pt x="0" y="15"/>
                  </a:lnTo>
                  <a:lnTo>
                    <a:pt x="18" y="15"/>
                  </a:lnTo>
                  <a:lnTo>
                    <a:pt x="52" y="0"/>
                  </a:lnTo>
                  <a:lnTo>
                    <a:pt x="69" y="15"/>
                  </a:lnTo>
                  <a:lnTo>
                    <a:pt x="87" y="0"/>
                  </a:lnTo>
                  <a:lnTo>
                    <a:pt x="52" y="0"/>
                  </a:lnTo>
                  <a:lnTo>
                    <a:pt x="0" y="0"/>
                  </a:lnTo>
                  <a:lnTo>
                    <a:pt x="0" y="15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00" name="Freeform 303">
              <a:extLst>
                <a:ext uri="{FF2B5EF4-FFF2-40B4-BE49-F238E27FC236}">
                  <a16:creationId xmlns:a16="http://schemas.microsoft.com/office/drawing/2014/main" id="{A6492501-7C52-19FD-E5E6-4ACC14DD5192}"/>
                </a:ext>
              </a:extLst>
            </p:cNvPr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5042074" y="4535055"/>
              <a:ext cx="64593" cy="38326"/>
            </a:xfrm>
            <a:custGeom>
              <a:avLst/>
              <a:gdLst>
                <a:gd name="T0" fmla="*/ 10200 w 87"/>
                <a:gd name="T1" fmla="*/ 9525 h 48"/>
                <a:gd name="T2" fmla="*/ 10200 w 87"/>
                <a:gd name="T3" fmla="*/ 9525 h 48"/>
                <a:gd name="T4" fmla="*/ 16477 w 87"/>
                <a:gd name="T5" fmla="*/ 2381 h 48"/>
                <a:gd name="T6" fmla="*/ 16477 w 87"/>
                <a:gd name="T7" fmla="*/ 0 h 48"/>
                <a:gd name="T8" fmla="*/ 0 w 87"/>
                <a:gd name="T9" fmla="*/ 0 h 48"/>
                <a:gd name="T10" fmla="*/ 6277 w 87"/>
                <a:gd name="T11" fmla="*/ 2381 h 48"/>
                <a:gd name="T12" fmla="*/ 6277 w 87"/>
                <a:gd name="T13" fmla="*/ 5556 h 48"/>
                <a:gd name="T14" fmla="*/ 10200 w 87"/>
                <a:gd name="T15" fmla="*/ 9525 h 4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7"/>
                <a:gd name="T25" fmla="*/ 0 h 48"/>
                <a:gd name="T26" fmla="*/ 87 w 87"/>
                <a:gd name="T27" fmla="*/ 48 h 4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7" h="48">
                  <a:moveTo>
                    <a:pt x="52" y="48"/>
                  </a:moveTo>
                  <a:lnTo>
                    <a:pt x="52" y="48"/>
                  </a:lnTo>
                  <a:lnTo>
                    <a:pt x="87" y="15"/>
                  </a:lnTo>
                  <a:lnTo>
                    <a:pt x="87" y="0"/>
                  </a:lnTo>
                  <a:lnTo>
                    <a:pt x="0" y="0"/>
                  </a:lnTo>
                  <a:lnTo>
                    <a:pt x="35" y="15"/>
                  </a:lnTo>
                  <a:lnTo>
                    <a:pt x="35" y="30"/>
                  </a:lnTo>
                  <a:lnTo>
                    <a:pt x="52" y="48"/>
                  </a:lnTo>
                </a:path>
              </a:pathLst>
            </a:custGeom>
            <a:solidFill>
              <a:srgbClr val="00B050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01" name="Freeform 304">
              <a:extLst>
                <a:ext uri="{FF2B5EF4-FFF2-40B4-BE49-F238E27FC236}">
                  <a16:creationId xmlns:a16="http://schemas.microsoft.com/office/drawing/2014/main" id="{B37F5726-3D7B-84AB-C93C-0F2DC4BCFFDE}"/>
                </a:ext>
              </a:extLst>
            </p:cNvPr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5120846" y="4586713"/>
              <a:ext cx="53565" cy="63323"/>
            </a:xfrm>
            <a:custGeom>
              <a:avLst/>
              <a:gdLst>
                <a:gd name="T0" fmla="*/ 0 w 71"/>
                <a:gd name="T1" fmla="*/ 2352 h 81"/>
                <a:gd name="T2" fmla="*/ 0 w 71"/>
                <a:gd name="T3" fmla="*/ 2352 h 81"/>
                <a:gd name="T4" fmla="*/ 4025 w 71"/>
                <a:gd name="T5" fmla="*/ 0 h 81"/>
                <a:gd name="T6" fmla="*/ 7244 w 71"/>
                <a:gd name="T7" fmla="*/ 0 h 81"/>
                <a:gd name="T8" fmla="*/ 14489 w 71"/>
                <a:gd name="T9" fmla="*/ 6272 h 81"/>
                <a:gd name="T10" fmla="*/ 14489 w 71"/>
                <a:gd name="T11" fmla="*/ 9407 h 81"/>
                <a:gd name="T12" fmla="*/ 7244 w 71"/>
                <a:gd name="T13" fmla="*/ 15679 h 81"/>
                <a:gd name="T14" fmla="*/ 4025 w 71"/>
                <a:gd name="T15" fmla="*/ 11759 h 81"/>
                <a:gd name="T16" fmla="*/ 0 w 71"/>
                <a:gd name="T17" fmla="*/ 11759 h 81"/>
                <a:gd name="T18" fmla="*/ 0 w 71"/>
                <a:gd name="T19" fmla="*/ 2352 h 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1"/>
                <a:gd name="T31" fmla="*/ 0 h 81"/>
                <a:gd name="T32" fmla="*/ 71 w 71"/>
                <a:gd name="T33" fmla="*/ 81 h 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1" h="81">
                  <a:moveTo>
                    <a:pt x="0" y="15"/>
                  </a:moveTo>
                  <a:lnTo>
                    <a:pt x="0" y="15"/>
                  </a:lnTo>
                  <a:lnTo>
                    <a:pt x="19" y="0"/>
                  </a:lnTo>
                  <a:lnTo>
                    <a:pt x="36" y="0"/>
                  </a:lnTo>
                  <a:lnTo>
                    <a:pt x="71" y="33"/>
                  </a:lnTo>
                  <a:lnTo>
                    <a:pt x="71" y="48"/>
                  </a:lnTo>
                  <a:lnTo>
                    <a:pt x="36" y="81"/>
                  </a:lnTo>
                  <a:lnTo>
                    <a:pt x="19" y="63"/>
                  </a:lnTo>
                  <a:lnTo>
                    <a:pt x="0" y="63"/>
                  </a:lnTo>
                  <a:lnTo>
                    <a:pt x="0" y="15"/>
                  </a:lnTo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02" name="Freeform 305">
              <a:extLst>
                <a:ext uri="{FF2B5EF4-FFF2-40B4-BE49-F238E27FC236}">
                  <a16:creationId xmlns:a16="http://schemas.microsoft.com/office/drawing/2014/main" id="{27F01FF8-3540-C586-DBFC-E07F98B04157}"/>
                </a:ext>
              </a:extLst>
            </p:cNvPr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5146053" y="4611709"/>
              <a:ext cx="94527" cy="89985"/>
            </a:xfrm>
            <a:custGeom>
              <a:avLst/>
              <a:gdLst>
                <a:gd name="T0" fmla="*/ 25816 w 122"/>
                <a:gd name="T1" fmla="*/ 22425 h 111"/>
                <a:gd name="T2" fmla="*/ 25816 w 122"/>
                <a:gd name="T3" fmla="*/ 22425 h 111"/>
                <a:gd name="T4" fmla="*/ 25816 w 122"/>
                <a:gd name="T5" fmla="*/ 16018 h 111"/>
                <a:gd name="T6" fmla="*/ 17749 w 122"/>
                <a:gd name="T7" fmla="*/ 12814 h 111"/>
                <a:gd name="T8" fmla="*/ 17749 w 122"/>
                <a:gd name="T9" fmla="*/ 6407 h 111"/>
                <a:gd name="T10" fmla="*/ 14522 w 122"/>
                <a:gd name="T11" fmla="*/ 6407 h 111"/>
                <a:gd name="T12" fmla="*/ 10488 w 122"/>
                <a:gd name="T13" fmla="*/ 0 h 111"/>
                <a:gd name="T14" fmla="*/ 7261 w 122"/>
                <a:gd name="T15" fmla="*/ 3204 h 111"/>
                <a:gd name="T16" fmla="*/ 0 w 122"/>
                <a:gd name="T17" fmla="*/ 9611 h 111"/>
                <a:gd name="T18" fmla="*/ 17749 w 122"/>
                <a:gd name="T19" fmla="*/ 22425 h 111"/>
                <a:gd name="T20" fmla="*/ 25816 w 122"/>
                <a:gd name="T21" fmla="*/ 22425 h 11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22"/>
                <a:gd name="T34" fmla="*/ 0 h 111"/>
                <a:gd name="T35" fmla="*/ 122 w 122"/>
                <a:gd name="T36" fmla="*/ 111 h 11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22" h="111">
                  <a:moveTo>
                    <a:pt x="122" y="111"/>
                  </a:moveTo>
                  <a:lnTo>
                    <a:pt x="122" y="111"/>
                  </a:lnTo>
                  <a:lnTo>
                    <a:pt x="122" y="78"/>
                  </a:lnTo>
                  <a:lnTo>
                    <a:pt x="86" y="63"/>
                  </a:lnTo>
                  <a:lnTo>
                    <a:pt x="86" y="30"/>
                  </a:lnTo>
                  <a:lnTo>
                    <a:pt x="69" y="30"/>
                  </a:lnTo>
                  <a:lnTo>
                    <a:pt x="51" y="0"/>
                  </a:lnTo>
                  <a:lnTo>
                    <a:pt x="34" y="15"/>
                  </a:lnTo>
                  <a:lnTo>
                    <a:pt x="0" y="48"/>
                  </a:lnTo>
                  <a:lnTo>
                    <a:pt x="86" y="111"/>
                  </a:lnTo>
                  <a:lnTo>
                    <a:pt x="122" y="111"/>
                  </a:lnTo>
                </a:path>
              </a:pathLst>
            </a:custGeom>
            <a:solidFill>
              <a:srgbClr val="00B050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03" name="Freeform 306">
              <a:extLst>
                <a:ext uri="{FF2B5EF4-FFF2-40B4-BE49-F238E27FC236}">
                  <a16:creationId xmlns:a16="http://schemas.microsoft.com/office/drawing/2014/main" id="{5F117062-E7F0-8A51-8025-2578735C9258}"/>
                </a:ext>
              </a:extLst>
            </p:cNvPr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5212222" y="4573382"/>
              <a:ext cx="132337" cy="128313"/>
            </a:xfrm>
            <a:custGeom>
              <a:avLst/>
              <a:gdLst>
                <a:gd name="T0" fmla="*/ 31135 w 173"/>
                <a:gd name="T1" fmla="*/ 28755 h 159"/>
                <a:gd name="T2" fmla="*/ 31135 w 173"/>
                <a:gd name="T3" fmla="*/ 28755 h 159"/>
                <a:gd name="T4" fmla="*/ 31135 w 173"/>
                <a:gd name="T5" fmla="*/ 19170 h 159"/>
                <a:gd name="T6" fmla="*/ 35127 w 173"/>
                <a:gd name="T7" fmla="*/ 12780 h 159"/>
                <a:gd name="T8" fmla="*/ 31135 w 173"/>
                <a:gd name="T9" fmla="*/ 6390 h 159"/>
                <a:gd name="T10" fmla="*/ 27942 w 173"/>
                <a:gd name="T11" fmla="*/ 3195 h 159"/>
                <a:gd name="T12" fmla="*/ 20757 w 173"/>
                <a:gd name="T13" fmla="*/ 3195 h 159"/>
                <a:gd name="T14" fmla="*/ 17564 w 173"/>
                <a:gd name="T15" fmla="*/ 0 h 159"/>
                <a:gd name="T16" fmla="*/ 14370 w 173"/>
                <a:gd name="T17" fmla="*/ 3195 h 159"/>
                <a:gd name="T18" fmla="*/ 10378 w 173"/>
                <a:gd name="T19" fmla="*/ 0 h 159"/>
                <a:gd name="T20" fmla="*/ 7185 w 173"/>
                <a:gd name="T21" fmla="*/ 3195 h 159"/>
                <a:gd name="T22" fmla="*/ 3992 w 173"/>
                <a:gd name="T23" fmla="*/ 3195 h 159"/>
                <a:gd name="T24" fmla="*/ 3992 w 173"/>
                <a:gd name="T25" fmla="*/ 6390 h 159"/>
                <a:gd name="T26" fmla="*/ 3992 w 173"/>
                <a:gd name="T27" fmla="*/ 9585 h 159"/>
                <a:gd name="T28" fmla="*/ 3992 w 173"/>
                <a:gd name="T29" fmla="*/ 12780 h 159"/>
                <a:gd name="T30" fmla="*/ 3992 w 173"/>
                <a:gd name="T31" fmla="*/ 15975 h 159"/>
                <a:gd name="T32" fmla="*/ 0 w 173"/>
                <a:gd name="T33" fmla="*/ 15975 h 159"/>
                <a:gd name="T34" fmla="*/ 0 w 173"/>
                <a:gd name="T35" fmla="*/ 22365 h 159"/>
                <a:gd name="T36" fmla="*/ 7185 w 173"/>
                <a:gd name="T37" fmla="*/ 25560 h 159"/>
                <a:gd name="T38" fmla="*/ 7185 w 173"/>
                <a:gd name="T39" fmla="*/ 31950 h 159"/>
                <a:gd name="T40" fmla="*/ 14370 w 173"/>
                <a:gd name="T41" fmla="*/ 28755 h 159"/>
                <a:gd name="T42" fmla="*/ 24749 w 173"/>
                <a:gd name="T43" fmla="*/ 28755 h 159"/>
                <a:gd name="T44" fmla="*/ 31135 w 173"/>
                <a:gd name="T45" fmla="*/ 28755 h 15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73"/>
                <a:gd name="T70" fmla="*/ 0 h 159"/>
                <a:gd name="T71" fmla="*/ 173 w 173"/>
                <a:gd name="T72" fmla="*/ 159 h 159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73" h="159">
                  <a:moveTo>
                    <a:pt x="155" y="144"/>
                  </a:moveTo>
                  <a:lnTo>
                    <a:pt x="155" y="144"/>
                  </a:lnTo>
                  <a:lnTo>
                    <a:pt x="155" y="96"/>
                  </a:lnTo>
                  <a:lnTo>
                    <a:pt x="173" y="63"/>
                  </a:lnTo>
                  <a:lnTo>
                    <a:pt x="155" y="30"/>
                  </a:lnTo>
                  <a:lnTo>
                    <a:pt x="138" y="15"/>
                  </a:lnTo>
                  <a:lnTo>
                    <a:pt x="104" y="15"/>
                  </a:lnTo>
                  <a:lnTo>
                    <a:pt x="86" y="0"/>
                  </a:lnTo>
                  <a:lnTo>
                    <a:pt x="69" y="15"/>
                  </a:lnTo>
                  <a:lnTo>
                    <a:pt x="52" y="0"/>
                  </a:lnTo>
                  <a:lnTo>
                    <a:pt x="34" y="15"/>
                  </a:lnTo>
                  <a:lnTo>
                    <a:pt x="17" y="15"/>
                  </a:lnTo>
                  <a:lnTo>
                    <a:pt x="17" y="30"/>
                  </a:lnTo>
                  <a:lnTo>
                    <a:pt x="17" y="48"/>
                  </a:lnTo>
                  <a:lnTo>
                    <a:pt x="17" y="63"/>
                  </a:lnTo>
                  <a:lnTo>
                    <a:pt x="17" y="78"/>
                  </a:lnTo>
                  <a:lnTo>
                    <a:pt x="0" y="78"/>
                  </a:lnTo>
                  <a:lnTo>
                    <a:pt x="0" y="111"/>
                  </a:lnTo>
                  <a:lnTo>
                    <a:pt x="34" y="126"/>
                  </a:lnTo>
                  <a:lnTo>
                    <a:pt x="34" y="159"/>
                  </a:lnTo>
                  <a:lnTo>
                    <a:pt x="69" y="144"/>
                  </a:lnTo>
                  <a:lnTo>
                    <a:pt x="121" y="144"/>
                  </a:lnTo>
                  <a:lnTo>
                    <a:pt x="155" y="144"/>
                  </a:lnTo>
                  <a:close/>
                </a:path>
              </a:pathLst>
            </a:custGeom>
            <a:solidFill>
              <a:srgbClr val="00B050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04" name="Freeform 307">
              <a:extLst>
                <a:ext uri="{FF2B5EF4-FFF2-40B4-BE49-F238E27FC236}">
                  <a16:creationId xmlns:a16="http://schemas.microsoft.com/office/drawing/2014/main" id="{89CE2D46-ABF1-75E1-1C67-87D24CF2A3BC}"/>
                </a:ext>
              </a:extLst>
            </p:cNvPr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5279966" y="4483396"/>
              <a:ext cx="154394" cy="114982"/>
            </a:xfrm>
            <a:custGeom>
              <a:avLst/>
              <a:gdLst>
                <a:gd name="T0" fmla="*/ 0 w 208"/>
                <a:gd name="T1" fmla="*/ 22225 h 144"/>
                <a:gd name="T2" fmla="*/ 0 w 208"/>
                <a:gd name="T3" fmla="*/ 22225 h 144"/>
                <a:gd name="T4" fmla="*/ 3144 w 208"/>
                <a:gd name="T5" fmla="*/ 19050 h 144"/>
                <a:gd name="T6" fmla="*/ 10220 w 208"/>
                <a:gd name="T7" fmla="*/ 9525 h 144"/>
                <a:gd name="T8" fmla="*/ 16509 w 208"/>
                <a:gd name="T9" fmla="*/ 7144 h 144"/>
                <a:gd name="T10" fmla="*/ 23584 w 208"/>
                <a:gd name="T11" fmla="*/ 0 h 144"/>
                <a:gd name="T12" fmla="*/ 29873 w 208"/>
                <a:gd name="T13" fmla="*/ 0 h 144"/>
                <a:gd name="T14" fmla="*/ 29873 w 208"/>
                <a:gd name="T15" fmla="*/ 7144 h 144"/>
                <a:gd name="T16" fmla="*/ 36948 w 208"/>
                <a:gd name="T17" fmla="*/ 13494 h 144"/>
                <a:gd name="T18" fmla="*/ 40092 w 208"/>
                <a:gd name="T19" fmla="*/ 13494 h 144"/>
                <a:gd name="T20" fmla="*/ 40092 w 208"/>
                <a:gd name="T21" fmla="*/ 15875 h 144"/>
                <a:gd name="T22" fmla="*/ 33803 w 208"/>
                <a:gd name="T23" fmla="*/ 19050 h 144"/>
                <a:gd name="T24" fmla="*/ 26728 w 208"/>
                <a:gd name="T25" fmla="*/ 19050 h 144"/>
                <a:gd name="T26" fmla="*/ 13364 w 208"/>
                <a:gd name="T27" fmla="*/ 19050 h 144"/>
                <a:gd name="T28" fmla="*/ 13364 w 208"/>
                <a:gd name="T29" fmla="*/ 22225 h 144"/>
                <a:gd name="T30" fmla="*/ 13364 w 208"/>
                <a:gd name="T31" fmla="*/ 28575 h 144"/>
                <a:gd name="T32" fmla="*/ 10220 w 208"/>
                <a:gd name="T33" fmla="*/ 26194 h 144"/>
                <a:gd name="T34" fmla="*/ 3144 w 208"/>
                <a:gd name="T35" fmla="*/ 26194 h 144"/>
                <a:gd name="T36" fmla="*/ 0 w 208"/>
                <a:gd name="T37" fmla="*/ 22225 h 14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08"/>
                <a:gd name="T58" fmla="*/ 0 h 144"/>
                <a:gd name="T59" fmla="*/ 208 w 208"/>
                <a:gd name="T60" fmla="*/ 144 h 14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08" h="144">
                  <a:moveTo>
                    <a:pt x="0" y="114"/>
                  </a:moveTo>
                  <a:lnTo>
                    <a:pt x="0" y="114"/>
                  </a:lnTo>
                  <a:lnTo>
                    <a:pt x="18" y="96"/>
                  </a:lnTo>
                  <a:lnTo>
                    <a:pt x="52" y="48"/>
                  </a:lnTo>
                  <a:lnTo>
                    <a:pt x="87" y="33"/>
                  </a:lnTo>
                  <a:lnTo>
                    <a:pt x="121" y="0"/>
                  </a:lnTo>
                  <a:lnTo>
                    <a:pt x="156" y="0"/>
                  </a:lnTo>
                  <a:lnTo>
                    <a:pt x="156" y="33"/>
                  </a:lnTo>
                  <a:lnTo>
                    <a:pt x="190" y="66"/>
                  </a:lnTo>
                  <a:lnTo>
                    <a:pt x="208" y="66"/>
                  </a:lnTo>
                  <a:lnTo>
                    <a:pt x="208" y="81"/>
                  </a:lnTo>
                  <a:lnTo>
                    <a:pt x="173" y="96"/>
                  </a:lnTo>
                  <a:lnTo>
                    <a:pt x="138" y="96"/>
                  </a:lnTo>
                  <a:lnTo>
                    <a:pt x="69" y="96"/>
                  </a:lnTo>
                  <a:lnTo>
                    <a:pt x="69" y="114"/>
                  </a:lnTo>
                  <a:lnTo>
                    <a:pt x="69" y="144"/>
                  </a:lnTo>
                  <a:lnTo>
                    <a:pt x="52" y="129"/>
                  </a:lnTo>
                  <a:lnTo>
                    <a:pt x="18" y="129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rgbClr val="00B050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05" name="Freeform 308">
              <a:extLst>
                <a:ext uri="{FF2B5EF4-FFF2-40B4-BE49-F238E27FC236}">
                  <a16:creationId xmlns:a16="http://schemas.microsoft.com/office/drawing/2014/main" id="{8B04E5A9-3639-699B-62D1-1A490B20844F}"/>
                </a:ext>
              </a:extLst>
            </p:cNvPr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5383945" y="4560050"/>
              <a:ext cx="39387" cy="103316"/>
            </a:xfrm>
            <a:custGeom>
              <a:avLst/>
              <a:gdLst>
                <a:gd name="T0" fmla="*/ 7144 w 52"/>
                <a:gd name="T1" fmla="*/ 0 h 129"/>
                <a:gd name="T2" fmla="*/ 7144 w 52"/>
                <a:gd name="T3" fmla="*/ 0 h 129"/>
                <a:gd name="T4" fmla="*/ 0 w 52"/>
                <a:gd name="T5" fmla="*/ 0 h 129"/>
                <a:gd name="T6" fmla="*/ 3969 w 52"/>
                <a:gd name="T7" fmla="*/ 12602 h 129"/>
                <a:gd name="T8" fmla="*/ 7144 w 52"/>
                <a:gd name="T9" fmla="*/ 22053 h 129"/>
                <a:gd name="T10" fmla="*/ 7144 w 52"/>
                <a:gd name="T11" fmla="*/ 25203 h 129"/>
                <a:gd name="T12" fmla="*/ 10319 w 52"/>
                <a:gd name="T13" fmla="*/ 25203 h 129"/>
                <a:gd name="T14" fmla="*/ 10319 w 52"/>
                <a:gd name="T15" fmla="*/ 12602 h 129"/>
                <a:gd name="T16" fmla="*/ 10319 w 52"/>
                <a:gd name="T17" fmla="*/ 6301 h 129"/>
                <a:gd name="T18" fmla="*/ 7144 w 52"/>
                <a:gd name="T19" fmla="*/ 3150 h 129"/>
                <a:gd name="T20" fmla="*/ 7144 w 52"/>
                <a:gd name="T21" fmla="*/ 0 h 12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2"/>
                <a:gd name="T34" fmla="*/ 0 h 129"/>
                <a:gd name="T35" fmla="*/ 52 w 52"/>
                <a:gd name="T36" fmla="*/ 129 h 12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2" h="129">
                  <a:moveTo>
                    <a:pt x="35" y="0"/>
                  </a:moveTo>
                  <a:lnTo>
                    <a:pt x="35" y="0"/>
                  </a:lnTo>
                  <a:lnTo>
                    <a:pt x="0" y="0"/>
                  </a:lnTo>
                  <a:lnTo>
                    <a:pt x="18" y="66"/>
                  </a:lnTo>
                  <a:lnTo>
                    <a:pt x="35" y="114"/>
                  </a:lnTo>
                  <a:lnTo>
                    <a:pt x="35" y="129"/>
                  </a:lnTo>
                  <a:lnTo>
                    <a:pt x="52" y="129"/>
                  </a:lnTo>
                  <a:lnTo>
                    <a:pt x="52" y="66"/>
                  </a:lnTo>
                  <a:lnTo>
                    <a:pt x="52" y="33"/>
                  </a:lnTo>
                  <a:lnTo>
                    <a:pt x="35" y="18"/>
                  </a:lnTo>
                  <a:lnTo>
                    <a:pt x="35" y="0"/>
                  </a:lnTo>
                </a:path>
              </a:pathLst>
            </a:custGeom>
            <a:solidFill>
              <a:srgbClr val="0081C8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06" name="Freeform 309">
              <a:extLst>
                <a:ext uri="{FF2B5EF4-FFF2-40B4-BE49-F238E27FC236}">
                  <a16:creationId xmlns:a16="http://schemas.microsoft.com/office/drawing/2014/main" id="{84828AC9-5E0D-81CD-4F3F-84015FA4514D}"/>
                </a:ext>
              </a:extLst>
            </p:cNvPr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5396549" y="4305093"/>
              <a:ext cx="329269" cy="243293"/>
            </a:xfrm>
            <a:custGeom>
              <a:avLst/>
              <a:gdLst>
                <a:gd name="T0" fmla="*/ 73025 w 436"/>
                <a:gd name="T1" fmla="*/ 50968 h 303"/>
                <a:gd name="T2" fmla="*/ 73025 w 436"/>
                <a:gd name="T3" fmla="*/ 50968 h 303"/>
                <a:gd name="T4" fmla="*/ 73025 w 436"/>
                <a:gd name="T5" fmla="*/ 47782 h 303"/>
                <a:gd name="T6" fmla="*/ 83344 w 436"/>
                <a:gd name="T7" fmla="*/ 35040 h 303"/>
                <a:gd name="T8" fmla="*/ 86519 w 436"/>
                <a:gd name="T9" fmla="*/ 15927 h 303"/>
                <a:gd name="T10" fmla="*/ 80169 w 436"/>
                <a:gd name="T11" fmla="*/ 9556 h 303"/>
                <a:gd name="T12" fmla="*/ 80169 w 436"/>
                <a:gd name="T13" fmla="*/ 3185 h 303"/>
                <a:gd name="T14" fmla="*/ 76200 w 436"/>
                <a:gd name="T15" fmla="*/ 0 h 303"/>
                <a:gd name="T16" fmla="*/ 62706 w 436"/>
                <a:gd name="T17" fmla="*/ 0 h 303"/>
                <a:gd name="T18" fmla="*/ 27781 w 436"/>
                <a:gd name="T19" fmla="*/ 22298 h 303"/>
                <a:gd name="T20" fmla="*/ 21431 w 436"/>
                <a:gd name="T21" fmla="*/ 22298 h 303"/>
                <a:gd name="T22" fmla="*/ 21431 w 436"/>
                <a:gd name="T23" fmla="*/ 38226 h 303"/>
                <a:gd name="T24" fmla="*/ 17463 w 436"/>
                <a:gd name="T25" fmla="*/ 41411 h 303"/>
                <a:gd name="T26" fmla="*/ 0 w 436"/>
                <a:gd name="T27" fmla="*/ 44597 h 303"/>
                <a:gd name="T28" fmla="*/ 0 w 436"/>
                <a:gd name="T29" fmla="*/ 50968 h 303"/>
                <a:gd name="T30" fmla="*/ 7144 w 436"/>
                <a:gd name="T31" fmla="*/ 57339 h 303"/>
                <a:gd name="T32" fmla="*/ 10319 w 436"/>
                <a:gd name="T33" fmla="*/ 57339 h 303"/>
                <a:gd name="T34" fmla="*/ 10319 w 436"/>
                <a:gd name="T35" fmla="*/ 60524 h 303"/>
                <a:gd name="T36" fmla="*/ 10319 w 436"/>
                <a:gd name="T37" fmla="*/ 57339 h 303"/>
                <a:gd name="T38" fmla="*/ 14288 w 436"/>
                <a:gd name="T39" fmla="*/ 57339 h 303"/>
                <a:gd name="T40" fmla="*/ 17463 w 436"/>
                <a:gd name="T41" fmla="*/ 60524 h 303"/>
                <a:gd name="T42" fmla="*/ 17463 w 436"/>
                <a:gd name="T43" fmla="*/ 57339 h 303"/>
                <a:gd name="T44" fmla="*/ 23812 w 436"/>
                <a:gd name="T45" fmla="*/ 50968 h 303"/>
                <a:gd name="T46" fmla="*/ 27781 w 436"/>
                <a:gd name="T47" fmla="*/ 50968 h 303"/>
                <a:gd name="T48" fmla="*/ 38100 w 436"/>
                <a:gd name="T49" fmla="*/ 54153 h 303"/>
                <a:gd name="T50" fmla="*/ 42069 w 436"/>
                <a:gd name="T51" fmla="*/ 54153 h 303"/>
                <a:gd name="T52" fmla="*/ 48419 w 436"/>
                <a:gd name="T53" fmla="*/ 57339 h 303"/>
                <a:gd name="T54" fmla="*/ 55563 w 436"/>
                <a:gd name="T55" fmla="*/ 54153 h 303"/>
                <a:gd name="T56" fmla="*/ 65881 w 436"/>
                <a:gd name="T57" fmla="*/ 54153 h 303"/>
                <a:gd name="T58" fmla="*/ 69850 w 436"/>
                <a:gd name="T59" fmla="*/ 50968 h 303"/>
                <a:gd name="T60" fmla="*/ 73025 w 436"/>
                <a:gd name="T61" fmla="*/ 50968 h 303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436"/>
                <a:gd name="T94" fmla="*/ 0 h 303"/>
                <a:gd name="T95" fmla="*/ 436 w 436"/>
                <a:gd name="T96" fmla="*/ 303 h 303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436" h="303">
                  <a:moveTo>
                    <a:pt x="366" y="255"/>
                  </a:moveTo>
                  <a:lnTo>
                    <a:pt x="366" y="255"/>
                  </a:lnTo>
                  <a:lnTo>
                    <a:pt x="366" y="240"/>
                  </a:lnTo>
                  <a:lnTo>
                    <a:pt x="418" y="175"/>
                  </a:lnTo>
                  <a:lnTo>
                    <a:pt x="436" y="79"/>
                  </a:lnTo>
                  <a:lnTo>
                    <a:pt x="401" y="48"/>
                  </a:lnTo>
                  <a:lnTo>
                    <a:pt x="401" y="15"/>
                  </a:lnTo>
                  <a:lnTo>
                    <a:pt x="384" y="0"/>
                  </a:lnTo>
                  <a:lnTo>
                    <a:pt x="313" y="0"/>
                  </a:lnTo>
                  <a:lnTo>
                    <a:pt x="140" y="111"/>
                  </a:lnTo>
                  <a:lnTo>
                    <a:pt x="105" y="111"/>
                  </a:lnTo>
                  <a:lnTo>
                    <a:pt x="105" y="192"/>
                  </a:lnTo>
                  <a:lnTo>
                    <a:pt x="86" y="207"/>
                  </a:lnTo>
                  <a:lnTo>
                    <a:pt x="0" y="222"/>
                  </a:lnTo>
                  <a:lnTo>
                    <a:pt x="0" y="255"/>
                  </a:lnTo>
                  <a:lnTo>
                    <a:pt x="34" y="288"/>
                  </a:lnTo>
                  <a:lnTo>
                    <a:pt x="52" y="288"/>
                  </a:lnTo>
                  <a:lnTo>
                    <a:pt x="52" y="303"/>
                  </a:lnTo>
                  <a:lnTo>
                    <a:pt x="52" y="288"/>
                  </a:lnTo>
                  <a:lnTo>
                    <a:pt x="69" y="288"/>
                  </a:lnTo>
                  <a:lnTo>
                    <a:pt x="86" y="303"/>
                  </a:lnTo>
                  <a:lnTo>
                    <a:pt x="86" y="288"/>
                  </a:lnTo>
                  <a:lnTo>
                    <a:pt x="123" y="255"/>
                  </a:lnTo>
                  <a:lnTo>
                    <a:pt x="140" y="255"/>
                  </a:lnTo>
                  <a:lnTo>
                    <a:pt x="192" y="270"/>
                  </a:lnTo>
                  <a:lnTo>
                    <a:pt x="209" y="270"/>
                  </a:lnTo>
                  <a:lnTo>
                    <a:pt x="244" y="288"/>
                  </a:lnTo>
                  <a:lnTo>
                    <a:pt x="278" y="270"/>
                  </a:lnTo>
                  <a:lnTo>
                    <a:pt x="332" y="270"/>
                  </a:lnTo>
                  <a:lnTo>
                    <a:pt x="349" y="255"/>
                  </a:lnTo>
                  <a:lnTo>
                    <a:pt x="366" y="255"/>
                  </a:lnTo>
                  <a:close/>
                </a:path>
              </a:pathLst>
            </a:custGeom>
            <a:solidFill>
              <a:srgbClr val="00B050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07" name="Freeform 310">
              <a:extLst>
                <a:ext uri="{FF2B5EF4-FFF2-40B4-BE49-F238E27FC236}">
                  <a16:creationId xmlns:a16="http://schemas.microsoft.com/office/drawing/2014/main" id="{830920BE-13B6-CB82-FAC1-8DFB72339BE4}"/>
                </a:ext>
              </a:extLst>
            </p:cNvPr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5031045" y="4445070"/>
              <a:ext cx="130762" cy="89985"/>
            </a:xfrm>
            <a:custGeom>
              <a:avLst/>
              <a:gdLst>
                <a:gd name="T0" fmla="*/ 3157 w 173"/>
                <a:gd name="T1" fmla="*/ 18095 h 113"/>
                <a:gd name="T2" fmla="*/ 3157 w 173"/>
                <a:gd name="T3" fmla="*/ 18095 h 113"/>
                <a:gd name="T4" fmla="*/ 6313 w 173"/>
                <a:gd name="T5" fmla="*/ 18095 h 113"/>
                <a:gd name="T6" fmla="*/ 13416 w 173"/>
                <a:gd name="T7" fmla="*/ 15735 h 113"/>
                <a:gd name="T8" fmla="*/ 16572 w 173"/>
                <a:gd name="T9" fmla="*/ 18095 h 113"/>
                <a:gd name="T10" fmla="*/ 20518 w 173"/>
                <a:gd name="T11" fmla="*/ 15735 h 113"/>
                <a:gd name="T12" fmla="*/ 13416 w 173"/>
                <a:gd name="T13" fmla="*/ 15735 h 113"/>
                <a:gd name="T14" fmla="*/ 3157 w 173"/>
                <a:gd name="T15" fmla="*/ 15735 h 113"/>
                <a:gd name="T16" fmla="*/ 0 w 173"/>
                <a:gd name="T17" fmla="*/ 8654 h 113"/>
                <a:gd name="T18" fmla="*/ 3157 w 173"/>
                <a:gd name="T19" fmla="*/ 3147 h 113"/>
                <a:gd name="T20" fmla="*/ 6313 w 173"/>
                <a:gd name="T21" fmla="*/ 0 h 113"/>
                <a:gd name="T22" fmla="*/ 13416 w 173"/>
                <a:gd name="T23" fmla="*/ 0 h 113"/>
                <a:gd name="T24" fmla="*/ 23675 w 173"/>
                <a:gd name="T25" fmla="*/ 3147 h 113"/>
                <a:gd name="T26" fmla="*/ 26832 w 173"/>
                <a:gd name="T27" fmla="*/ 8654 h 113"/>
                <a:gd name="T28" fmla="*/ 33934 w 173"/>
                <a:gd name="T29" fmla="*/ 22028 h 113"/>
                <a:gd name="T30" fmla="*/ 20518 w 173"/>
                <a:gd name="T31" fmla="*/ 22028 h 113"/>
                <a:gd name="T32" fmla="*/ 3157 w 173"/>
                <a:gd name="T33" fmla="*/ 22028 h 113"/>
                <a:gd name="T34" fmla="*/ 3157 w 173"/>
                <a:gd name="T35" fmla="*/ 18095 h 11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73"/>
                <a:gd name="T55" fmla="*/ 0 h 113"/>
                <a:gd name="T56" fmla="*/ 173 w 173"/>
                <a:gd name="T57" fmla="*/ 113 h 11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73" h="113">
                  <a:moveTo>
                    <a:pt x="17" y="95"/>
                  </a:moveTo>
                  <a:lnTo>
                    <a:pt x="17" y="95"/>
                  </a:lnTo>
                  <a:lnTo>
                    <a:pt x="35" y="95"/>
                  </a:lnTo>
                  <a:lnTo>
                    <a:pt x="69" y="80"/>
                  </a:lnTo>
                  <a:lnTo>
                    <a:pt x="86" y="95"/>
                  </a:lnTo>
                  <a:lnTo>
                    <a:pt x="104" y="80"/>
                  </a:lnTo>
                  <a:lnTo>
                    <a:pt x="69" y="80"/>
                  </a:lnTo>
                  <a:lnTo>
                    <a:pt x="17" y="80"/>
                  </a:lnTo>
                  <a:lnTo>
                    <a:pt x="0" y="47"/>
                  </a:lnTo>
                  <a:lnTo>
                    <a:pt x="17" y="17"/>
                  </a:lnTo>
                  <a:lnTo>
                    <a:pt x="35" y="0"/>
                  </a:lnTo>
                  <a:lnTo>
                    <a:pt x="69" y="0"/>
                  </a:lnTo>
                  <a:lnTo>
                    <a:pt x="121" y="17"/>
                  </a:lnTo>
                  <a:lnTo>
                    <a:pt x="138" y="47"/>
                  </a:lnTo>
                  <a:lnTo>
                    <a:pt x="173" y="113"/>
                  </a:lnTo>
                  <a:lnTo>
                    <a:pt x="104" y="113"/>
                  </a:lnTo>
                  <a:lnTo>
                    <a:pt x="17" y="113"/>
                  </a:lnTo>
                  <a:lnTo>
                    <a:pt x="17" y="95"/>
                  </a:lnTo>
                  <a:close/>
                </a:path>
              </a:pathLst>
            </a:custGeom>
            <a:solidFill>
              <a:srgbClr val="00B050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08" name="Freeform 311">
              <a:extLst>
                <a:ext uri="{FF2B5EF4-FFF2-40B4-BE49-F238E27FC236}">
                  <a16:creationId xmlns:a16="http://schemas.microsoft.com/office/drawing/2014/main" id="{1689E32B-07E0-539E-793B-B01F71790D73}"/>
                </a:ext>
              </a:extLst>
            </p:cNvPr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5331956" y="4560050"/>
              <a:ext cx="78772" cy="128313"/>
            </a:xfrm>
            <a:custGeom>
              <a:avLst/>
              <a:gdLst>
                <a:gd name="T0" fmla="*/ 0 w 104"/>
                <a:gd name="T1" fmla="*/ 9407 h 162"/>
                <a:gd name="T2" fmla="*/ 0 w 104"/>
                <a:gd name="T3" fmla="*/ 9407 h 162"/>
                <a:gd name="T4" fmla="*/ 0 w 104"/>
                <a:gd name="T5" fmla="*/ 3136 h 162"/>
                <a:gd name="T6" fmla="*/ 0 w 104"/>
                <a:gd name="T7" fmla="*/ 0 h 162"/>
                <a:gd name="T8" fmla="*/ 14288 w 104"/>
                <a:gd name="T9" fmla="*/ 0 h 162"/>
                <a:gd name="T10" fmla="*/ 17463 w 104"/>
                <a:gd name="T11" fmla="*/ 12543 h 162"/>
                <a:gd name="T12" fmla="*/ 20638 w 104"/>
                <a:gd name="T13" fmla="*/ 21951 h 162"/>
                <a:gd name="T14" fmla="*/ 20638 w 104"/>
                <a:gd name="T15" fmla="*/ 25086 h 162"/>
                <a:gd name="T16" fmla="*/ 3969 w 104"/>
                <a:gd name="T17" fmla="*/ 31358 h 162"/>
                <a:gd name="T18" fmla="*/ 0 w 104"/>
                <a:gd name="T19" fmla="*/ 31358 h 162"/>
                <a:gd name="T20" fmla="*/ 0 w 104"/>
                <a:gd name="T21" fmla="*/ 21951 h 162"/>
                <a:gd name="T22" fmla="*/ 3969 w 104"/>
                <a:gd name="T23" fmla="*/ 15679 h 162"/>
                <a:gd name="T24" fmla="*/ 0 w 104"/>
                <a:gd name="T25" fmla="*/ 9407 h 1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04"/>
                <a:gd name="T40" fmla="*/ 0 h 162"/>
                <a:gd name="T41" fmla="*/ 104 w 104"/>
                <a:gd name="T42" fmla="*/ 162 h 16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04" h="162">
                  <a:moveTo>
                    <a:pt x="0" y="48"/>
                  </a:moveTo>
                  <a:lnTo>
                    <a:pt x="0" y="4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69" y="0"/>
                  </a:lnTo>
                  <a:lnTo>
                    <a:pt x="87" y="66"/>
                  </a:lnTo>
                  <a:lnTo>
                    <a:pt x="104" y="114"/>
                  </a:lnTo>
                  <a:lnTo>
                    <a:pt x="104" y="129"/>
                  </a:lnTo>
                  <a:lnTo>
                    <a:pt x="18" y="162"/>
                  </a:lnTo>
                  <a:lnTo>
                    <a:pt x="0" y="162"/>
                  </a:lnTo>
                  <a:lnTo>
                    <a:pt x="0" y="114"/>
                  </a:lnTo>
                  <a:lnTo>
                    <a:pt x="18" y="81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00B050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09" name="Freeform 312">
              <a:extLst>
                <a:ext uri="{FF2B5EF4-FFF2-40B4-BE49-F238E27FC236}">
                  <a16:creationId xmlns:a16="http://schemas.microsoft.com/office/drawing/2014/main" id="{4A06DA91-C94F-D18D-EE69-651F20F05FBE}"/>
                </a:ext>
              </a:extLst>
            </p:cNvPr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5448539" y="4510059"/>
              <a:ext cx="237892" cy="191636"/>
            </a:xfrm>
            <a:custGeom>
              <a:avLst/>
              <a:gdLst>
                <a:gd name="T0" fmla="*/ 30859 w 317"/>
                <a:gd name="T1" fmla="*/ 45244 h 240"/>
                <a:gd name="T2" fmla="*/ 30859 w 317"/>
                <a:gd name="T3" fmla="*/ 45244 h 240"/>
                <a:gd name="T4" fmla="*/ 37980 w 317"/>
                <a:gd name="T5" fmla="*/ 35719 h 240"/>
                <a:gd name="T6" fmla="*/ 41145 w 317"/>
                <a:gd name="T7" fmla="*/ 35719 h 240"/>
                <a:gd name="T8" fmla="*/ 45101 w 317"/>
                <a:gd name="T9" fmla="*/ 38100 h 240"/>
                <a:gd name="T10" fmla="*/ 48266 w 317"/>
                <a:gd name="T11" fmla="*/ 35719 h 240"/>
                <a:gd name="T12" fmla="*/ 55387 w 317"/>
                <a:gd name="T13" fmla="*/ 26194 h 240"/>
                <a:gd name="T14" fmla="*/ 58552 w 317"/>
                <a:gd name="T15" fmla="*/ 16669 h 240"/>
                <a:gd name="T16" fmla="*/ 62508 w 317"/>
                <a:gd name="T17" fmla="*/ 9525 h 240"/>
                <a:gd name="T18" fmla="*/ 62508 w 317"/>
                <a:gd name="T19" fmla="*/ 7144 h 240"/>
                <a:gd name="T20" fmla="*/ 62508 w 317"/>
                <a:gd name="T21" fmla="*/ 3175 h 240"/>
                <a:gd name="T22" fmla="*/ 58552 w 317"/>
                <a:gd name="T23" fmla="*/ 0 h 240"/>
                <a:gd name="T24" fmla="*/ 55387 w 317"/>
                <a:gd name="T25" fmla="*/ 0 h 240"/>
                <a:gd name="T26" fmla="*/ 52222 w 317"/>
                <a:gd name="T27" fmla="*/ 3175 h 240"/>
                <a:gd name="T28" fmla="*/ 41145 w 317"/>
                <a:gd name="T29" fmla="*/ 3175 h 240"/>
                <a:gd name="T30" fmla="*/ 34815 w 317"/>
                <a:gd name="T31" fmla="*/ 7144 h 240"/>
                <a:gd name="T32" fmla="*/ 27694 w 317"/>
                <a:gd name="T33" fmla="*/ 3175 h 240"/>
                <a:gd name="T34" fmla="*/ 23737 w 317"/>
                <a:gd name="T35" fmla="*/ 3175 h 240"/>
                <a:gd name="T36" fmla="*/ 13451 w 317"/>
                <a:gd name="T37" fmla="*/ 0 h 240"/>
                <a:gd name="T38" fmla="*/ 10286 w 317"/>
                <a:gd name="T39" fmla="*/ 0 h 240"/>
                <a:gd name="T40" fmla="*/ 3165 w 317"/>
                <a:gd name="T41" fmla="*/ 7144 h 240"/>
                <a:gd name="T42" fmla="*/ 3165 w 317"/>
                <a:gd name="T43" fmla="*/ 9525 h 240"/>
                <a:gd name="T44" fmla="*/ 3165 w 317"/>
                <a:gd name="T45" fmla="*/ 16669 h 240"/>
                <a:gd name="T46" fmla="*/ 0 w 317"/>
                <a:gd name="T47" fmla="*/ 28575 h 240"/>
                <a:gd name="T48" fmla="*/ 0 w 317"/>
                <a:gd name="T49" fmla="*/ 38100 h 240"/>
                <a:gd name="T50" fmla="*/ 10286 w 317"/>
                <a:gd name="T51" fmla="*/ 38100 h 240"/>
                <a:gd name="T52" fmla="*/ 10286 w 317"/>
                <a:gd name="T53" fmla="*/ 41275 h 240"/>
                <a:gd name="T54" fmla="*/ 13451 w 317"/>
                <a:gd name="T55" fmla="*/ 47625 h 240"/>
                <a:gd name="T56" fmla="*/ 17407 w 317"/>
                <a:gd name="T57" fmla="*/ 47625 h 240"/>
                <a:gd name="T58" fmla="*/ 30859 w 317"/>
                <a:gd name="T59" fmla="*/ 47625 h 240"/>
                <a:gd name="T60" fmla="*/ 30859 w 317"/>
                <a:gd name="T61" fmla="*/ 45244 h 24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317"/>
                <a:gd name="T94" fmla="*/ 0 h 240"/>
                <a:gd name="T95" fmla="*/ 317 w 317"/>
                <a:gd name="T96" fmla="*/ 240 h 24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317" h="240">
                  <a:moveTo>
                    <a:pt x="159" y="225"/>
                  </a:moveTo>
                  <a:lnTo>
                    <a:pt x="159" y="225"/>
                  </a:lnTo>
                  <a:lnTo>
                    <a:pt x="194" y="177"/>
                  </a:lnTo>
                  <a:lnTo>
                    <a:pt x="211" y="177"/>
                  </a:lnTo>
                  <a:lnTo>
                    <a:pt x="228" y="192"/>
                  </a:lnTo>
                  <a:lnTo>
                    <a:pt x="246" y="177"/>
                  </a:lnTo>
                  <a:lnTo>
                    <a:pt x="282" y="129"/>
                  </a:lnTo>
                  <a:lnTo>
                    <a:pt x="299" y="81"/>
                  </a:lnTo>
                  <a:lnTo>
                    <a:pt x="317" y="48"/>
                  </a:lnTo>
                  <a:lnTo>
                    <a:pt x="317" y="33"/>
                  </a:lnTo>
                  <a:lnTo>
                    <a:pt x="317" y="15"/>
                  </a:lnTo>
                  <a:lnTo>
                    <a:pt x="299" y="0"/>
                  </a:lnTo>
                  <a:lnTo>
                    <a:pt x="282" y="0"/>
                  </a:lnTo>
                  <a:lnTo>
                    <a:pt x="265" y="15"/>
                  </a:lnTo>
                  <a:lnTo>
                    <a:pt x="211" y="15"/>
                  </a:lnTo>
                  <a:lnTo>
                    <a:pt x="177" y="33"/>
                  </a:lnTo>
                  <a:lnTo>
                    <a:pt x="142" y="15"/>
                  </a:lnTo>
                  <a:lnTo>
                    <a:pt x="123" y="15"/>
                  </a:lnTo>
                  <a:lnTo>
                    <a:pt x="71" y="0"/>
                  </a:lnTo>
                  <a:lnTo>
                    <a:pt x="54" y="0"/>
                  </a:lnTo>
                  <a:lnTo>
                    <a:pt x="19" y="33"/>
                  </a:lnTo>
                  <a:lnTo>
                    <a:pt x="19" y="48"/>
                  </a:lnTo>
                  <a:lnTo>
                    <a:pt x="19" y="81"/>
                  </a:lnTo>
                  <a:lnTo>
                    <a:pt x="0" y="144"/>
                  </a:lnTo>
                  <a:lnTo>
                    <a:pt x="0" y="192"/>
                  </a:lnTo>
                  <a:lnTo>
                    <a:pt x="54" y="192"/>
                  </a:lnTo>
                  <a:lnTo>
                    <a:pt x="54" y="207"/>
                  </a:lnTo>
                  <a:lnTo>
                    <a:pt x="71" y="240"/>
                  </a:lnTo>
                  <a:lnTo>
                    <a:pt x="88" y="240"/>
                  </a:lnTo>
                  <a:lnTo>
                    <a:pt x="159" y="240"/>
                  </a:lnTo>
                  <a:lnTo>
                    <a:pt x="159" y="225"/>
                  </a:lnTo>
                  <a:close/>
                </a:path>
              </a:pathLst>
            </a:custGeom>
            <a:solidFill>
              <a:srgbClr val="00B050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10" name="Freeform 313">
              <a:extLst>
                <a:ext uri="{FF2B5EF4-FFF2-40B4-BE49-F238E27FC236}">
                  <a16:creationId xmlns:a16="http://schemas.microsoft.com/office/drawing/2014/main" id="{0CA8C375-A313-16F8-50C6-56F8AE3BDEB0}"/>
                </a:ext>
              </a:extLst>
            </p:cNvPr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5410728" y="4535055"/>
              <a:ext cx="53565" cy="128312"/>
            </a:xfrm>
            <a:custGeom>
              <a:avLst/>
              <a:gdLst>
                <a:gd name="T0" fmla="*/ 7247 w 69"/>
                <a:gd name="T1" fmla="*/ 3195 h 159"/>
                <a:gd name="T2" fmla="*/ 7247 w 69"/>
                <a:gd name="T3" fmla="*/ 3195 h 159"/>
                <a:gd name="T4" fmla="*/ 0 w 69"/>
                <a:gd name="T5" fmla="*/ 6390 h 159"/>
                <a:gd name="T6" fmla="*/ 0 w 69"/>
                <a:gd name="T7" fmla="*/ 9585 h 159"/>
                <a:gd name="T8" fmla="*/ 4026 w 69"/>
                <a:gd name="T9" fmla="*/ 12780 h 159"/>
                <a:gd name="T10" fmla="*/ 4026 w 69"/>
                <a:gd name="T11" fmla="*/ 19170 h 159"/>
                <a:gd name="T12" fmla="*/ 4026 w 69"/>
                <a:gd name="T13" fmla="*/ 31950 h 159"/>
                <a:gd name="T14" fmla="*/ 10468 w 69"/>
                <a:gd name="T15" fmla="*/ 31950 h 159"/>
                <a:gd name="T16" fmla="*/ 10468 w 69"/>
                <a:gd name="T17" fmla="*/ 22365 h 159"/>
                <a:gd name="T18" fmla="*/ 14495 w 69"/>
                <a:gd name="T19" fmla="*/ 9585 h 159"/>
                <a:gd name="T20" fmla="*/ 14495 w 69"/>
                <a:gd name="T21" fmla="*/ 3195 h 159"/>
                <a:gd name="T22" fmla="*/ 10468 w 69"/>
                <a:gd name="T23" fmla="*/ 0 h 159"/>
                <a:gd name="T24" fmla="*/ 7247 w 69"/>
                <a:gd name="T25" fmla="*/ 0 h 159"/>
                <a:gd name="T26" fmla="*/ 7247 w 69"/>
                <a:gd name="T27" fmla="*/ 3195 h 15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69"/>
                <a:gd name="T43" fmla="*/ 0 h 159"/>
                <a:gd name="T44" fmla="*/ 69 w 69"/>
                <a:gd name="T45" fmla="*/ 159 h 15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69" h="159">
                  <a:moveTo>
                    <a:pt x="35" y="15"/>
                  </a:moveTo>
                  <a:lnTo>
                    <a:pt x="35" y="15"/>
                  </a:lnTo>
                  <a:lnTo>
                    <a:pt x="0" y="30"/>
                  </a:lnTo>
                  <a:lnTo>
                    <a:pt x="0" y="48"/>
                  </a:lnTo>
                  <a:lnTo>
                    <a:pt x="17" y="63"/>
                  </a:lnTo>
                  <a:lnTo>
                    <a:pt x="17" y="96"/>
                  </a:lnTo>
                  <a:lnTo>
                    <a:pt x="17" y="159"/>
                  </a:lnTo>
                  <a:lnTo>
                    <a:pt x="52" y="159"/>
                  </a:lnTo>
                  <a:lnTo>
                    <a:pt x="52" y="111"/>
                  </a:lnTo>
                  <a:lnTo>
                    <a:pt x="69" y="48"/>
                  </a:lnTo>
                  <a:lnTo>
                    <a:pt x="69" y="15"/>
                  </a:lnTo>
                  <a:lnTo>
                    <a:pt x="52" y="0"/>
                  </a:lnTo>
                  <a:lnTo>
                    <a:pt x="35" y="0"/>
                  </a:lnTo>
                  <a:lnTo>
                    <a:pt x="35" y="15"/>
                  </a:lnTo>
                </a:path>
              </a:pathLst>
            </a:custGeom>
            <a:solidFill>
              <a:srgbClr val="00B050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11" name="Freeform 314">
              <a:extLst>
                <a:ext uri="{FF2B5EF4-FFF2-40B4-BE49-F238E27FC236}">
                  <a16:creationId xmlns:a16="http://schemas.microsoft.com/office/drawing/2014/main" id="{7439A3AA-D639-FD6D-E0AD-2118F8A6F273}"/>
                </a:ext>
              </a:extLst>
            </p:cNvPr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5083035" y="4535055"/>
              <a:ext cx="143365" cy="101649"/>
            </a:xfrm>
            <a:custGeom>
              <a:avLst/>
              <a:gdLst>
                <a:gd name="T0" fmla="*/ 34925 w 190"/>
                <a:gd name="T1" fmla="*/ 26610 h 126"/>
                <a:gd name="T2" fmla="*/ 34925 w 190"/>
                <a:gd name="T3" fmla="*/ 26610 h 126"/>
                <a:gd name="T4" fmla="*/ 38100 w 190"/>
                <a:gd name="T5" fmla="*/ 26610 h 126"/>
                <a:gd name="T6" fmla="*/ 38100 w 190"/>
                <a:gd name="T7" fmla="*/ 22578 h 126"/>
                <a:gd name="T8" fmla="*/ 38100 w 190"/>
                <a:gd name="T9" fmla="*/ 20159 h 126"/>
                <a:gd name="T10" fmla="*/ 38100 w 190"/>
                <a:gd name="T11" fmla="*/ 16127 h 126"/>
                <a:gd name="T12" fmla="*/ 38100 w 190"/>
                <a:gd name="T13" fmla="*/ 12902 h 126"/>
                <a:gd name="T14" fmla="*/ 30956 w 190"/>
                <a:gd name="T15" fmla="*/ 0 h 126"/>
                <a:gd name="T16" fmla="*/ 23813 w 190"/>
                <a:gd name="T17" fmla="*/ 3225 h 126"/>
                <a:gd name="T18" fmla="*/ 17463 w 190"/>
                <a:gd name="T19" fmla="*/ 3225 h 126"/>
                <a:gd name="T20" fmla="*/ 20638 w 190"/>
                <a:gd name="T21" fmla="*/ 0 h 126"/>
                <a:gd name="T22" fmla="*/ 7144 w 190"/>
                <a:gd name="T23" fmla="*/ 0 h 126"/>
                <a:gd name="T24" fmla="*/ 7144 w 190"/>
                <a:gd name="T25" fmla="*/ 3225 h 126"/>
                <a:gd name="T26" fmla="*/ 0 w 190"/>
                <a:gd name="T27" fmla="*/ 9676 h 126"/>
                <a:gd name="T28" fmla="*/ 10319 w 190"/>
                <a:gd name="T29" fmla="*/ 16127 h 126"/>
                <a:gd name="T30" fmla="*/ 14288 w 190"/>
                <a:gd name="T31" fmla="*/ 12902 h 126"/>
                <a:gd name="T32" fmla="*/ 17463 w 190"/>
                <a:gd name="T33" fmla="*/ 12902 h 126"/>
                <a:gd name="T34" fmla="*/ 23813 w 190"/>
                <a:gd name="T35" fmla="*/ 20159 h 126"/>
                <a:gd name="T36" fmla="*/ 23813 w 190"/>
                <a:gd name="T37" fmla="*/ 22578 h 126"/>
                <a:gd name="T38" fmla="*/ 27781 w 190"/>
                <a:gd name="T39" fmla="*/ 20159 h 126"/>
                <a:gd name="T40" fmla="*/ 30956 w 190"/>
                <a:gd name="T41" fmla="*/ 26610 h 126"/>
                <a:gd name="T42" fmla="*/ 34925 w 190"/>
                <a:gd name="T43" fmla="*/ 26610 h 12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90"/>
                <a:gd name="T67" fmla="*/ 0 h 126"/>
                <a:gd name="T68" fmla="*/ 190 w 190"/>
                <a:gd name="T69" fmla="*/ 126 h 12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90" h="126">
                  <a:moveTo>
                    <a:pt x="173" y="126"/>
                  </a:moveTo>
                  <a:lnTo>
                    <a:pt x="173" y="126"/>
                  </a:lnTo>
                  <a:lnTo>
                    <a:pt x="190" y="126"/>
                  </a:lnTo>
                  <a:lnTo>
                    <a:pt x="190" y="111"/>
                  </a:lnTo>
                  <a:lnTo>
                    <a:pt x="190" y="96"/>
                  </a:lnTo>
                  <a:lnTo>
                    <a:pt x="190" y="78"/>
                  </a:lnTo>
                  <a:lnTo>
                    <a:pt x="190" y="63"/>
                  </a:lnTo>
                  <a:lnTo>
                    <a:pt x="156" y="0"/>
                  </a:lnTo>
                  <a:lnTo>
                    <a:pt x="121" y="15"/>
                  </a:lnTo>
                  <a:lnTo>
                    <a:pt x="87" y="15"/>
                  </a:lnTo>
                  <a:lnTo>
                    <a:pt x="104" y="0"/>
                  </a:lnTo>
                  <a:lnTo>
                    <a:pt x="35" y="0"/>
                  </a:lnTo>
                  <a:lnTo>
                    <a:pt x="35" y="15"/>
                  </a:lnTo>
                  <a:lnTo>
                    <a:pt x="0" y="48"/>
                  </a:lnTo>
                  <a:lnTo>
                    <a:pt x="52" y="78"/>
                  </a:lnTo>
                  <a:lnTo>
                    <a:pt x="69" y="63"/>
                  </a:lnTo>
                  <a:lnTo>
                    <a:pt x="87" y="63"/>
                  </a:lnTo>
                  <a:lnTo>
                    <a:pt x="121" y="96"/>
                  </a:lnTo>
                  <a:lnTo>
                    <a:pt x="121" y="111"/>
                  </a:lnTo>
                  <a:lnTo>
                    <a:pt x="138" y="96"/>
                  </a:lnTo>
                  <a:lnTo>
                    <a:pt x="156" y="126"/>
                  </a:lnTo>
                  <a:lnTo>
                    <a:pt x="173" y="126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12" name="Freeform 315">
              <a:extLst>
                <a:ext uri="{FF2B5EF4-FFF2-40B4-BE49-F238E27FC236}">
                  <a16:creationId xmlns:a16="http://schemas.microsoft.com/office/drawing/2014/main" id="{522CC689-6E0E-A7CC-5747-315CD10E926A}"/>
                </a:ext>
              </a:extLst>
            </p:cNvPr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6800271" y="3973480"/>
              <a:ext cx="600244" cy="651560"/>
            </a:xfrm>
            <a:custGeom>
              <a:avLst/>
              <a:gdLst>
                <a:gd name="connsiteX0" fmla="*/ 9144 w 10000"/>
                <a:gd name="connsiteY0" fmla="*/ 3307 h 10599"/>
                <a:gd name="connsiteX1" fmla="*/ 9144 w 10000"/>
                <a:gd name="connsiteY1" fmla="*/ 3307 h 10599"/>
                <a:gd name="connsiteX2" fmla="*/ 9572 w 10000"/>
                <a:gd name="connsiteY2" fmla="*/ 3307 h 10599"/>
                <a:gd name="connsiteX3" fmla="*/ 10000 w 10000"/>
                <a:gd name="connsiteY3" fmla="*/ 3724 h 10599"/>
                <a:gd name="connsiteX4" fmla="*/ 10000 w 10000"/>
                <a:gd name="connsiteY4" fmla="*/ 4167 h 10599"/>
                <a:gd name="connsiteX5" fmla="*/ 9572 w 10000"/>
                <a:gd name="connsiteY5" fmla="*/ 4167 h 10599"/>
                <a:gd name="connsiteX6" fmla="*/ 9345 w 10000"/>
                <a:gd name="connsiteY6" fmla="*/ 4349 h 10599"/>
                <a:gd name="connsiteX7" fmla="*/ 8917 w 10000"/>
                <a:gd name="connsiteY7" fmla="*/ 5182 h 10599"/>
                <a:gd name="connsiteX8" fmla="*/ 8690 w 10000"/>
                <a:gd name="connsiteY8" fmla="*/ 5417 h 10599"/>
                <a:gd name="connsiteX9" fmla="*/ 8489 w 10000"/>
                <a:gd name="connsiteY9" fmla="*/ 5807 h 10599"/>
                <a:gd name="connsiteX10" fmla="*/ 8489 w 10000"/>
                <a:gd name="connsiteY10" fmla="*/ 6042 h 10599"/>
                <a:gd name="connsiteX11" fmla="*/ 8262 w 10000"/>
                <a:gd name="connsiteY11" fmla="*/ 5417 h 10599"/>
                <a:gd name="connsiteX12" fmla="*/ 8262 w 10000"/>
                <a:gd name="connsiteY12" fmla="*/ 5182 h 10599"/>
                <a:gd name="connsiteX13" fmla="*/ 8035 w 10000"/>
                <a:gd name="connsiteY13" fmla="*/ 5417 h 10599"/>
                <a:gd name="connsiteX14" fmla="*/ 7834 w 10000"/>
                <a:gd name="connsiteY14" fmla="*/ 5417 h 10599"/>
                <a:gd name="connsiteX15" fmla="*/ 7834 w 10000"/>
                <a:gd name="connsiteY15" fmla="*/ 5182 h 10599"/>
                <a:gd name="connsiteX16" fmla="*/ 8262 w 10000"/>
                <a:gd name="connsiteY16" fmla="*/ 4792 h 10599"/>
                <a:gd name="connsiteX17" fmla="*/ 7406 w 10000"/>
                <a:gd name="connsiteY17" fmla="*/ 4792 h 10599"/>
                <a:gd name="connsiteX18" fmla="*/ 7406 w 10000"/>
                <a:gd name="connsiteY18" fmla="*/ 4349 h 10599"/>
                <a:gd name="connsiteX19" fmla="*/ 7179 w 10000"/>
                <a:gd name="connsiteY19" fmla="*/ 4349 h 10599"/>
                <a:gd name="connsiteX20" fmla="*/ 6952 w 10000"/>
                <a:gd name="connsiteY20" fmla="*/ 4349 h 10599"/>
                <a:gd name="connsiteX21" fmla="*/ 6952 w 10000"/>
                <a:gd name="connsiteY21" fmla="*/ 4557 h 10599"/>
                <a:gd name="connsiteX22" fmla="*/ 6751 w 10000"/>
                <a:gd name="connsiteY22" fmla="*/ 4974 h 10599"/>
                <a:gd name="connsiteX23" fmla="*/ 6952 w 10000"/>
                <a:gd name="connsiteY23" fmla="*/ 4974 h 10599"/>
                <a:gd name="connsiteX24" fmla="*/ 7179 w 10000"/>
                <a:gd name="connsiteY24" fmla="*/ 6042 h 10599"/>
                <a:gd name="connsiteX25" fmla="*/ 6952 w 10000"/>
                <a:gd name="connsiteY25" fmla="*/ 6042 h 10599"/>
                <a:gd name="connsiteX26" fmla="*/ 6952 w 10000"/>
                <a:gd name="connsiteY26" fmla="*/ 5807 h 10599"/>
                <a:gd name="connsiteX27" fmla="*/ 6524 w 10000"/>
                <a:gd name="connsiteY27" fmla="*/ 6042 h 10599"/>
                <a:gd name="connsiteX28" fmla="*/ 6297 w 10000"/>
                <a:gd name="connsiteY28" fmla="*/ 6667 h 10599"/>
                <a:gd name="connsiteX29" fmla="*/ 5869 w 10000"/>
                <a:gd name="connsiteY29" fmla="*/ 6849 h 10599"/>
                <a:gd name="connsiteX30" fmla="*/ 4786 w 10000"/>
                <a:gd name="connsiteY30" fmla="*/ 7682 h 10599"/>
                <a:gd name="connsiteX31" fmla="*/ 4786 w 10000"/>
                <a:gd name="connsiteY31" fmla="*/ 7917 h 10599"/>
                <a:gd name="connsiteX32" fmla="*/ 4559 w 10000"/>
                <a:gd name="connsiteY32" fmla="*/ 7917 h 10599"/>
                <a:gd name="connsiteX33" fmla="*/ 4358 w 10000"/>
                <a:gd name="connsiteY33" fmla="*/ 8099 h 10599"/>
                <a:gd name="connsiteX34" fmla="*/ 4131 w 10000"/>
                <a:gd name="connsiteY34" fmla="*/ 8099 h 10599"/>
                <a:gd name="connsiteX35" fmla="*/ 4131 w 10000"/>
                <a:gd name="connsiteY35" fmla="*/ 8307 h 10599"/>
                <a:gd name="connsiteX36" fmla="*/ 4131 w 10000"/>
                <a:gd name="connsiteY36" fmla="*/ 8932 h 10599"/>
                <a:gd name="connsiteX37" fmla="*/ 3904 w 10000"/>
                <a:gd name="connsiteY37" fmla="*/ 9349 h 10599"/>
                <a:gd name="connsiteX38" fmla="*/ 3904 w 10000"/>
                <a:gd name="connsiteY38" fmla="*/ 9974 h 10599"/>
                <a:gd name="connsiteX39" fmla="*/ 3703 w 10000"/>
                <a:gd name="connsiteY39" fmla="*/ 10182 h 10599"/>
                <a:gd name="connsiteX40" fmla="*/ 3476 w 10000"/>
                <a:gd name="connsiteY40" fmla="*/ 10417 h 10599"/>
                <a:gd name="connsiteX41" fmla="*/ 3249 w 10000"/>
                <a:gd name="connsiteY41" fmla="*/ 10599 h 10599"/>
                <a:gd name="connsiteX42" fmla="*/ 2821 w 10000"/>
                <a:gd name="connsiteY42" fmla="*/ 10417 h 10599"/>
                <a:gd name="connsiteX43" fmla="*/ 2166 w 10000"/>
                <a:gd name="connsiteY43" fmla="*/ 8542 h 10599"/>
                <a:gd name="connsiteX44" fmla="*/ 1738 w 10000"/>
                <a:gd name="connsiteY44" fmla="*/ 7917 h 10599"/>
                <a:gd name="connsiteX45" fmla="*/ 1511 w 10000"/>
                <a:gd name="connsiteY45" fmla="*/ 6667 h 10599"/>
                <a:gd name="connsiteX46" fmla="*/ 1511 w 10000"/>
                <a:gd name="connsiteY46" fmla="*/ 5807 h 10599"/>
                <a:gd name="connsiteX47" fmla="*/ 1310 w 10000"/>
                <a:gd name="connsiteY47" fmla="*/ 6224 h 10599"/>
                <a:gd name="connsiteX48" fmla="*/ 856 w 10000"/>
                <a:gd name="connsiteY48" fmla="*/ 6432 h 10599"/>
                <a:gd name="connsiteX49" fmla="*/ 202 w 10000"/>
                <a:gd name="connsiteY49" fmla="*/ 5807 h 10599"/>
                <a:gd name="connsiteX50" fmla="*/ 655 w 10000"/>
                <a:gd name="connsiteY50" fmla="*/ 5807 h 10599"/>
                <a:gd name="connsiteX51" fmla="*/ 655 w 10000"/>
                <a:gd name="connsiteY51" fmla="*/ 5599 h 10599"/>
                <a:gd name="connsiteX52" fmla="*/ 428 w 10000"/>
                <a:gd name="connsiteY52" fmla="*/ 5599 h 10599"/>
                <a:gd name="connsiteX53" fmla="*/ 0 w 10000"/>
                <a:gd name="connsiteY53" fmla="*/ 5417 h 10599"/>
                <a:gd name="connsiteX54" fmla="*/ 202 w 10000"/>
                <a:gd name="connsiteY54" fmla="*/ 5182 h 10599"/>
                <a:gd name="connsiteX55" fmla="*/ 856 w 10000"/>
                <a:gd name="connsiteY55" fmla="*/ 5182 h 10599"/>
                <a:gd name="connsiteX56" fmla="*/ 856 w 10000"/>
                <a:gd name="connsiteY56" fmla="*/ 4974 h 10599"/>
                <a:gd name="connsiteX57" fmla="*/ 856 w 10000"/>
                <a:gd name="connsiteY57" fmla="*/ 4557 h 10599"/>
                <a:gd name="connsiteX58" fmla="*/ 655 w 10000"/>
                <a:gd name="connsiteY58" fmla="*/ 4557 h 10599"/>
                <a:gd name="connsiteX59" fmla="*/ 655 w 10000"/>
                <a:gd name="connsiteY59" fmla="*/ 4349 h 10599"/>
                <a:gd name="connsiteX60" fmla="*/ 428 w 10000"/>
                <a:gd name="connsiteY60" fmla="*/ 4349 h 10599"/>
                <a:gd name="connsiteX61" fmla="*/ 428 w 10000"/>
                <a:gd name="connsiteY61" fmla="*/ 3932 h 10599"/>
                <a:gd name="connsiteX62" fmla="*/ 655 w 10000"/>
                <a:gd name="connsiteY62" fmla="*/ 3724 h 10599"/>
                <a:gd name="connsiteX63" fmla="*/ 856 w 10000"/>
                <a:gd name="connsiteY63" fmla="*/ 3932 h 10599"/>
                <a:gd name="connsiteX64" fmla="*/ 1310 w 10000"/>
                <a:gd name="connsiteY64" fmla="*/ 3724 h 10599"/>
                <a:gd name="connsiteX65" fmla="*/ 2393 w 10000"/>
                <a:gd name="connsiteY65" fmla="*/ 2474 h 10599"/>
                <a:gd name="connsiteX66" fmla="*/ 2166 w 10000"/>
                <a:gd name="connsiteY66" fmla="*/ 2292 h 10599"/>
                <a:gd name="connsiteX67" fmla="*/ 2393 w 10000"/>
                <a:gd name="connsiteY67" fmla="*/ 2292 h 10599"/>
                <a:gd name="connsiteX68" fmla="*/ 2393 w 10000"/>
                <a:gd name="connsiteY68" fmla="*/ 2057 h 10599"/>
                <a:gd name="connsiteX69" fmla="*/ 1965 w 10000"/>
                <a:gd name="connsiteY69" fmla="*/ 1849 h 10599"/>
                <a:gd name="connsiteX70" fmla="*/ 2166 w 10000"/>
                <a:gd name="connsiteY70" fmla="*/ 1432 h 10599"/>
                <a:gd name="connsiteX71" fmla="*/ 1965 w 10000"/>
                <a:gd name="connsiteY71" fmla="*/ 1224 h 10599"/>
                <a:gd name="connsiteX72" fmla="*/ 1940 w 10000"/>
                <a:gd name="connsiteY72" fmla="*/ 417 h 10599"/>
                <a:gd name="connsiteX73" fmla="*/ 2596 w 10000"/>
                <a:gd name="connsiteY73" fmla="*/ 0 h 10599"/>
                <a:gd name="connsiteX74" fmla="*/ 3249 w 10000"/>
                <a:gd name="connsiteY74" fmla="*/ 807 h 10599"/>
                <a:gd name="connsiteX75" fmla="*/ 3904 w 10000"/>
                <a:gd name="connsiteY75" fmla="*/ 599 h 10599"/>
                <a:gd name="connsiteX76" fmla="*/ 4131 w 10000"/>
                <a:gd name="connsiteY76" fmla="*/ 807 h 10599"/>
                <a:gd name="connsiteX77" fmla="*/ 4131 w 10000"/>
                <a:gd name="connsiteY77" fmla="*/ 1224 h 10599"/>
                <a:gd name="connsiteX78" fmla="*/ 3703 w 10000"/>
                <a:gd name="connsiteY78" fmla="*/ 1667 h 10599"/>
                <a:gd name="connsiteX79" fmla="*/ 3904 w 10000"/>
                <a:gd name="connsiteY79" fmla="*/ 2057 h 10599"/>
                <a:gd name="connsiteX80" fmla="*/ 3476 w 10000"/>
                <a:gd name="connsiteY80" fmla="*/ 2057 h 10599"/>
                <a:gd name="connsiteX81" fmla="*/ 3703 w 10000"/>
                <a:gd name="connsiteY81" fmla="*/ 2682 h 10599"/>
                <a:gd name="connsiteX82" fmla="*/ 4358 w 10000"/>
                <a:gd name="connsiteY82" fmla="*/ 2917 h 10599"/>
                <a:gd name="connsiteX83" fmla="*/ 4131 w 10000"/>
                <a:gd name="connsiteY83" fmla="*/ 3542 h 10599"/>
                <a:gd name="connsiteX84" fmla="*/ 4559 w 10000"/>
                <a:gd name="connsiteY84" fmla="*/ 3724 h 10599"/>
                <a:gd name="connsiteX85" fmla="*/ 6524 w 10000"/>
                <a:gd name="connsiteY85" fmla="*/ 4349 h 10599"/>
                <a:gd name="connsiteX86" fmla="*/ 6751 w 10000"/>
                <a:gd name="connsiteY86" fmla="*/ 4349 h 10599"/>
                <a:gd name="connsiteX87" fmla="*/ 6751 w 10000"/>
                <a:gd name="connsiteY87" fmla="*/ 4167 h 10599"/>
                <a:gd name="connsiteX88" fmla="*/ 6751 w 10000"/>
                <a:gd name="connsiteY88" fmla="*/ 3724 h 10599"/>
                <a:gd name="connsiteX89" fmla="*/ 6952 w 10000"/>
                <a:gd name="connsiteY89" fmla="*/ 3724 h 10599"/>
                <a:gd name="connsiteX90" fmla="*/ 7179 w 10000"/>
                <a:gd name="connsiteY90" fmla="*/ 3932 h 10599"/>
                <a:gd name="connsiteX91" fmla="*/ 7179 w 10000"/>
                <a:gd name="connsiteY91" fmla="*/ 4167 h 10599"/>
                <a:gd name="connsiteX92" fmla="*/ 8035 w 10000"/>
                <a:gd name="connsiteY92" fmla="*/ 4167 h 10599"/>
                <a:gd name="connsiteX93" fmla="*/ 8262 w 10000"/>
                <a:gd name="connsiteY93" fmla="*/ 4167 h 10599"/>
                <a:gd name="connsiteX94" fmla="*/ 8035 w 10000"/>
                <a:gd name="connsiteY94" fmla="*/ 3724 h 10599"/>
                <a:gd name="connsiteX95" fmla="*/ 9144 w 10000"/>
                <a:gd name="connsiteY95" fmla="*/ 3307 h 10599"/>
                <a:gd name="connsiteX0" fmla="*/ 9144 w 10000"/>
                <a:gd name="connsiteY0" fmla="*/ 3307 h 10599"/>
                <a:gd name="connsiteX1" fmla="*/ 9144 w 10000"/>
                <a:gd name="connsiteY1" fmla="*/ 3307 h 10599"/>
                <a:gd name="connsiteX2" fmla="*/ 9572 w 10000"/>
                <a:gd name="connsiteY2" fmla="*/ 3307 h 10599"/>
                <a:gd name="connsiteX3" fmla="*/ 10000 w 10000"/>
                <a:gd name="connsiteY3" fmla="*/ 3724 h 10599"/>
                <a:gd name="connsiteX4" fmla="*/ 10000 w 10000"/>
                <a:gd name="connsiteY4" fmla="*/ 4167 h 10599"/>
                <a:gd name="connsiteX5" fmla="*/ 9572 w 10000"/>
                <a:gd name="connsiteY5" fmla="*/ 4167 h 10599"/>
                <a:gd name="connsiteX6" fmla="*/ 9345 w 10000"/>
                <a:gd name="connsiteY6" fmla="*/ 4349 h 10599"/>
                <a:gd name="connsiteX7" fmla="*/ 8917 w 10000"/>
                <a:gd name="connsiteY7" fmla="*/ 5182 h 10599"/>
                <a:gd name="connsiteX8" fmla="*/ 8690 w 10000"/>
                <a:gd name="connsiteY8" fmla="*/ 5417 h 10599"/>
                <a:gd name="connsiteX9" fmla="*/ 8489 w 10000"/>
                <a:gd name="connsiteY9" fmla="*/ 5807 h 10599"/>
                <a:gd name="connsiteX10" fmla="*/ 8489 w 10000"/>
                <a:gd name="connsiteY10" fmla="*/ 6042 h 10599"/>
                <a:gd name="connsiteX11" fmla="*/ 8262 w 10000"/>
                <a:gd name="connsiteY11" fmla="*/ 5417 h 10599"/>
                <a:gd name="connsiteX12" fmla="*/ 8262 w 10000"/>
                <a:gd name="connsiteY12" fmla="*/ 5182 h 10599"/>
                <a:gd name="connsiteX13" fmla="*/ 8035 w 10000"/>
                <a:gd name="connsiteY13" fmla="*/ 5417 h 10599"/>
                <a:gd name="connsiteX14" fmla="*/ 7834 w 10000"/>
                <a:gd name="connsiteY14" fmla="*/ 5417 h 10599"/>
                <a:gd name="connsiteX15" fmla="*/ 7834 w 10000"/>
                <a:gd name="connsiteY15" fmla="*/ 5182 h 10599"/>
                <a:gd name="connsiteX16" fmla="*/ 8262 w 10000"/>
                <a:gd name="connsiteY16" fmla="*/ 4792 h 10599"/>
                <a:gd name="connsiteX17" fmla="*/ 7406 w 10000"/>
                <a:gd name="connsiteY17" fmla="*/ 4792 h 10599"/>
                <a:gd name="connsiteX18" fmla="*/ 7406 w 10000"/>
                <a:gd name="connsiteY18" fmla="*/ 4349 h 10599"/>
                <a:gd name="connsiteX19" fmla="*/ 7179 w 10000"/>
                <a:gd name="connsiteY19" fmla="*/ 4349 h 10599"/>
                <a:gd name="connsiteX20" fmla="*/ 6952 w 10000"/>
                <a:gd name="connsiteY20" fmla="*/ 4349 h 10599"/>
                <a:gd name="connsiteX21" fmla="*/ 6952 w 10000"/>
                <a:gd name="connsiteY21" fmla="*/ 4557 h 10599"/>
                <a:gd name="connsiteX22" fmla="*/ 6751 w 10000"/>
                <a:gd name="connsiteY22" fmla="*/ 4974 h 10599"/>
                <a:gd name="connsiteX23" fmla="*/ 6952 w 10000"/>
                <a:gd name="connsiteY23" fmla="*/ 4974 h 10599"/>
                <a:gd name="connsiteX24" fmla="*/ 7179 w 10000"/>
                <a:gd name="connsiteY24" fmla="*/ 6042 h 10599"/>
                <a:gd name="connsiteX25" fmla="*/ 6952 w 10000"/>
                <a:gd name="connsiteY25" fmla="*/ 6042 h 10599"/>
                <a:gd name="connsiteX26" fmla="*/ 6952 w 10000"/>
                <a:gd name="connsiteY26" fmla="*/ 5807 h 10599"/>
                <a:gd name="connsiteX27" fmla="*/ 6524 w 10000"/>
                <a:gd name="connsiteY27" fmla="*/ 6042 h 10599"/>
                <a:gd name="connsiteX28" fmla="*/ 6297 w 10000"/>
                <a:gd name="connsiteY28" fmla="*/ 6667 h 10599"/>
                <a:gd name="connsiteX29" fmla="*/ 5869 w 10000"/>
                <a:gd name="connsiteY29" fmla="*/ 6849 h 10599"/>
                <a:gd name="connsiteX30" fmla="*/ 4786 w 10000"/>
                <a:gd name="connsiteY30" fmla="*/ 7682 h 10599"/>
                <a:gd name="connsiteX31" fmla="*/ 4786 w 10000"/>
                <a:gd name="connsiteY31" fmla="*/ 7917 h 10599"/>
                <a:gd name="connsiteX32" fmla="*/ 4559 w 10000"/>
                <a:gd name="connsiteY32" fmla="*/ 7917 h 10599"/>
                <a:gd name="connsiteX33" fmla="*/ 4358 w 10000"/>
                <a:gd name="connsiteY33" fmla="*/ 8099 h 10599"/>
                <a:gd name="connsiteX34" fmla="*/ 4131 w 10000"/>
                <a:gd name="connsiteY34" fmla="*/ 8099 h 10599"/>
                <a:gd name="connsiteX35" fmla="*/ 4131 w 10000"/>
                <a:gd name="connsiteY35" fmla="*/ 8307 h 10599"/>
                <a:gd name="connsiteX36" fmla="*/ 4131 w 10000"/>
                <a:gd name="connsiteY36" fmla="*/ 8932 h 10599"/>
                <a:gd name="connsiteX37" fmla="*/ 3904 w 10000"/>
                <a:gd name="connsiteY37" fmla="*/ 9349 h 10599"/>
                <a:gd name="connsiteX38" fmla="*/ 3904 w 10000"/>
                <a:gd name="connsiteY38" fmla="*/ 9974 h 10599"/>
                <a:gd name="connsiteX39" fmla="*/ 3703 w 10000"/>
                <a:gd name="connsiteY39" fmla="*/ 10182 h 10599"/>
                <a:gd name="connsiteX40" fmla="*/ 3476 w 10000"/>
                <a:gd name="connsiteY40" fmla="*/ 10417 h 10599"/>
                <a:gd name="connsiteX41" fmla="*/ 3249 w 10000"/>
                <a:gd name="connsiteY41" fmla="*/ 10599 h 10599"/>
                <a:gd name="connsiteX42" fmla="*/ 2821 w 10000"/>
                <a:gd name="connsiteY42" fmla="*/ 10417 h 10599"/>
                <a:gd name="connsiteX43" fmla="*/ 2166 w 10000"/>
                <a:gd name="connsiteY43" fmla="*/ 8542 h 10599"/>
                <a:gd name="connsiteX44" fmla="*/ 1738 w 10000"/>
                <a:gd name="connsiteY44" fmla="*/ 7917 h 10599"/>
                <a:gd name="connsiteX45" fmla="*/ 1511 w 10000"/>
                <a:gd name="connsiteY45" fmla="*/ 6667 h 10599"/>
                <a:gd name="connsiteX46" fmla="*/ 1511 w 10000"/>
                <a:gd name="connsiteY46" fmla="*/ 5807 h 10599"/>
                <a:gd name="connsiteX47" fmla="*/ 1310 w 10000"/>
                <a:gd name="connsiteY47" fmla="*/ 6224 h 10599"/>
                <a:gd name="connsiteX48" fmla="*/ 856 w 10000"/>
                <a:gd name="connsiteY48" fmla="*/ 6432 h 10599"/>
                <a:gd name="connsiteX49" fmla="*/ 202 w 10000"/>
                <a:gd name="connsiteY49" fmla="*/ 5807 h 10599"/>
                <a:gd name="connsiteX50" fmla="*/ 655 w 10000"/>
                <a:gd name="connsiteY50" fmla="*/ 5807 h 10599"/>
                <a:gd name="connsiteX51" fmla="*/ 655 w 10000"/>
                <a:gd name="connsiteY51" fmla="*/ 5599 h 10599"/>
                <a:gd name="connsiteX52" fmla="*/ 428 w 10000"/>
                <a:gd name="connsiteY52" fmla="*/ 5599 h 10599"/>
                <a:gd name="connsiteX53" fmla="*/ 0 w 10000"/>
                <a:gd name="connsiteY53" fmla="*/ 5417 h 10599"/>
                <a:gd name="connsiteX54" fmla="*/ 202 w 10000"/>
                <a:gd name="connsiteY54" fmla="*/ 5182 h 10599"/>
                <a:gd name="connsiteX55" fmla="*/ 856 w 10000"/>
                <a:gd name="connsiteY55" fmla="*/ 5182 h 10599"/>
                <a:gd name="connsiteX56" fmla="*/ 856 w 10000"/>
                <a:gd name="connsiteY56" fmla="*/ 4974 h 10599"/>
                <a:gd name="connsiteX57" fmla="*/ 856 w 10000"/>
                <a:gd name="connsiteY57" fmla="*/ 4557 h 10599"/>
                <a:gd name="connsiteX58" fmla="*/ 655 w 10000"/>
                <a:gd name="connsiteY58" fmla="*/ 4557 h 10599"/>
                <a:gd name="connsiteX59" fmla="*/ 655 w 10000"/>
                <a:gd name="connsiteY59" fmla="*/ 4349 h 10599"/>
                <a:gd name="connsiteX60" fmla="*/ 428 w 10000"/>
                <a:gd name="connsiteY60" fmla="*/ 4349 h 10599"/>
                <a:gd name="connsiteX61" fmla="*/ 428 w 10000"/>
                <a:gd name="connsiteY61" fmla="*/ 3932 h 10599"/>
                <a:gd name="connsiteX62" fmla="*/ 655 w 10000"/>
                <a:gd name="connsiteY62" fmla="*/ 3724 h 10599"/>
                <a:gd name="connsiteX63" fmla="*/ 856 w 10000"/>
                <a:gd name="connsiteY63" fmla="*/ 3932 h 10599"/>
                <a:gd name="connsiteX64" fmla="*/ 1310 w 10000"/>
                <a:gd name="connsiteY64" fmla="*/ 3724 h 10599"/>
                <a:gd name="connsiteX65" fmla="*/ 2393 w 10000"/>
                <a:gd name="connsiteY65" fmla="*/ 2474 h 10599"/>
                <a:gd name="connsiteX66" fmla="*/ 2166 w 10000"/>
                <a:gd name="connsiteY66" fmla="*/ 2292 h 10599"/>
                <a:gd name="connsiteX67" fmla="*/ 2393 w 10000"/>
                <a:gd name="connsiteY67" fmla="*/ 2292 h 10599"/>
                <a:gd name="connsiteX68" fmla="*/ 2393 w 10000"/>
                <a:gd name="connsiteY68" fmla="*/ 2057 h 10599"/>
                <a:gd name="connsiteX69" fmla="*/ 1965 w 10000"/>
                <a:gd name="connsiteY69" fmla="*/ 1849 h 10599"/>
                <a:gd name="connsiteX70" fmla="*/ 2166 w 10000"/>
                <a:gd name="connsiteY70" fmla="*/ 1432 h 10599"/>
                <a:gd name="connsiteX71" fmla="*/ 1965 w 10000"/>
                <a:gd name="connsiteY71" fmla="*/ 1224 h 10599"/>
                <a:gd name="connsiteX72" fmla="*/ 1940 w 10000"/>
                <a:gd name="connsiteY72" fmla="*/ 417 h 10599"/>
                <a:gd name="connsiteX73" fmla="*/ 2596 w 10000"/>
                <a:gd name="connsiteY73" fmla="*/ 0 h 10599"/>
                <a:gd name="connsiteX74" fmla="*/ 3382 w 10000"/>
                <a:gd name="connsiteY74" fmla="*/ 599 h 10599"/>
                <a:gd name="connsiteX75" fmla="*/ 3904 w 10000"/>
                <a:gd name="connsiteY75" fmla="*/ 599 h 10599"/>
                <a:gd name="connsiteX76" fmla="*/ 4131 w 10000"/>
                <a:gd name="connsiteY76" fmla="*/ 807 h 10599"/>
                <a:gd name="connsiteX77" fmla="*/ 4131 w 10000"/>
                <a:gd name="connsiteY77" fmla="*/ 1224 h 10599"/>
                <a:gd name="connsiteX78" fmla="*/ 3703 w 10000"/>
                <a:gd name="connsiteY78" fmla="*/ 1667 h 10599"/>
                <a:gd name="connsiteX79" fmla="*/ 3904 w 10000"/>
                <a:gd name="connsiteY79" fmla="*/ 2057 h 10599"/>
                <a:gd name="connsiteX80" fmla="*/ 3476 w 10000"/>
                <a:gd name="connsiteY80" fmla="*/ 2057 h 10599"/>
                <a:gd name="connsiteX81" fmla="*/ 3703 w 10000"/>
                <a:gd name="connsiteY81" fmla="*/ 2682 h 10599"/>
                <a:gd name="connsiteX82" fmla="*/ 4358 w 10000"/>
                <a:gd name="connsiteY82" fmla="*/ 2917 h 10599"/>
                <a:gd name="connsiteX83" fmla="*/ 4131 w 10000"/>
                <a:gd name="connsiteY83" fmla="*/ 3542 h 10599"/>
                <a:gd name="connsiteX84" fmla="*/ 4559 w 10000"/>
                <a:gd name="connsiteY84" fmla="*/ 3724 h 10599"/>
                <a:gd name="connsiteX85" fmla="*/ 6524 w 10000"/>
                <a:gd name="connsiteY85" fmla="*/ 4349 h 10599"/>
                <a:gd name="connsiteX86" fmla="*/ 6751 w 10000"/>
                <a:gd name="connsiteY86" fmla="*/ 4349 h 10599"/>
                <a:gd name="connsiteX87" fmla="*/ 6751 w 10000"/>
                <a:gd name="connsiteY87" fmla="*/ 4167 h 10599"/>
                <a:gd name="connsiteX88" fmla="*/ 6751 w 10000"/>
                <a:gd name="connsiteY88" fmla="*/ 3724 h 10599"/>
                <a:gd name="connsiteX89" fmla="*/ 6952 w 10000"/>
                <a:gd name="connsiteY89" fmla="*/ 3724 h 10599"/>
                <a:gd name="connsiteX90" fmla="*/ 7179 w 10000"/>
                <a:gd name="connsiteY90" fmla="*/ 3932 h 10599"/>
                <a:gd name="connsiteX91" fmla="*/ 7179 w 10000"/>
                <a:gd name="connsiteY91" fmla="*/ 4167 h 10599"/>
                <a:gd name="connsiteX92" fmla="*/ 8035 w 10000"/>
                <a:gd name="connsiteY92" fmla="*/ 4167 h 10599"/>
                <a:gd name="connsiteX93" fmla="*/ 8262 w 10000"/>
                <a:gd name="connsiteY93" fmla="*/ 4167 h 10599"/>
                <a:gd name="connsiteX94" fmla="*/ 8035 w 10000"/>
                <a:gd name="connsiteY94" fmla="*/ 3724 h 10599"/>
                <a:gd name="connsiteX95" fmla="*/ 9144 w 10000"/>
                <a:gd name="connsiteY95" fmla="*/ 3307 h 10599"/>
                <a:gd name="connsiteX0" fmla="*/ 9144 w 10000"/>
                <a:gd name="connsiteY0" fmla="*/ 3307 h 10599"/>
                <a:gd name="connsiteX1" fmla="*/ 9144 w 10000"/>
                <a:gd name="connsiteY1" fmla="*/ 3307 h 10599"/>
                <a:gd name="connsiteX2" fmla="*/ 9572 w 10000"/>
                <a:gd name="connsiteY2" fmla="*/ 3307 h 10599"/>
                <a:gd name="connsiteX3" fmla="*/ 10000 w 10000"/>
                <a:gd name="connsiteY3" fmla="*/ 3724 h 10599"/>
                <a:gd name="connsiteX4" fmla="*/ 10000 w 10000"/>
                <a:gd name="connsiteY4" fmla="*/ 4167 h 10599"/>
                <a:gd name="connsiteX5" fmla="*/ 9572 w 10000"/>
                <a:gd name="connsiteY5" fmla="*/ 4167 h 10599"/>
                <a:gd name="connsiteX6" fmla="*/ 9345 w 10000"/>
                <a:gd name="connsiteY6" fmla="*/ 4349 h 10599"/>
                <a:gd name="connsiteX7" fmla="*/ 8917 w 10000"/>
                <a:gd name="connsiteY7" fmla="*/ 5182 h 10599"/>
                <a:gd name="connsiteX8" fmla="*/ 8690 w 10000"/>
                <a:gd name="connsiteY8" fmla="*/ 5417 h 10599"/>
                <a:gd name="connsiteX9" fmla="*/ 8489 w 10000"/>
                <a:gd name="connsiteY9" fmla="*/ 5807 h 10599"/>
                <a:gd name="connsiteX10" fmla="*/ 8489 w 10000"/>
                <a:gd name="connsiteY10" fmla="*/ 6042 h 10599"/>
                <a:gd name="connsiteX11" fmla="*/ 8262 w 10000"/>
                <a:gd name="connsiteY11" fmla="*/ 5417 h 10599"/>
                <a:gd name="connsiteX12" fmla="*/ 8262 w 10000"/>
                <a:gd name="connsiteY12" fmla="*/ 5182 h 10599"/>
                <a:gd name="connsiteX13" fmla="*/ 8035 w 10000"/>
                <a:gd name="connsiteY13" fmla="*/ 5417 h 10599"/>
                <a:gd name="connsiteX14" fmla="*/ 7834 w 10000"/>
                <a:gd name="connsiteY14" fmla="*/ 5417 h 10599"/>
                <a:gd name="connsiteX15" fmla="*/ 7834 w 10000"/>
                <a:gd name="connsiteY15" fmla="*/ 5182 h 10599"/>
                <a:gd name="connsiteX16" fmla="*/ 8262 w 10000"/>
                <a:gd name="connsiteY16" fmla="*/ 4792 h 10599"/>
                <a:gd name="connsiteX17" fmla="*/ 7406 w 10000"/>
                <a:gd name="connsiteY17" fmla="*/ 4792 h 10599"/>
                <a:gd name="connsiteX18" fmla="*/ 7406 w 10000"/>
                <a:gd name="connsiteY18" fmla="*/ 4349 h 10599"/>
                <a:gd name="connsiteX19" fmla="*/ 7179 w 10000"/>
                <a:gd name="connsiteY19" fmla="*/ 4349 h 10599"/>
                <a:gd name="connsiteX20" fmla="*/ 6952 w 10000"/>
                <a:gd name="connsiteY20" fmla="*/ 4349 h 10599"/>
                <a:gd name="connsiteX21" fmla="*/ 6952 w 10000"/>
                <a:gd name="connsiteY21" fmla="*/ 4557 h 10599"/>
                <a:gd name="connsiteX22" fmla="*/ 6751 w 10000"/>
                <a:gd name="connsiteY22" fmla="*/ 4974 h 10599"/>
                <a:gd name="connsiteX23" fmla="*/ 6952 w 10000"/>
                <a:gd name="connsiteY23" fmla="*/ 4974 h 10599"/>
                <a:gd name="connsiteX24" fmla="*/ 7179 w 10000"/>
                <a:gd name="connsiteY24" fmla="*/ 6042 h 10599"/>
                <a:gd name="connsiteX25" fmla="*/ 6952 w 10000"/>
                <a:gd name="connsiteY25" fmla="*/ 6042 h 10599"/>
                <a:gd name="connsiteX26" fmla="*/ 6952 w 10000"/>
                <a:gd name="connsiteY26" fmla="*/ 5807 h 10599"/>
                <a:gd name="connsiteX27" fmla="*/ 6524 w 10000"/>
                <a:gd name="connsiteY27" fmla="*/ 6042 h 10599"/>
                <a:gd name="connsiteX28" fmla="*/ 6297 w 10000"/>
                <a:gd name="connsiteY28" fmla="*/ 6667 h 10599"/>
                <a:gd name="connsiteX29" fmla="*/ 5869 w 10000"/>
                <a:gd name="connsiteY29" fmla="*/ 6849 h 10599"/>
                <a:gd name="connsiteX30" fmla="*/ 4786 w 10000"/>
                <a:gd name="connsiteY30" fmla="*/ 7682 h 10599"/>
                <a:gd name="connsiteX31" fmla="*/ 4786 w 10000"/>
                <a:gd name="connsiteY31" fmla="*/ 7917 h 10599"/>
                <a:gd name="connsiteX32" fmla="*/ 4559 w 10000"/>
                <a:gd name="connsiteY32" fmla="*/ 7917 h 10599"/>
                <a:gd name="connsiteX33" fmla="*/ 4358 w 10000"/>
                <a:gd name="connsiteY33" fmla="*/ 8099 h 10599"/>
                <a:gd name="connsiteX34" fmla="*/ 4131 w 10000"/>
                <a:gd name="connsiteY34" fmla="*/ 8099 h 10599"/>
                <a:gd name="connsiteX35" fmla="*/ 4131 w 10000"/>
                <a:gd name="connsiteY35" fmla="*/ 8307 h 10599"/>
                <a:gd name="connsiteX36" fmla="*/ 4131 w 10000"/>
                <a:gd name="connsiteY36" fmla="*/ 8932 h 10599"/>
                <a:gd name="connsiteX37" fmla="*/ 3904 w 10000"/>
                <a:gd name="connsiteY37" fmla="*/ 9349 h 10599"/>
                <a:gd name="connsiteX38" fmla="*/ 3904 w 10000"/>
                <a:gd name="connsiteY38" fmla="*/ 9974 h 10599"/>
                <a:gd name="connsiteX39" fmla="*/ 3703 w 10000"/>
                <a:gd name="connsiteY39" fmla="*/ 10182 h 10599"/>
                <a:gd name="connsiteX40" fmla="*/ 3476 w 10000"/>
                <a:gd name="connsiteY40" fmla="*/ 10417 h 10599"/>
                <a:gd name="connsiteX41" fmla="*/ 3249 w 10000"/>
                <a:gd name="connsiteY41" fmla="*/ 10599 h 10599"/>
                <a:gd name="connsiteX42" fmla="*/ 2821 w 10000"/>
                <a:gd name="connsiteY42" fmla="*/ 10417 h 10599"/>
                <a:gd name="connsiteX43" fmla="*/ 2166 w 10000"/>
                <a:gd name="connsiteY43" fmla="*/ 8542 h 10599"/>
                <a:gd name="connsiteX44" fmla="*/ 1738 w 10000"/>
                <a:gd name="connsiteY44" fmla="*/ 7917 h 10599"/>
                <a:gd name="connsiteX45" fmla="*/ 1511 w 10000"/>
                <a:gd name="connsiteY45" fmla="*/ 6667 h 10599"/>
                <a:gd name="connsiteX46" fmla="*/ 1511 w 10000"/>
                <a:gd name="connsiteY46" fmla="*/ 5807 h 10599"/>
                <a:gd name="connsiteX47" fmla="*/ 1310 w 10000"/>
                <a:gd name="connsiteY47" fmla="*/ 6224 h 10599"/>
                <a:gd name="connsiteX48" fmla="*/ 856 w 10000"/>
                <a:gd name="connsiteY48" fmla="*/ 6432 h 10599"/>
                <a:gd name="connsiteX49" fmla="*/ 202 w 10000"/>
                <a:gd name="connsiteY49" fmla="*/ 5807 h 10599"/>
                <a:gd name="connsiteX50" fmla="*/ 655 w 10000"/>
                <a:gd name="connsiteY50" fmla="*/ 5807 h 10599"/>
                <a:gd name="connsiteX51" fmla="*/ 655 w 10000"/>
                <a:gd name="connsiteY51" fmla="*/ 5599 h 10599"/>
                <a:gd name="connsiteX52" fmla="*/ 428 w 10000"/>
                <a:gd name="connsiteY52" fmla="*/ 5599 h 10599"/>
                <a:gd name="connsiteX53" fmla="*/ 0 w 10000"/>
                <a:gd name="connsiteY53" fmla="*/ 5417 h 10599"/>
                <a:gd name="connsiteX54" fmla="*/ 202 w 10000"/>
                <a:gd name="connsiteY54" fmla="*/ 5182 h 10599"/>
                <a:gd name="connsiteX55" fmla="*/ 856 w 10000"/>
                <a:gd name="connsiteY55" fmla="*/ 5182 h 10599"/>
                <a:gd name="connsiteX56" fmla="*/ 856 w 10000"/>
                <a:gd name="connsiteY56" fmla="*/ 4974 h 10599"/>
                <a:gd name="connsiteX57" fmla="*/ 856 w 10000"/>
                <a:gd name="connsiteY57" fmla="*/ 4557 h 10599"/>
                <a:gd name="connsiteX58" fmla="*/ 655 w 10000"/>
                <a:gd name="connsiteY58" fmla="*/ 4557 h 10599"/>
                <a:gd name="connsiteX59" fmla="*/ 655 w 10000"/>
                <a:gd name="connsiteY59" fmla="*/ 4349 h 10599"/>
                <a:gd name="connsiteX60" fmla="*/ 428 w 10000"/>
                <a:gd name="connsiteY60" fmla="*/ 4349 h 10599"/>
                <a:gd name="connsiteX61" fmla="*/ 428 w 10000"/>
                <a:gd name="connsiteY61" fmla="*/ 3932 h 10599"/>
                <a:gd name="connsiteX62" fmla="*/ 655 w 10000"/>
                <a:gd name="connsiteY62" fmla="*/ 3724 h 10599"/>
                <a:gd name="connsiteX63" fmla="*/ 856 w 10000"/>
                <a:gd name="connsiteY63" fmla="*/ 3932 h 10599"/>
                <a:gd name="connsiteX64" fmla="*/ 1310 w 10000"/>
                <a:gd name="connsiteY64" fmla="*/ 3724 h 10599"/>
                <a:gd name="connsiteX65" fmla="*/ 2393 w 10000"/>
                <a:gd name="connsiteY65" fmla="*/ 2474 h 10599"/>
                <a:gd name="connsiteX66" fmla="*/ 2166 w 10000"/>
                <a:gd name="connsiteY66" fmla="*/ 2292 h 10599"/>
                <a:gd name="connsiteX67" fmla="*/ 2393 w 10000"/>
                <a:gd name="connsiteY67" fmla="*/ 2292 h 10599"/>
                <a:gd name="connsiteX68" fmla="*/ 2393 w 10000"/>
                <a:gd name="connsiteY68" fmla="*/ 2057 h 10599"/>
                <a:gd name="connsiteX69" fmla="*/ 1965 w 10000"/>
                <a:gd name="connsiteY69" fmla="*/ 1849 h 10599"/>
                <a:gd name="connsiteX70" fmla="*/ 2166 w 10000"/>
                <a:gd name="connsiteY70" fmla="*/ 1432 h 10599"/>
                <a:gd name="connsiteX71" fmla="*/ 1965 w 10000"/>
                <a:gd name="connsiteY71" fmla="*/ 1224 h 10599"/>
                <a:gd name="connsiteX72" fmla="*/ 1940 w 10000"/>
                <a:gd name="connsiteY72" fmla="*/ 417 h 10599"/>
                <a:gd name="connsiteX73" fmla="*/ 2596 w 10000"/>
                <a:gd name="connsiteY73" fmla="*/ 0 h 10599"/>
                <a:gd name="connsiteX74" fmla="*/ 3382 w 10000"/>
                <a:gd name="connsiteY74" fmla="*/ 599 h 10599"/>
                <a:gd name="connsiteX75" fmla="*/ 4131 w 10000"/>
                <a:gd name="connsiteY75" fmla="*/ 495 h 10599"/>
                <a:gd name="connsiteX76" fmla="*/ 4131 w 10000"/>
                <a:gd name="connsiteY76" fmla="*/ 807 h 10599"/>
                <a:gd name="connsiteX77" fmla="*/ 4131 w 10000"/>
                <a:gd name="connsiteY77" fmla="*/ 1224 h 10599"/>
                <a:gd name="connsiteX78" fmla="*/ 3703 w 10000"/>
                <a:gd name="connsiteY78" fmla="*/ 1667 h 10599"/>
                <a:gd name="connsiteX79" fmla="*/ 3904 w 10000"/>
                <a:gd name="connsiteY79" fmla="*/ 2057 h 10599"/>
                <a:gd name="connsiteX80" fmla="*/ 3476 w 10000"/>
                <a:gd name="connsiteY80" fmla="*/ 2057 h 10599"/>
                <a:gd name="connsiteX81" fmla="*/ 3703 w 10000"/>
                <a:gd name="connsiteY81" fmla="*/ 2682 h 10599"/>
                <a:gd name="connsiteX82" fmla="*/ 4358 w 10000"/>
                <a:gd name="connsiteY82" fmla="*/ 2917 h 10599"/>
                <a:gd name="connsiteX83" fmla="*/ 4131 w 10000"/>
                <a:gd name="connsiteY83" fmla="*/ 3542 h 10599"/>
                <a:gd name="connsiteX84" fmla="*/ 4559 w 10000"/>
                <a:gd name="connsiteY84" fmla="*/ 3724 h 10599"/>
                <a:gd name="connsiteX85" fmla="*/ 6524 w 10000"/>
                <a:gd name="connsiteY85" fmla="*/ 4349 h 10599"/>
                <a:gd name="connsiteX86" fmla="*/ 6751 w 10000"/>
                <a:gd name="connsiteY86" fmla="*/ 4349 h 10599"/>
                <a:gd name="connsiteX87" fmla="*/ 6751 w 10000"/>
                <a:gd name="connsiteY87" fmla="*/ 4167 h 10599"/>
                <a:gd name="connsiteX88" fmla="*/ 6751 w 10000"/>
                <a:gd name="connsiteY88" fmla="*/ 3724 h 10599"/>
                <a:gd name="connsiteX89" fmla="*/ 6952 w 10000"/>
                <a:gd name="connsiteY89" fmla="*/ 3724 h 10599"/>
                <a:gd name="connsiteX90" fmla="*/ 7179 w 10000"/>
                <a:gd name="connsiteY90" fmla="*/ 3932 h 10599"/>
                <a:gd name="connsiteX91" fmla="*/ 7179 w 10000"/>
                <a:gd name="connsiteY91" fmla="*/ 4167 h 10599"/>
                <a:gd name="connsiteX92" fmla="*/ 8035 w 10000"/>
                <a:gd name="connsiteY92" fmla="*/ 4167 h 10599"/>
                <a:gd name="connsiteX93" fmla="*/ 8262 w 10000"/>
                <a:gd name="connsiteY93" fmla="*/ 4167 h 10599"/>
                <a:gd name="connsiteX94" fmla="*/ 8035 w 10000"/>
                <a:gd name="connsiteY94" fmla="*/ 3724 h 10599"/>
                <a:gd name="connsiteX95" fmla="*/ 9144 w 10000"/>
                <a:gd name="connsiteY95" fmla="*/ 3307 h 10599"/>
                <a:gd name="connsiteX0" fmla="*/ 9144 w 10000"/>
                <a:gd name="connsiteY0" fmla="*/ 3307 h 10599"/>
                <a:gd name="connsiteX1" fmla="*/ 9144 w 10000"/>
                <a:gd name="connsiteY1" fmla="*/ 3307 h 10599"/>
                <a:gd name="connsiteX2" fmla="*/ 9572 w 10000"/>
                <a:gd name="connsiteY2" fmla="*/ 3307 h 10599"/>
                <a:gd name="connsiteX3" fmla="*/ 10000 w 10000"/>
                <a:gd name="connsiteY3" fmla="*/ 3724 h 10599"/>
                <a:gd name="connsiteX4" fmla="*/ 10000 w 10000"/>
                <a:gd name="connsiteY4" fmla="*/ 4167 h 10599"/>
                <a:gd name="connsiteX5" fmla="*/ 9572 w 10000"/>
                <a:gd name="connsiteY5" fmla="*/ 4167 h 10599"/>
                <a:gd name="connsiteX6" fmla="*/ 9345 w 10000"/>
                <a:gd name="connsiteY6" fmla="*/ 4349 h 10599"/>
                <a:gd name="connsiteX7" fmla="*/ 8917 w 10000"/>
                <a:gd name="connsiteY7" fmla="*/ 5182 h 10599"/>
                <a:gd name="connsiteX8" fmla="*/ 8690 w 10000"/>
                <a:gd name="connsiteY8" fmla="*/ 5417 h 10599"/>
                <a:gd name="connsiteX9" fmla="*/ 8489 w 10000"/>
                <a:gd name="connsiteY9" fmla="*/ 5807 h 10599"/>
                <a:gd name="connsiteX10" fmla="*/ 8489 w 10000"/>
                <a:gd name="connsiteY10" fmla="*/ 6042 h 10599"/>
                <a:gd name="connsiteX11" fmla="*/ 8262 w 10000"/>
                <a:gd name="connsiteY11" fmla="*/ 5417 h 10599"/>
                <a:gd name="connsiteX12" fmla="*/ 8262 w 10000"/>
                <a:gd name="connsiteY12" fmla="*/ 5182 h 10599"/>
                <a:gd name="connsiteX13" fmla="*/ 8035 w 10000"/>
                <a:gd name="connsiteY13" fmla="*/ 5417 h 10599"/>
                <a:gd name="connsiteX14" fmla="*/ 7834 w 10000"/>
                <a:gd name="connsiteY14" fmla="*/ 5417 h 10599"/>
                <a:gd name="connsiteX15" fmla="*/ 7834 w 10000"/>
                <a:gd name="connsiteY15" fmla="*/ 5182 h 10599"/>
                <a:gd name="connsiteX16" fmla="*/ 8262 w 10000"/>
                <a:gd name="connsiteY16" fmla="*/ 4792 h 10599"/>
                <a:gd name="connsiteX17" fmla="*/ 7406 w 10000"/>
                <a:gd name="connsiteY17" fmla="*/ 4792 h 10599"/>
                <a:gd name="connsiteX18" fmla="*/ 7406 w 10000"/>
                <a:gd name="connsiteY18" fmla="*/ 4349 h 10599"/>
                <a:gd name="connsiteX19" fmla="*/ 7179 w 10000"/>
                <a:gd name="connsiteY19" fmla="*/ 4349 h 10599"/>
                <a:gd name="connsiteX20" fmla="*/ 6952 w 10000"/>
                <a:gd name="connsiteY20" fmla="*/ 4349 h 10599"/>
                <a:gd name="connsiteX21" fmla="*/ 6952 w 10000"/>
                <a:gd name="connsiteY21" fmla="*/ 4557 h 10599"/>
                <a:gd name="connsiteX22" fmla="*/ 6751 w 10000"/>
                <a:gd name="connsiteY22" fmla="*/ 4974 h 10599"/>
                <a:gd name="connsiteX23" fmla="*/ 6952 w 10000"/>
                <a:gd name="connsiteY23" fmla="*/ 4974 h 10599"/>
                <a:gd name="connsiteX24" fmla="*/ 7179 w 10000"/>
                <a:gd name="connsiteY24" fmla="*/ 6042 h 10599"/>
                <a:gd name="connsiteX25" fmla="*/ 6952 w 10000"/>
                <a:gd name="connsiteY25" fmla="*/ 6042 h 10599"/>
                <a:gd name="connsiteX26" fmla="*/ 6952 w 10000"/>
                <a:gd name="connsiteY26" fmla="*/ 5807 h 10599"/>
                <a:gd name="connsiteX27" fmla="*/ 6524 w 10000"/>
                <a:gd name="connsiteY27" fmla="*/ 6042 h 10599"/>
                <a:gd name="connsiteX28" fmla="*/ 6297 w 10000"/>
                <a:gd name="connsiteY28" fmla="*/ 6667 h 10599"/>
                <a:gd name="connsiteX29" fmla="*/ 5869 w 10000"/>
                <a:gd name="connsiteY29" fmla="*/ 6849 h 10599"/>
                <a:gd name="connsiteX30" fmla="*/ 4786 w 10000"/>
                <a:gd name="connsiteY30" fmla="*/ 7682 h 10599"/>
                <a:gd name="connsiteX31" fmla="*/ 4786 w 10000"/>
                <a:gd name="connsiteY31" fmla="*/ 7917 h 10599"/>
                <a:gd name="connsiteX32" fmla="*/ 4559 w 10000"/>
                <a:gd name="connsiteY32" fmla="*/ 7917 h 10599"/>
                <a:gd name="connsiteX33" fmla="*/ 4358 w 10000"/>
                <a:gd name="connsiteY33" fmla="*/ 8099 h 10599"/>
                <a:gd name="connsiteX34" fmla="*/ 4131 w 10000"/>
                <a:gd name="connsiteY34" fmla="*/ 8099 h 10599"/>
                <a:gd name="connsiteX35" fmla="*/ 4131 w 10000"/>
                <a:gd name="connsiteY35" fmla="*/ 8307 h 10599"/>
                <a:gd name="connsiteX36" fmla="*/ 4131 w 10000"/>
                <a:gd name="connsiteY36" fmla="*/ 8932 h 10599"/>
                <a:gd name="connsiteX37" fmla="*/ 3904 w 10000"/>
                <a:gd name="connsiteY37" fmla="*/ 9349 h 10599"/>
                <a:gd name="connsiteX38" fmla="*/ 3904 w 10000"/>
                <a:gd name="connsiteY38" fmla="*/ 9974 h 10599"/>
                <a:gd name="connsiteX39" fmla="*/ 3703 w 10000"/>
                <a:gd name="connsiteY39" fmla="*/ 10182 h 10599"/>
                <a:gd name="connsiteX40" fmla="*/ 3476 w 10000"/>
                <a:gd name="connsiteY40" fmla="*/ 10417 h 10599"/>
                <a:gd name="connsiteX41" fmla="*/ 3249 w 10000"/>
                <a:gd name="connsiteY41" fmla="*/ 10599 h 10599"/>
                <a:gd name="connsiteX42" fmla="*/ 2821 w 10000"/>
                <a:gd name="connsiteY42" fmla="*/ 10417 h 10599"/>
                <a:gd name="connsiteX43" fmla="*/ 2166 w 10000"/>
                <a:gd name="connsiteY43" fmla="*/ 8542 h 10599"/>
                <a:gd name="connsiteX44" fmla="*/ 1738 w 10000"/>
                <a:gd name="connsiteY44" fmla="*/ 7917 h 10599"/>
                <a:gd name="connsiteX45" fmla="*/ 1511 w 10000"/>
                <a:gd name="connsiteY45" fmla="*/ 6667 h 10599"/>
                <a:gd name="connsiteX46" fmla="*/ 1511 w 10000"/>
                <a:gd name="connsiteY46" fmla="*/ 5807 h 10599"/>
                <a:gd name="connsiteX47" fmla="*/ 1310 w 10000"/>
                <a:gd name="connsiteY47" fmla="*/ 6224 h 10599"/>
                <a:gd name="connsiteX48" fmla="*/ 856 w 10000"/>
                <a:gd name="connsiteY48" fmla="*/ 6432 h 10599"/>
                <a:gd name="connsiteX49" fmla="*/ 202 w 10000"/>
                <a:gd name="connsiteY49" fmla="*/ 5807 h 10599"/>
                <a:gd name="connsiteX50" fmla="*/ 655 w 10000"/>
                <a:gd name="connsiteY50" fmla="*/ 5807 h 10599"/>
                <a:gd name="connsiteX51" fmla="*/ 655 w 10000"/>
                <a:gd name="connsiteY51" fmla="*/ 5599 h 10599"/>
                <a:gd name="connsiteX52" fmla="*/ 428 w 10000"/>
                <a:gd name="connsiteY52" fmla="*/ 5599 h 10599"/>
                <a:gd name="connsiteX53" fmla="*/ 0 w 10000"/>
                <a:gd name="connsiteY53" fmla="*/ 5417 h 10599"/>
                <a:gd name="connsiteX54" fmla="*/ 202 w 10000"/>
                <a:gd name="connsiteY54" fmla="*/ 5182 h 10599"/>
                <a:gd name="connsiteX55" fmla="*/ 856 w 10000"/>
                <a:gd name="connsiteY55" fmla="*/ 5182 h 10599"/>
                <a:gd name="connsiteX56" fmla="*/ 856 w 10000"/>
                <a:gd name="connsiteY56" fmla="*/ 4974 h 10599"/>
                <a:gd name="connsiteX57" fmla="*/ 856 w 10000"/>
                <a:gd name="connsiteY57" fmla="*/ 4557 h 10599"/>
                <a:gd name="connsiteX58" fmla="*/ 655 w 10000"/>
                <a:gd name="connsiteY58" fmla="*/ 4557 h 10599"/>
                <a:gd name="connsiteX59" fmla="*/ 655 w 10000"/>
                <a:gd name="connsiteY59" fmla="*/ 4349 h 10599"/>
                <a:gd name="connsiteX60" fmla="*/ 428 w 10000"/>
                <a:gd name="connsiteY60" fmla="*/ 4349 h 10599"/>
                <a:gd name="connsiteX61" fmla="*/ 428 w 10000"/>
                <a:gd name="connsiteY61" fmla="*/ 3932 h 10599"/>
                <a:gd name="connsiteX62" fmla="*/ 655 w 10000"/>
                <a:gd name="connsiteY62" fmla="*/ 3724 h 10599"/>
                <a:gd name="connsiteX63" fmla="*/ 856 w 10000"/>
                <a:gd name="connsiteY63" fmla="*/ 3932 h 10599"/>
                <a:gd name="connsiteX64" fmla="*/ 1310 w 10000"/>
                <a:gd name="connsiteY64" fmla="*/ 3724 h 10599"/>
                <a:gd name="connsiteX65" fmla="*/ 2393 w 10000"/>
                <a:gd name="connsiteY65" fmla="*/ 2474 h 10599"/>
                <a:gd name="connsiteX66" fmla="*/ 2166 w 10000"/>
                <a:gd name="connsiteY66" fmla="*/ 2292 h 10599"/>
                <a:gd name="connsiteX67" fmla="*/ 2393 w 10000"/>
                <a:gd name="connsiteY67" fmla="*/ 2292 h 10599"/>
                <a:gd name="connsiteX68" fmla="*/ 2393 w 10000"/>
                <a:gd name="connsiteY68" fmla="*/ 2057 h 10599"/>
                <a:gd name="connsiteX69" fmla="*/ 1965 w 10000"/>
                <a:gd name="connsiteY69" fmla="*/ 1849 h 10599"/>
                <a:gd name="connsiteX70" fmla="*/ 2166 w 10000"/>
                <a:gd name="connsiteY70" fmla="*/ 1432 h 10599"/>
                <a:gd name="connsiteX71" fmla="*/ 1965 w 10000"/>
                <a:gd name="connsiteY71" fmla="*/ 1224 h 10599"/>
                <a:gd name="connsiteX72" fmla="*/ 2189 w 10000"/>
                <a:gd name="connsiteY72" fmla="*/ 807 h 10599"/>
                <a:gd name="connsiteX73" fmla="*/ 1940 w 10000"/>
                <a:gd name="connsiteY73" fmla="*/ 417 h 10599"/>
                <a:gd name="connsiteX74" fmla="*/ 2596 w 10000"/>
                <a:gd name="connsiteY74" fmla="*/ 0 h 10599"/>
                <a:gd name="connsiteX75" fmla="*/ 3382 w 10000"/>
                <a:gd name="connsiteY75" fmla="*/ 599 h 10599"/>
                <a:gd name="connsiteX76" fmla="*/ 4131 w 10000"/>
                <a:gd name="connsiteY76" fmla="*/ 495 h 10599"/>
                <a:gd name="connsiteX77" fmla="*/ 4131 w 10000"/>
                <a:gd name="connsiteY77" fmla="*/ 807 h 10599"/>
                <a:gd name="connsiteX78" fmla="*/ 4131 w 10000"/>
                <a:gd name="connsiteY78" fmla="*/ 1224 h 10599"/>
                <a:gd name="connsiteX79" fmla="*/ 3703 w 10000"/>
                <a:gd name="connsiteY79" fmla="*/ 1667 h 10599"/>
                <a:gd name="connsiteX80" fmla="*/ 3904 w 10000"/>
                <a:gd name="connsiteY80" fmla="*/ 2057 h 10599"/>
                <a:gd name="connsiteX81" fmla="*/ 3476 w 10000"/>
                <a:gd name="connsiteY81" fmla="*/ 2057 h 10599"/>
                <a:gd name="connsiteX82" fmla="*/ 3703 w 10000"/>
                <a:gd name="connsiteY82" fmla="*/ 2682 h 10599"/>
                <a:gd name="connsiteX83" fmla="*/ 4358 w 10000"/>
                <a:gd name="connsiteY83" fmla="*/ 2917 h 10599"/>
                <a:gd name="connsiteX84" fmla="*/ 4131 w 10000"/>
                <a:gd name="connsiteY84" fmla="*/ 3542 h 10599"/>
                <a:gd name="connsiteX85" fmla="*/ 4559 w 10000"/>
                <a:gd name="connsiteY85" fmla="*/ 3724 h 10599"/>
                <a:gd name="connsiteX86" fmla="*/ 6524 w 10000"/>
                <a:gd name="connsiteY86" fmla="*/ 4349 h 10599"/>
                <a:gd name="connsiteX87" fmla="*/ 6751 w 10000"/>
                <a:gd name="connsiteY87" fmla="*/ 4349 h 10599"/>
                <a:gd name="connsiteX88" fmla="*/ 6751 w 10000"/>
                <a:gd name="connsiteY88" fmla="*/ 4167 h 10599"/>
                <a:gd name="connsiteX89" fmla="*/ 6751 w 10000"/>
                <a:gd name="connsiteY89" fmla="*/ 3724 h 10599"/>
                <a:gd name="connsiteX90" fmla="*/ 6952 w 10000"/>
                <a:gd name="connsiteY90" fmla="*/ 3724 h 10599"/>
                <a:gd name="connsiteX91" fmla="*/ 7179 w 10000"/>
                <a:gd name="connsiteY91" fmla="*/ 3932 h 10599"/>
                <a:gd name="connsiteX92" fmla="*/ 7179 w 10000"/>
                <a:gd name="connsiteY92" fmla="*/ 4167 h 10599"/>
                <a:gd name="connsiteX93" fmla="*/ 8035 w 10000"/>
                <a:gd name="connsiteY93" fmla="*/ 4167 h 10599"/>
                <a:gd name="connsiteX94" fmla="*/ 8262 w 10000"/>
                <a:gd name="connsiteY94" fmla="*/ 4167 h 10599"/>
                <a:gd name="connsiteX95" fmla="*/ 8035 w 10000"/>
                <a:gd name="connsiteY95" fmla="*/ 3724 h 10599"/>
                <a:gd name="connsiteX96" fmla="*/ 9144 w 10000"/>
                <a:gd name="connsiteY96" fmla="*/ 3307 h 10599"/>
                <a:gd name="connsiteX0" fmla="*/ 9144 w 10000"/>
                <a:gd name="connsiteY0" fmla="*/ 3307 h 10599"/>
                <a:gd name="connsiteX1" fmla="*/ 9144 w 10000"/>
                <a:gd name="connsiteY1" fmla="*/ 3307 h 10599"/>
                <a:gd name="connsiteX2" fmla="*/ 9572 w 10000"/>
                <a:gd name="connsiteY2" fmla="*/ 3307 h 10599"/>
                <a:gd name="connsiteX3" fmla="*/ 10000 w 10000"/>
                <a:gd name="connsiteY3" fmla="*/ 3724 h 10599"/>
                <a:gd name="connsiteX4" fmla="*/ 10000 w 10000"/>
                <a:gd name="connsiteY4" fmla="*/ 4167 h 10599"/>
                <a:gd name="connsiteX5" fmla="*/ 9572 w 10000"/>
                <a:gd name="connsiteY5" fmla="*/ 4167 h 10599"/>
                <a:gd name="connsiteX6" fmla="*/ 9345 w 10000"/>
                <a:gd name="connsiteY6" fmla="*/ 4349 h 10599"/>
                <a:gd name="connsiteX7" fmla="*/ 8917 w 10000"/>
                <a:gd name="connsiteY7" fmla="*/ 5182 h 10599"/>
                <a:gd name="connsiteX8" fmla="*/ 8690 w 10000"/>
                <a:gd name="connsiteY8" fmla="*/ 5417 h 10599"/>
                <a:gd name="connsiteX9" fmla="*/ 8489 w 10000"/>
                <a:gd name="connsiteY9" fmla="*/ 5807 h 10599"/>
                <a:gd name="connsiteX10" fmla="*/ 8489 w 10000"/>
                <a:gd name="connsiteY10" fmla="*/ 6042 h 10599"/>
                <a:gd name="connsiteX11" fmla="*/ 8262 w 10000"/>
                <a:gd name="connsiteY11" fmla="*/ 5417 h 10599"/>
                <a:gd name="connsiteX12" fmla="*/ 8262 w 10000"/>
                <a:gd name="connsiteY12" fmla="*/ 5182 h 10599"/>
                <a:gd name="connsiteX13" fmla="*/ 8035 w 10000"/>
                <a:gd name="connsiteY13" fmla="*/ 5417 h 10599"/>
                <a:gd name="connsiteX14" fmla="*/ 7834 w 10000"/>
                <a:gd name="connsiteY14" fmla="*/ 5417 h 10599"/>
                <a:gd name="connsiteX15" fmla="*/ 7834 w 10000"/>
                <a:gd name="connsiteY15" fmla="*/ 5182 h 10599"/>
                <a:gd name="connsiteX16" fmla="*/ 8262 w 10000"/>
                <a:gd name="connsiteY16" fmla="*/ 4792 h 10599"/>
                <a:gd name="connsiteX17" fmla="*/ 7406 w 10000"/>
                <a:gd name="connsiteY17" fmla="*/ 4792 h 10599"/>
                <a:gd name="connsiteX18" fmla="*/ 7406 w 10000"/>
                <a:gd name="connsiteY18" fmla="*/ 4349 h 10599"/>
                <a:gd name="connsiteX19" fmla="*/ 7179 w 10000"/>
                <a:gd name="connsiteY19" fmla="*/ 4349 h 10599"/>
                <a:gd name="connsiteX20" fmla="*/ 6952 w 10000"/>
                <a:gd name="connsiteY20" fmla="*/ 4349 h 10599"/>
                <a:gd name="connsiteX21" fmla="*/ 6952 w 10000"/>
                <a:gd name="connsiteY21" fmla="*/ 4557 h 10599"/>
                <a:gd name="connsiteX22" fmla="*/ 6751 w 10000"/>
                <a:gd name="connsiteY22" fmla="*/ 4974 h 10599"/>
                <a:gd name="connsiteX23" fmla="*/ 6952 w 10000"/>
                <a:gd name="connsiteY23" fmla="*/ 4974 h 10599"/>
                <a:gd name="connsiteX24" fmla="*/ 7179 w 10000"/>
                <a:gd name="connsiteY24" fmla="*/ 6042 h 10599"/>
                <a:gd name="connsiteX25" fmla="*/ 6952 w 10000"/>
                <a:gd name="connsiteY25" fmla="*/ 6042 h 10599"/>
                <a:gd name="connsiteX26" fmla="*/ 6952 w 10000"/>
                <a:gd name="connsiteY26" fmla="*/ 5807 h 10599"/>
                <a:gd name="connsiteX27" fmla="*/ 6524 w 10000"/>
                <a:gd name="connsiteY27" fmla="*/ 6042 h 10599"/>
                <a:gd name="connsiteX28" fmla="*/ 6297 w 10000"/>
                <a:gd name="connsiteY28" fmla="*/ 6667 h 10599"/>
                <a:gd name="connsiteX29" fmla="*/ 5869 w 10000"/>
                <a:gd name="connsiteY29" fmla="*/ 6849 h 10599"/>
                <a:gd name="connsiteX30" fmla="*/ 4786 w 10000"/>
                <a:gd name="connsiteY30" fmla="*/ 7682 h 10599"/>
                <a:gd name="connsiteX31" fmla="*/ 4786 w 10000"/>
                <a:gd name="connsiteY31" fmla="*/ 7917 h 10599"/>
                <a:gd name="connsiteX32" fmla="*/ 4559 w 10000"/>
                <a:gd name="connsiteY32" fmla="*/ 7917 h 10599"/>
                <a:gd name="connsiteX33" fmla="*/ 4358 w 10000"/>
                <a:gd name="connsiteY33" fmla="*/ 8099 h 10599"/>
                <a:gd name="connsiteX34" fmla="*/ 4131 w 10000"/>
                <a:gd name="connsiteY34" fmla="*/ 8099 h 10599"/>
                <a:gd name="connsiteX35" fmla="*/ 4131 w 10000"/>
                <a:gd name="connsiteY35" fmla="*/ 8307 h 10599"/>
                <a:gd name="connsiteX36" fmla="*/ 4131 w 10000"/>
                <a:gd name="connsiteY36" fmla="*/ 8932 h 10599"/>
                <a:gd name="connsiteX37" fmla="*/ 3904 w 10000"/>
                <a:gd name="connsiteY37" fmla="*/ 9349 h 10599"/>
                <a:gd name="connsiteX38" fmla="*/ 3904 w 10000"/>
                <a:gd name="connsiteY38" fmla="*/ 9974 h 10599"/>
                <a:gd name="connsiteX39" fmla="*/ 3703 w 10000"/>
                <a:gd name="connsiteY39" fmla="*/ 10182 h 10599"/>
                <a:gd name="connsiteX40" fmla="*/ 3476 w 10000"/>
                <a:gd name="connsiteY40" fmla="*/ 10417 h 10599"/>
                <a:gd name="connsiteX41" fmla="*/ 3249 w 10000"/>
                <a:gd name="connsiteY41" fmla="*/ 10599 h 10599"/>
                <a:gd name="connsiteX42" fmla="*/ 2821 w 10000"/>
                <a:gd name="connsiteY42" fmla="*/ 10417 h 10599"/>
                <a:gd name="connsiteX43" fmla="*/ 2166 w 10000"/>
                <a:gd name="connsiteY43" fmla="*/ 8542 h 10599"/>
                <a:gd name="connsiteX44" fmla="*/ 1738 w 10000"/>
                <a:gd name="connsiteY44" fmla="*/ 7917 h 10599"/>
                <a:gd name="connsiteX45" fmla="*/ 1511 w 10000"/>
                <a:gd name="connsiteY45" fmla="*/ 6667 h 10599"/>
                <a:gd name="connsiteX46" fmla="*/ 1511 w 10000"/>
                <a:gd name="connsiteY46" fmla="*/ 5807 h 10599"/>
                <a:gd name="connsiteX47" fmla="*/ 1310 w 10000"/>
                <a:gd name="connsiteY47" fmla="*/ 6224 h 10599"/>
                <a:gd name="connsiteX48" fmla="*/ 856 w 10000"/>
                <a:gd name="connsiteY48" fmla="*/ 6432 h 10599"/>
                <a:gd name="connsiteX49" fmla="*/ 202 w 10000"/>
                <a:gd name="connsiteY49" fmla="*/ 5807 h 10599"/>
                <a:gd name="connsiteX50" fmla="*/ 655 w 10000"/>
                <a:gd name="connsiteY50" fmla="*/ 5807 h 10599"/>
                <a:gd name="connsiteX51" fmla="*/ 655 w 10000"/>
                <a:gd name="connsiteY51" fmla="*/ 5599 h 10599"/>
                <a:gd name="connsiteX52" fmla="*/ 428 w 10000"/>
                <a:gd name="connsiteY52" fmla="*/ 5599 h 10599"/>
                <a:gd name="connsiteX53" fmla="*/ 0 w 10000"/>
                <a:gd name="connsiteY53" fmla="*/ 5417 h 10599"/>
                <a:gd name="connsiteX54" fmla="*/ 202 w 10000"/>
                <a:gd name="connsiteY54" fmla="*/ 5182 h 10599"/>
                <a:gd name="connsiteX55" fmla="*/ 856 w 10000"/>
                <a:gd name="connsiteY55" fmla="*/ 5182 h 10599"/>
                <a:gd name="connsiteX56" fmla="*/ 856 w 10000"/>
                <a:gd name="connsiteY56" fmla="*/ 4974 h 10599"/>
                <a:gd name="connsiteX57" fmla="*/ 856 w 10000"/>
                <a:gd name="connsiteY57" fmla="*/ 4557 h 10599"/>
                <a:gd name="connsiteX58" fmla="*/ 655 w 10000"/>
                <a:gd name="connsiteY58" fmla="*/ 4557 h 10599"/>
                <a:gd name="connsiteX59" fmla="*/ 655 w 10000"/>
                <a:gd name="connsiteY59" fmla="*/ 4349 h 10599"/>
                <a:gd name="connsiteX60" fmla="*/ 428 w 10000"/>
                <a:gd name="connsiteY60" fmla="*/ 4349 h 10599"/>
                <a:gd name="connsiteX61" fmla="*/ 428 w 10000"/>
                <a:gd name="connsiteY61" fmla="*/ 3932 h 10599"/>
                <a:gd name="connsiteX62" fmla="*/ 655 w 10000"/>
                <a:gd name="connsiteY62" fmla="*/ 3724 h 10599"/>
                <a:gd name="connsiteX63" fmla="*/ 856 w 10000"/>
                <a:gd name="connsiteY63" fmla="*/ 3932 h 10599"/>
                <a:gd name="connsiteX64" fmla="*/ 1310 w 10000"/>
                <a:gd name="connsiteY64" fmla="*/ 3724 h 10599"/>
                <a:gd name="connsiteX65" fmla="*/ 2393 w 10000"/>
                <a:gd name="connsiteY65" fmla="*/ 2474 h 10599"/>
                <a:gd name="connsiteX66" fmla="*/ 2166 w 10000"/>
                <a:gd name="connsiteY66" fmla="*/ 2292 h 10599"/>
                <a:gd name="connsiteX67" fmla="*/ 2393 w 10000"/>
                <a:gd name="connsiteY67" fmla="*/ 2292 h 10599"/>
                <a:gd name="connsiteX68" fmla="*/ 2393 w 10000"/>
                <a:gd name="connsiteY68" fmla="*/ 2057 h 10599"/>
                <a:gd name="connsiteX69" fmla="*/ 2596 w 10000"/>
                <a:gd name="connsiteY69" fmla="*/ 1849 h 10599"/>
                <a:gd name="connsiteX70" fmla="*/ 2166 w 10000"/>
                <a:gd name="connsiteY70" fmla="*/ 1432 h 10599"/>
                <a:gd name="connsiteX71" fmla="*/ 1965 w 10000"/>
                <a:gd name="connsiteY71" fmla="*/ 1224 h 10599"/>
                <a:gd name="connsiteX72" fmla="*/ 2189 w 10000"/>
                <a:gd name="connsiteY72" fmla="*/ 807 h 10599"/>
                <a:gd name="connsiteX73" fmla="*/ 1940 w 10000"/>
                <a:gd name="connsiteY73" fmla="*/ 417 h 10599"/>
                <a:gd name="connsiteX74" fmla="*/ 2596 w 10000"/>
                <a:gd name="connsiteY74" fmla="*/ 0 h 10599"/>
                <a:gd name="connsiteX75" fmla="*/ 3382 w 10000"/>
                <a:gd name="connsiteY75" fmla="*/ 599 h 10599"/>
                <a:gd name="connsiteX76" fmla="*/ 4131 w 10000"/>
                <a:gd name="connsiteY76" fmla="*/ 495 h 10599"/>
                <a:gd name="connsiteX77" fmla="*/ 4131 w 10000"/>
                <a:gd name="connsiteY77" fmla="*/ 807 h 10599"/>
                <a:gd name="connsiteX78" fmla="*/ 4131 w 10000"/>
                <a:gd name="connsiteY78" fmla="*/ 1224 h 10599"/>
                <a:gd name="connsiteX79" fmla="*/ 3703 w 10000"/>
                <a:gd name="connsiteY79" fmla="*/ 1667 h 10599"/>
                <a:gd name="connsiteX80" fmla="*/ 3904 w 10000"/>
                <a:gd name="connsiteY80" fmla="*/ 2057 h 10599"/>
                <a:gd name="connsiteX81" fmla="*/ 3476 w 10000"/>
                <a:gd name="connsiteY81" fmla="*/ 2057 h 10599"/>
                <a:gd name="connsiteX82" fmla="*/ 3703 w 10000"/>
                <a:gd name="connsiteY82" fmla="*/ 2682 h 10599"/>
                <a:gd name="connsiteX83" fmla="*/ 4358 w 10000"/>
                <a:gd name="connsiteY83" fmla="*/ 2917 h 10599"/>
                <a:gd name="connsiteX84" fmla="*/ 4131 w 10000"/>
                <a:gd name="connsiteY84" fmla="*/ 3542 h 10599"/>
                <a:gd name="connsiteX85" fmla="*/ 4559 w 10000"/>
                <a:gd name="connsiteY85" fmla="*/ 3724 h 10599"/>
                <a:gd name="connsiteX86" fmla="*/ 6524 w 10000"/>
                <a:gd name="connsiteY86" fmla="*/ 4349 h 10599"/>
                <a:gd name="connsiteX87" fmla="*/ 6751 w 10000"/>
                <a:gd name="connsiteY87" fmla="*/ 4349 h 10599"/>
                <a:gd name="connsiteX88" fmla="*/ 6751 w 10000"/>
                <a:gd name="connsiteY88" fmla="*/ 4167 h 10599"/>
                <a:gd name="connsiteX89" fmla="*/ 6751 w 10000"/>
                <a:gd name="connsiteY89" fmla="*/ 3724 h 10599"/>
                <a:gd name="connsiteX90" fmla="*/ 6952 w 10000"/>
                <a:gd name="connsiteY90" fmla="*/ 3724 h 10599"/>
                <a:gd name="connsiteX91" fmla="*/ 7179 w 10000"/>
                <a:gd name="connsiteY91" fmla="*/ 3932 h 10599"/>
                <a:gd name="connsiteX92" fmla="*/ 7179 w 10000"/>
                <a:gd name="connsiteY92" fmla="*/ 4167 h 10599"/>
                <a:gd name="connsiteX93" fmla="*/ 8035 w 10000"/>
                <a:gd name="connsiteY93" fmla="*/ 4167 h 10599"/>
                <a:gd name="connsiteX94" fmla="*/ 8262 w 10000"/>
                <a:gd name="connsiteY94" fmla="*/ 4167 h 10599"/>
                <a:gd name="connsiteX95" fmla="*/ 8035 w 10000"/>
                <a:gd name="connsiteY95" fmla="*/ 3724 h 10599"/>
                <a:gd name="connsiteX96" fmla="*/ 9144 w 10000"/>
                <a:gd name="connsiteY96" fmla="*/ 3307 h 10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10000" h="10599">
                  <a:moveTo>
                    <a:pt x="9144" y="3307"/>
                  </a:moveTo>
                  <a:lnTo>
                    <a:pt x="9144" y="3307"/>
                  </a:lnTo>
                  <a:lnTo>
                    <a:pt x="9572" y="3307"/>
                  </a:lnTo>
                  <a:lnTo>
                    <a:pt x="10000" y="3724"/>
                  </a:lnTo>
                  <a:lnTo>
                    <a:pt x="10000" y="4167"/>
                  </a:lnTo>
                  <a:lnTo>
                    <a:pt x="9572" y="4167"/>
                  </a:lnTo>
                  <a:lnTo>
                    <a:pt x="9345" y="4349"/>
                  </a:lnTo>
                  <a:lnTo>
                    <a:pt x="8917" y="5182"/>
                  </a:lnTo>
                  <a:lnTo>
                    <a:pt x="8690" y="5417"/>
                  </a:lnTo>
                  <a:lnTo>
                    <a:pt x="8489" y="5807"/>
                  </a:lnTo>
                  <a:lnTo>
                    <a:pt x="8489" y="6042"/>
                  </a:lnTo>
                  <a:cubicBezTo>
                    <a:pt x="8413" y="5834"/>
                    <a:pt x="8338" y="5625"/>
                    <a:pt x="8262" y="5417"/>
                  </a:cubicBezTo>
                  <a:lnTo>
                    <a:pt x="8262" y="5182"/>
                  </a:lnTo>
                  <a:lnTo>
                    <a:pt x="8035" y="5417"/>
                  </a:lnTo>
                  <a:lnTo>
                    <a:pt x="7834" y="5417"/>
                  </a:lnTo>
                  <a:lnTo>
                    <a:pt x="7834" y="5182"/>
                  </a:lnTo>
                  <a:lnTo>
                    <a:pt x="8262" y="4792"/>
                  </a:lnTo>
                  <a:lnTo>
                    <a:pt x="7406" y="4792"/>
                  </a:lnTo>
                  <a:lnTo>
                    <a:pt x="7406" y="4349"/>
                  </a:lnTo>
                  <a:lnTo>
                    <a:pt x="7179" y="4349"/>
                  </a:lnTo>
                  <a:lnTo>
                    <a:pt x="6952" y="4349"/>
                  </a:lnTo>
                  <a:lnTo>
                    <a:pt x="6952" y="4557"/>
                  </a:lnTo>
                  <a:lnTo>
                    <a:pt x="6751" y="4974"/>
                  </a:lnTo>
                  <a:lnTo>
                    <a:pt x="6952" y="4974"/>
                  </a:lnTo>
                  <a:cubicBezTo>
                    <a:pt x="7028" y="5330"/>
                    <a:pt x="7103" y="5686"/>
                    <a:pt x="7179" y="6042"/>
                  </a:cubicBezTo>
                  <a:lnTo>
                    <a:pt x="6952" y="6042"/>
                  </a:lnTo>
                  <a:lnTo>
                    <a:pt x="6952" y="5807"/>
                  </a:lnTo>
                  <a:lnTo>
                    <a:pt x="6524" y="6042"/>
                  </a:lnTo>
                  <a:cubicBezTo>
                    <a:pt x="6448" y="6250"/>
                    <a:pt x="6373" y="6459"/>
                    <a:pt x="6297" y="6667"/>
                  </a:cubicBezTo>
                  <a:lnTo>
                    <a:pt x="5869" y="6849"/>
                  </a:lnTo>
                  <a:lnTo>
                    <a:pt x="4786" y="7682"/>
                  </a:lnTo>
                  <a:lnTo>
                    <a:pt x="4786" y="7917"/>
                  </a:lnTo>
                  <a:lnTo>
                    <a:pt x="4559" y="7917"/>
                  </a:lnTo>
                  <a:lnTo>
                    <a:pt x="4358" y="8099"/>
                  </a:lnTo>
                  <a:lnTo>
                    <a:pt x="4131" y="8099"/>
                  </a:lnTo>
                  <a:lnTo>
                    <a:pt x="4131" y="8307"/>
                  </a:lnTo>
                  <a:lnTo>
                    <a:pt x="4131" y="8932"/>
                  </a:lnTo>
                  <a:lnTo>
                    <a:pt x="3904" y="9349"/>
                  </a:lnTo>
                  <a:lnTo>
                    <a:pt x="3904" y="9974"/>
                  </a:lnTo>
                  <a:lnTo>
                    <a:pt x="3703" y="10182"/>
                  </a:lnTo>
                  <a:lnTo>
                    <a:pt x="3476" y="10417"/>
                  </a:lnTo>
                  <a:lnTo>
                    <a:pt x="3249" y="10599"/>
                  </a:lnTo>
                  <a:lnTo>
                    <a:pt x="2821" y="10417"/>
                  </a:lnTo>
                  <a:lnTo>
                    <a:pt x="2166" y="8542"/>
                  </a:lnTo>
                  <a:lnTo>
                    <a:pt x="1738" y="7917"/>
                  </a:lnTo>
                  <a:cubicBezTo>
                    <a:pt x="1662" y="7500"/>
                    <a:pt x="1587" y="7084"/>
                    <a:pt x="1511" y="6667"/>
                  </a:cubicBezTo>
                  <a:lnTo>
                    <a:pt x="1511" y="5807"/>
                  </a:lnTo>
                  <a:lnTo>
                    <a:pt x="1310" y="6224"/>
                  </a:lnTo>
                  <a:lnTo>
                    <a:pt x="856" y="6432"/>
                  </a:lnTo>
                  <a:lnTo>
                    <a:pt x="202" y="5807"/>
                  </a:lnTo>
                  <a:lnTo>
                    <a:pt x="655" y="5807"/>
                  </a:lnTo>
                  <a:lnTo>
                    <a:pt x="655" y="5599"/>
                  </a:lnTo>
                  <a:lnTo>
                    <a:pt x="428" y="5599"/>
                  </a:lnTo>
                  <a:lnTo>
                    <a:pt x="0" y="5417"/>
                  </a:lnTo>
                  <a:lnTo>
                    <a:pt x="202" y="5182"/>
                  </a:lnTo>
                  <a:lnTo>
                    <a:pt x="856" y="5182"/>
                  </a:lnTo>
                  <a:lnTo>
                    <a:pt x="856" y="4974"/>
                  </a:lnTo>
                  <a:lnTo>
                    <a:pt x="856" y="4557"/>
                  </a:lnTo>
                  <a:lnTo>
                    <a:pt x="655" y="4557"/>
                  </a:lnTo>
                  <a:lnTo>
                    <a:pt x="655" y="4349"/>
                  </a:lnTo>
                  <a:lnTo>
                    <a:pt x="428" y="4349"/>
                  </a:lnTo>
                  <a:lnTo>
                    <a:pt x="428" y="3932"/>
                  </a:lnTo>
                  <a:lnTo>
                    <a:pt x="655" y="3724"/>
                  </a:lnTo>
                  <a:lnTo>
                    <a:pt x="856" y="3932"/>
                  </a:lnTo>
                  <a:lnTo>
                    <a:pt x="1310" y="3724"/>
                  </a:lnTo>
                  <a:lnTo>
                    <a:pt x="2393" y="2474"/>
                  </a:lnTo>
                  <a:lnTo>
                    <a:pt x="2166" y="2292"/>
                  </a:lnTo>
                  <a:lnTo>
                    <a:pt x="2393" y="2292"/>
                  </a:lnTo>
                  <a:lnTo>
                    <a:pt x="2393" y="2057"/>
                  </a:lnTo>
                  <a:lnTo>
                    <a:pt x="2596" y="1849"/>
                  </a:lnTo>
                  <a:lnTo>
                    <a:pt x="2166" y="1432"/>
                  </a:lnTo>
                  <a:lnTo>
                    <a:pt x="1965" y="1224"/>
                  </a:lnTo>
                  <a:cubicBezTo>
                    <a:pt x="1925" y="1133"/>
                    <a:pt x="2193" y="941"/>
                    <a:pt x="2189" y="807"/>
                  </a:cubicBezTo>
                  <a:cubicBezTo>
                    <a:pt x="2185" y="673"/>
                    <a:pt x="1829" y="565"/>
                    <a:pt x="1940" y="417"/>
                  </a:cubicBezTo>
                  <a:lnTo>
                    <a:pt x="2596" y="0"/>
                  </a:lnTo>
                  <a:lnTo>
                    <a:pt x="3382" y="599"/>
                  </a:lnTo>
                  <a:lnTo>
                    <a:pt x="4131" y="495"/>
                  </a:lnTo>
                  <a:lnTo>
                    <a:pt x="4131" y="807"/>
                  </a:lnTo>
                  <a:lnTo>
                    <a:pt x="4131" y="1224"/>
                  </a:lnTo>
                  <a:lnTo>
                    <a:pt x="3703" y="1667"/>
                  </a:lnTo>
                  <a:lnTo>
                    <a:pt x="3904" y="2057"/>
                  </a:lnTo>
                  <a:lnTo>
                    <a:pt x="3476" y="2057"/>
                  </a:lnTo>
                  <a:cubicBezTo>
                    <a:pt x="3552" y="2265"/>
                    <a:pt x="3627" y="2474"/>
                    <a:pt x="3703" y="2682"/>
                  </a:cubicBezTo>
                  <a:lnTo>
                    <a:pt x="4358" y="2917"/>
                  </a:lnTo>
                  <a:cubicBezTo>
                    <a:pt x="4282" y="3125"/>
                    <a:pt x="4207" y="3334"/>
                    <a:pt x="4131" y="3542"/>
                  </a:cubicBezTo>
                  <a:lnTo>
                    <a:pt x="4559" y="3724"/>
                  </a:lnTo>
                  <a:lnTo>
                    <a:pt x="6524" y="4349"/>
                  </a:lnTo>
                  <a:lnTo>
                    <a:pt x="6751" y="4349"/>
                  </a:lnTo>
                  <a:lnTo>
                    <a:pt x="6751" y="4167"/>
                  </a:lnTo>
                  <a:lnTo>
                    <a:pt x="6751" y="3724"/>
                  </a:lnTo>
                  <a:lnTo>
                    <a:pt x="6952" y="3724"/>
                  </a:lnTo>
                  <a:lnTo>
                    <a:pt x="7179" y="3932"/>
                  </a:lnTo>
                  <a:lnTo>
                    <a:pt x="7179" y="4167"/>
                  </a:lnTo>
                  <a:lnTo>
                    <a:pt x="8035" y="4167"/>
                  </a:lnTo>
                  <a:lnTo>
                    <a:pt x="8262" y="4167"/>
                  </a:lnTo>
                  <a:lnTo>
                    <a:pt x="8035" y="3724"/>
                  </a:lnTo>
                  <a:lnTo>
                    <a:pt x="9144" y="3307"/>
                  </a:lnTo>
                  <a:close/>
                </a:path>
              </a:pathLst>
            </a:cu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13" name="Freeform 232">
              <a:extLst>
                <a:ext uri="{FF2B5EF4-FFF2-40B4-BE49-F238E27FC236}">
                  <a16:creationId xmlns:a16="http://schemas.microsoft.com/office/drawing/2014/main" id="{5A044468-15DC-92E1-C7F3-BC9143DFDBAD}"/>
                </a:ext>
              </a:extLst>
            </p:cNvPr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5724241" y="3665198"/>
              <a:ext cx="133913" cy="89985"/>
            </a:xfrm>
            <a:custGeom>
              <a:avLst/>
              <a:gdLst>
                <a:gd name="T0" fmla="*/ 14452 w 174"/>
                <a:gd name="T1" fmla="*/ 22425 h 111"/>
                <a:gd name="T2" fmla="*/ 14452 w 174"/>
                <a:gd name="T3" fmla="*/ 22425 h 111"/>
                <a:gd name="T4" fmla="*/ 20875 w 174"/>
                <a:gd name="T5" fmla="*/ 19222 h 111"/>
                <a:gd name="T6" fmla="*/ 28903 w 174"/>
                <a:gd name="T7" fmla="*/ 19222 h 111"/>
                <a:gd name="T8" fmla="*/ 32115 w 174"/>
                <a:gd name="T9" fmla="*/ 6407 h 111"/>
                <a:gd name="T10" fmla="*/ 36129 w 174"/>
                <a:gd name="T11" fmla="*/ 6407 h 111"/>
                <a:gd name="T12" fmla="*/ 32115 w 174"/>
                <a:gd name="T13" fmla="*/ 3204 h 111"/>
                <a:gd name="T14" fmla="*/ 24889 w 174"/>
                <a:gd name="T15" fmla="*/ 0 h 111"/>
                <a:gd name="T16" fmla="*/ 10437 w 174"/>
                <a:gd name="T17" fmla="*/ 6407 h 111"/>
                <a:gd name="T18" fmla="*/ 4014 w 174"/>
                <a:gd name="T19" fmla="*/ 6407 h 111"/>
                <a:gd name="T20" fmla="*/ 0 w 174"/>
                <a:gd name="T21" fmla="*/ 12814 h 111"/>
                <a:gd name="T22" fmla="*/ 0 w 174"/>
                <a:gd name="T23" fmla="*/ 16018 h 111"/>
                <a:gd name="T24" fmla="*/ 10437 w 174"/>
                <a:gd name="T25" fmla="*/ 22425 h 111"/>
                <a:gd name="T26" fmla="*/ 14452 w 174"/>
                <a:gd name="T27" fmla="*/ 22425 h 11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74"/>
                <a:gd name="T43" fmla="*/ 0 h 111"/>
                <a:gd name="T44" fmla="*/ 174 w 174"/>
                <a:gd name="T45" fmla="*/ 111 h 11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74" h="111">
                  <a:moveTo>
                    <a:pt x="69" y="111"/>
                  </a:moveTo>
                  <a:lnTo>
                    <a:pt x="69" y="111"/>
                  </a:lnTo>
                  <a:lnTo>
                    <a:pt x="103" y="96"/>
                  </a:lnTo>
                  <a:lnTo>
                    <a:pt x="140" y="96"/>
                  </a:lnTo>
                  <a:lnTo>
                    <a:pt x="157" y="32"/>
                  </a:lnTo>
                  <a:lnTo>
                    <a:pt x="174" y="32"/>
                  </a:lnTo>
                  <a:lnTo>
                    <a:pt x="157" y="15"/>
                  </a:lnTo>
                  <a:lnTo>
                    <a:pt x="121" y="0"/>
                  </a:lnTo>
                  <a:lnTo>
                    <a:pt x="51" y="32"/>
                  </a:lnTo>
                  <a:lnTo>
                    <a:pt x="17" y="32"/>
                  </a:lnTo>
                  <a:lnTo>
                    <a:pt x="0" y="63"/>
                  </a:lnTo>
                  <a:lnTo>
                    <a:pt x="0" y="80"/>
                  </a:lnTo>
                  <a:lnTo>
                    <a:pt x="51" y="111"/>
                  </a:lnTo>
                  <a:lnTo>
                    <a:pt x="69" y="111"/>
                  </a:lnTo>
                  <a:close/>
                </a:path>
              </a:pathLst>
            </a:custGeom>
            <a:solidFill>
              <a:srgbClr val="004F9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14" name="Line 57">
              <a:extLst>
                <a:ext uri="{FF2B5EF4-FFF2-40B4-BE49-F238E27FC236}">
                  <a16:creationId xmlns:a16="http://schemas.microsoft.com/office/drawing/2014/main" id="{694F92D7-F1DF-505D-D5C6-E32438964419}"/>
                </a:ext>
              </a:extLst>
            </p:cNvPr>
            <p:cNvSpPr>
              <a:spLocks noChangeShapeType="1"/>
            </p:cNvSpPr>
            <p:nvPr>
              <p:custDataLst>
                <p:tags r:id="rId298"/>
              </p:custDataLst>
            </p:nvPr>
          </p:nvSpPr>
          <p:spPr bwMode="auto">
            <a:xfrm>
              <a:off x="4134617" y="4503393"/>
              <a:ext cx="12604" cy="11665"/>
            </a:xfrm>
            <a:prstGeom prst="line">
              <a:avLst/>
            </a:pr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15" name="Line 58">
              <a:extLst>
                <a:ext uri="{FF2B5EF4-FFF2-40B4-BE49-F238E27FC236}">
                  <a16:creationId xmlns:a16="http://schemas.microsoft.com/office/drawing/2014/main" id="{7424DCED-0538-FC45-BB5A-C50180A392BE}"/>
                </a:ext>
              </a:extLst>
            </p:cNvPr>
            <p:cNvSpPr>
              <a:spLocks noChangeShapeType="1"/>
            </p:cNvSpPr>
            <p:nvPr>
              <p:custDataLst>
                <p:tags r:id="rId299"/>
              </p:custDataLst>
            </p:nvPr>
          </p:nvSpPr>
          <p:spPr bwMode="auto">
            <a:xfrm>
              <a:off x="3767538" y="4246769"/>
              <a:ext cx="28358" cy="13331"/>
            </a:xfrm>
            <a:prstGeom prst="line">
              <a:avLst/>
            </a:pr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16" name="Line 63">
              <a:extLst>
                <a:ext uri="{FF2B5EF4-FFF2-40B4-BE49-F238E27FC236}">
                  <a16:creationId xmlns:a16="http://schemas.microsoft.com/office/drawing/2014/main" id="{A084B499-316B-D49C-4888-70834B5F81DF}"/>
                </a:ext>
              </a:extLst>
            </p:cNvPr>
            <p:cNvSpPr>
              <a:spLocks noChangeShapeType="1"/>
            </p:cNvSpPr>
            <p:nvPr>
              <p:custDataLst>
                <p:tags r:id="rId300"/>
              </p:custDataLst>
            </p:nvPr>
          </p:nvSpPr>
          <p:spPr bwMode="auto">
            <a:xfrm>
              <a:off x="3835283" y="4298427"/>
              <a:ext cx="11028" cy="13331"/>
            </a:xfrm>
            <a:prstGeom prst="line">
              <a:avLst/>
            </a:pr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17" name="Line 64">
              <a:extLst>
                <a:ext uri="{FF2B5EF4-FFF2-40B4-BE49-F238E27FC236}">
                  <a16:creationId xmlns:a16="http://schemas.microsoft.com/office/drawing/2014/main" id="{0B49755F-52E5-A49F-1E75-81FF770C75BE}"/>
                </a:ext>
              </a:extLst>
            </p:cNvPr>
            <p:cNvSpPr>
              <a:spLocks noChangeShapeType="1"/>
            </p:cNvSpPr>
            <p:nvPr>
              <p:custDataLst>
                <p:tags r:id="rId301"/>
              </p:custDataLst>
            </p:nvPr>
          </p:nvSpPr>
          <p:spPr bwMode="auto">
            <a:xfrm flipV="1">
              <a:off x="3835283" y="4030138"/>
              <a:ext cx="11028" cy="38328"/>
            </a:xfrm>
            <a:prstGeom prst="line">
              <a:avLst/>
            </a:pr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18" name="Line 120">
              <a:extLst>
                <a:ext uri="{FF2B5EF4-FFF2-40B4-BE49-F238E27FC236}">
                  <a16:creationId xmlns:a16="http://schemas.microsoft.com/office/drawing/2014/main" id="{97D84586-647E-5995-9D84-D136822409C9}"/>
                </a:ext>
              </a:extLst>
            </p:cNvPr>
            <p:cNvSpPr>
              <a:spLocks noChangeShapeType="1"/>
            </p:cNvSpPr>
            <p:nvPr>
              <p:custDataLst>
                <p:tags r:id="rId302"/>
              </p:custDataLst>
            </p:nvPr>
          </p:nvSpPr>
          <p:spPr bwMode="auto">
            <a:xfrm flipV="1">
              <a:off x="8103164" y="4938322"/>
              <a:ext cx="11029" cy="38326"/>
            </a:xfrm>
            <a:prstGeom prst="line">
              <a:avLst/>
            </a:pr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19" name="Line 121">
              <a:extLst>
                <a:ext uri="{FF2B5EF4-FFF2-40B4-BE49-F238E27FC236}">
                  <a16:creationId xmlns:a16="http://schemas.microsoft.com/office/drawing/2014/main" id="{798328C0-F03C-246A-C1E8-03C71B433033}"/>
                </a:ext>
              </a:extLst>
            </p:cNvPr>
            <p:cNvSpPr>
              <a:spLocks noChangeShapeType="1"/>
            </p:cNvSpPr>
            <p:nvPr>
              <p:custDataLst>
                <p:tags r:id="rId303"/>
              </p:custDataLst>
            </p:nvPr>
          </p:nvSpPr>
          <p:spPr bwMode="auto">
            <a:xfrm>
              <a:off x="8624637" y="4938322"/>
              <a:ext cx="26782" cy="11664"/>
            </a:xfrm>
            <a:prstGeom prst="line">
              <a:avLst/>
            </a:pr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20" name="Line 122">
              <a:extLst>
                <a:ext uri="{FF2B5EF4-FFF2-40B4-BE49-F238E27FC236}">
                  <a16:creationId xmlns:a16="http://schemas.microsoft.com/office/drawing/2014/main" id="{0B9E9150-22F3-A8E8-7B7B-CC48CC53D121}"/>
                </a:ext>
              </a:extLst>
            </p:cNvPr>
            <p:cNvSpPr>
              <a:spLocks noChangeShapeType="1"/>
            </p:cNvSpPr>
            <p:nvPr>
              <p:custDataLst>
                <p:tags r:id="rId304"/>
              </p:custDataLst>
            </p:nvPr>
          </p:nvSpPr>
          <p:spPr bwMode="auto">
            <a:xfrm>
              <a:off x="8651419" y="4963317"/>
              <a:ext cx="11029" cy="13331"/>
            </a:xfrm>
            <a:prstGeom prst="line">
              <a:avLst/>
            </a:pr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21" name="Line 123">
              <a:extLst>
                <a:ext uri="{FF2B5EF4-FFF2-40B4-BE49-F238E27FC236}">
                  <a16:creationId xmlns:a16="http://schemas.microsoft.com/office/drawing/2014/main" id="{BEDB7E57-5A23-5629-DEB3-7DEC1C3F1A40}"/>
                </a:ext>
              </a:extLst>
            </p:cNvPr>
            <p:cNvSpPr>
              <a:spLocks noChangeShapeType="1"/>
            </p:cNvSpPr>
            <p:nvPr>
              <p:custDataLst>
                <p:tags r:id="rId305"/>
              </p:custDataLst>
            </p:nvPr>
          </p:nvSpPr>
          <p:spPr bwMode="auto">
            <a:xfrm>
              <a:off x="8717587" y="4976649"/>
              <a:ext cx="12604" cy="24996"/>
            </a:xfrm>
            <a:prstGeom prst="line">
              <a:avLst/>
            </a:pr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22" name="Line 124">
              <a:extLst>
                <a:ext uri="{FF2B5EF4-FFF2-40B4-BE49-F238E27FC236}">
                  <a16:creationId xmlns:a16="http://schemas.microsoft.com/office/drawing/2014/main" id="{0CA2B0C3-5205-19FE-A4DF-3940EA57C141}"/>
                </a:ext>
              </a:extLst>
            </p:cNvPr>
            <p:cNvSpPr>
              <a:spLocks noChangeShapeType="1"/>
            </p:cNvSpPr>
            <p:nvPr>
              <p:custDataLst>
                <p:tags r:id="rId306"/>
              </p:custDataLst>
            </p:nvPr>
          </p:nvSpPr>
          <p:spPr bwMode="auto">
            <a:xfrm>
              <a:off x="8730191" y="5014976"/>
              <a:ext cx="25207" cy="11664"/>
            </a:xfrm>
            <a:prstGeom prst="line">
              <a:avLst/>
            </a:pr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23" name="Line 143">
              <a:extLst>
                <a:ext uri="{FF2B5EF4-FFF2-40B4-BE49-F238E27FC236}">
                  <a16:creationId xmlns:a16="http://schemas.microsoft.com/office/drawing/2014/main" id="{B4B9F784-714D-E261-FD6D-54B133C329B3}"/>
                </a:ext>
              </a:extLst>
            </p:cNvPr>
            <p:cNvSpPr>
              <a:spLocks noChangeShapeType="1"/>
            </p:cNvSpPr>
            <p:nvPr>
              <p:custDataLst>
                <p:tags r:id="rId307"/>
              </p:custDataLst>
            </p:nvPr>
          </p:nvSpPr>
          <p:spPr bwMode="auto">
            <a:xfrm>
              <a:off x="7315441" y="4541721"/>
              <a:ext cx="0" cy="11664"/>
            </a:xfrm>
            <a:prstGeom prst="line">
              <a:avLst/>
            </a:pr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24" name="Line 144">
              <a:extLst>
                <a:ext uri="{FF2B5EF4-FFF2-40B4-BE49-F238E27FC236}">
                  <a16:creationId xmlns:a16="http://schemas.microsoft.com/office/drawing/2014/main" id="{D996FDAE-242F-2923-DC1E-65A804D772A3}"/>
                </a:ext>
              </a:extLst>
            </p:cNvPr>
            <p:cNvSpPr>
              <a:spLocks noChangeShapeType="1"/>
            </p:cNvSpPr>
            <p:nvPr>
              <p:custDataLst>
                <p:tags r:id="rId308"/>
              </p:custDataLst>
            </p:nvPr>
          </p:nvSpPr>
          <p:spPr bwMode="auto">
            <a:xfrm flipV="1">
              <a:off x="8010213" y="4198444"/>
              <a:ext cx="12604" cy="38326"/>
            </a:xfrm>
            <a:prstGeom prst="line">
              <a:avLst/>
            </a:pr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25" name="Line 145">
              <a:extLst>
                <a:ext uri="{FF2B5EF4-FFF2-40B4-BE49-F238E27FC236}">
                  <a16:creationId xmlns:a16="http://schemas.microsoft.com/office/drawing/2014/main" id="{5B6819B9-61C2-A27F-30B0-BB954EF615B8}"/>
                </a:ext>
              </a:extLst>
            </p:cNvPr>
            <p:cNvSpPr>
              <a:spLocks noChangeShapeType="1"/>
            </p:cNvSpPr>
            <p:nvPr>
              <p:custDataLst>
                <p:tags r:id="rId309"/>
              </p:custDataLst>
            </p:nvPr>
          </p:nvSpPr>
          <p:spPr bwMode="auto">
            <a:xfrm flipV="1">
              <a:off x="8081107" y="4148452"/>
              <a:ext cx="0" cy="26662"/>
            </a:xfrm>
            <a:prstGeom prst="line">
              <a:avLst/>
            </a:pr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26" name="Line 164">
              <a:extLst>
                <a:ext uri="{FF2B5EF4-FFF2-40B4-BE49-F238E27FC236}">
                  <a16:creationId xmlns:a16="http://schemas.microsoft.com/office/drawing/2014/main" id="{9B67F815-04DD-7CFA-98F9-DC679D2856B0}"/>
                </a:ext>
              </a:extLst>
            </p:cNvPr>
            <p:cNvSpPr>
              <a:spLocks noChangeShapeType="1"/>
            </p:cNvSpPr>
            <p:nvPr>
              <p:custDataLst>
                <p:tags r:id="rId310"/>
              </p:custDataLst>
            </p:nvPr>
          </p:nvSpPr>
          <p:spPr bwMode="auto">
            <a:xfrm flipV="1">
              <a:off x="8479696" y="3748518"/>
              <a:ext cx="26782" cy="38326"/>
            </a:xfrm>
            <a:prstGeom prst="line">
              <a:avLst/>
            </a:pr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27" name="Line 167">
              <a:extLst>
                <a:ext uri="{FF2B5EF4-FFF2-40B4-BE49-F238E27FC236}">
                  <a16:creationId xmlns:a16="http://schemas.microsoft.com/office/drawing/2014/main" id="{9D10C79F-A8CF-7F55-22EE-543A3392C88D}"/>
                </a:ext>
              </a:extLst>
            </p:cNvPr>
            <p:cNvSpPr>
              <a:spLocks noChangeShapeType="1"/>
            </p:cNvSpPr>
            <p:nvPr>
              <p:custDataLst>
                <p:tags r:id="rId311"/>
              </p:custDataLst>
            </p:nvPr>
          </p:nvSpPr>
          <p:spPr bwMode="auto">
            <a:xfrm flipV="1">
              <a:off x="8402498" y="3801842"/>
              <a:ext cx="12604" cy="38326"/>
            </a:xfrm>
            <a:prstGeom prst="line">
              <a:avLst/>
            </a:pr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28" name="Line 192">
              <a:extLst>
                <a:ext uri="{FF2B5EF4-FFF2-40B4-BE49-F238E27FC236}">
                  <a16:creationId xmlns:a16="http://schemas.microsoft.com/office/drawing/2014/main" id="{FEFF5F07-C573-DE08-B36F-35A7FE9BFB33}"/>
                </a:ext>
              </a:extLst>
            </p:cNvPr>
            <p:cNvSpPr>
              <a:spLocks noChangeShapeType="1"/>
            </p:cNvSpPr>
            <p:nvPr>
              <p:custDataLst>
                <p:tags r:id="rId312"/>
              </p:custDataLst>
            </p:nvPr>
          </p:nvSpPr>
          <p:spPr bwMode="auto">
            <a:xfrm>
              <a:off x="6390655" y="4505060"/>
              <a:ext cx="11028" cy="0"/>
            </a:xfrm>
            <a:prstGeom prst="line">
              <a:avLst/>
            </a:pr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29" name="Line 214">
              <a:extLst>
                <a:ext uri="{FF2B5EF4-FFF2-40B4-BE49-F238E27FC236}">
                  <a16:creationId xmlns:a16="http://schemas.microsoft.com/office/drawing/2014/main" id="{28E61969-CC8C-FB50-F35C-F0C1C0012011}"/>
                </a:ext>
              </a:extLst>
            </p:cNvPr>
            <p:cNvSpPr>
              <a:spLocks noChangeShapeType="1"/>
            </p:cNvSpPr>
            <p:nvPr>
              <p:custDataLst>
                <p:tags r:id="rId313"/>
              </p:custDataLst>
            </p:nvPr>
          </p:nvSpPr>
          <p:spPr bwMode="auto">
            <a:xfrm flipV="1">
              <a:off x="5970011" y="4005142"/>
              <a:ext cx="9453" cy="38326"/>
            </a:xfrm>
            <a:prstGeom prst="line">
              <a:avLst/>
            </a:prstGeom>
            <a:solidFill>
              <a:srgbClr val="DFDFDF"/>
            </a:solidFill>
            <a:ln w="10478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0584" tIns="50292" rIns="100584" bIns="50292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31" name="Oval 325">
              <a:extLst>
                <a:ext uri="{FF2B5EF4-FFF2-40B4-BE49-F238E27FC236}">
                  <a16:creationId xmlns:a16="http://schemas.microsoft.com/office/drawing/2014/main" id="{79A7FC9D-613C-86FA-7206-2802DBDE4052}"/>
                </a:ext>
              </a:extLst>
            </p:cNvPr>
            <p:cNvSpPr/>
            <p:nvPr/>
          </p:nvSpPr>
          <p:spPr>
            <a:xfrm>
              <a:off x="4949122" y="3940153"/>
              <a:ext cx="456879" cy="483254"/>
            </a:xfrm>
            <a:prstGeom prst="ellipse">
              <a:avLst/>
            </a:prstGeom>
            <a:noFill/>
            <a:ln w="10478" cap="flat" cmpd="sng" algn="ctr">
              <a:solidFill>
                <a:srgbClr val="D41124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  <p:txBody>
            <a:bodyPr lIns="100584" tIns="99000" rIns="100584" bIns="990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32" name="Rectangle 331">
              <a:extLst>
                <a:ext uri="{FF2B5EF4-FFF2-40B4-BE49-F238E27FC236}">
                  <a16:creationId xmlns:a16="http://schemas.microsoft.com/office/drawing/2014/main" id="{AE272D50-BFDC-360B-1E22-AD2A73E408BF}"/>
                </a:ext>
              </a:extLst>
            </p:cNvPr>
            <p:cNvSpPr/>
            <p:nvPr/>
          </p:nvSpPr>
          <p:spPr>
            <a:xfrm flipH="1">
              <a:off x="505394" y="3762623"/>
              <a:ext cx="1886779" cy="73488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79200" tIns="39600" rIns="39600" bIns="396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venir Next LT Pro" panose="020B0504020202020204" pitchFamily="34" charset="0"/>
                  <a:cs typeface="Arial" panose="020B0604020202020204" pitchFamily="34" charset="0"/>
                </a:rPr>
                <a:t>Agreement with USA (2005)</a:t>
              </a:r>
            </a:p>
          </p:txBody>
        </p:sp>
        <p:cxnSp>
          <p:nvCxnSpPr>
            <p:cNvPr id="333" name="Straight Connector 342">
              <a:extLst>
                <a:ext uri="{FF2B5EF4-FFF2-40B4-BE49-F238E27FC236}">
                  <a16:creationId xmlns:a16="http://schemas.microsoft.com/office/drawing/2014/main" id="{A1CBD4D0-BB06-49E3-F437-7F6E7CFC4452}"/>
                </a:ext>
              </a:extLst>
            </p:cNvPr>
            <p:cNvCxnSpPr>
              <a:cxnSpLocks/>
              <a:stCxn id="2060" idx="3"/>
            </p:cNvCxnSpPr>
            <p:nvPr/>
          </p:nvCxnSpPr>
          <p:spPr>
            <a:xfrm>
              <a:off x="1456029" y="3571940"/>
              <a:ext cx="1583653" cy="313222"/>
            </a:xfrm>
            <a:prstGeom prst="line">
              <a:avLst/>
            </a:prstGeom>
            <a:noFill/>
            <a:ln w="19050" cap="rnd" cmpd="sng" algn="ctr">
              <a:solidFill>
                <a:schemeClr val="tx1"/>
              </a:solidFill>
              <a:prstDash val="sysDot"/>
              <a:round/>
              <a:headEnd type="none" w="med" len="med"/>
              <a:tailEnd type="oval" w="med" len="med"/>
            </a:ln>
            <a:effectLst/>
          </p:spPr>
        </p:cxnSp>
        <p:cxnSp>
          <p:nvCxnSpPr>
            <p:cNvPr id="335" name="Straight Connector 345">
              <a:extLst>
                <a:ext uri="{FF2B5EF4-FFF2-40B4-BE49-F238E27FC236}">
                  <a16:creationId xmlns:a16="http://schemas.microsoft.com/office/drawing/2014/main" id="{AF4D1D8A-5603-F624-D9D1-57C7764F1795}"/>
                </a:ext>
              </a:extLst>
            </p:cNvPr>
            <p:cNvCxnSpPr>
              <a:cxnSpLocks/>
              <a:stCxn id="336" idx="1"/>
            </p:cNvCxnSpPr>
            <p:nvPr/>
          </p:nvCxnSpPr>
          <p:spPr>
            <a:xfrm flipV="1">
              <a:off x="3506396" y="4467513"/>
              <a:ext cx="2060160" cy="711371"/>
            </a:xfrm>
            <a:prstGeom prst="line">
              <a:avLst/>
            </a:prstGeom>
            <a:noFill/>
            <a:ln w="19050" cap="rnd" cmpd="sng" algn="ctr">
              <a:solidFill>
                <a:schemeClr val="tx1"/>
              </a:solidFill>
              <a:prstDash val="sysDot"/>
              <a:round/>
              <a:headEnd type="none" w="med" len="med"/>
              <a:tailEnd type="oval" w="med" len="med"/>
            </a:ln>
            <a:effectLst/>
          </p:spPr>
        </p:cxnSp>
        <p:sp>
          <p:nvSpPr>
            <p:cNvPr id="336" name="Rectangle 335">
              <a:extLst>
                <a:ext uri="{FF2B5EF4-FFF2-40B4-BE49-F238E27FC236}">
                  <a16:creationId xmlns:a16="http://schemas.microsoft.com/office/drawing/2014/main" id="{A4CC6D16-53E0-A42C-E205-2060488998D4}"/>
                </a:ext>
              </a:extLst>
            </p:cNvPr>
            <p:cNvSpPr/>
            <p:nvPr/>
          </p:nvSpPr>
          <p:spPr>
            <a:xfrm flipH="1">
              <a:off x="1389496" y="4717293"/>
              <a:ext cx="2116900" cy="923181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0" rIns="0" bIns="0" anchor="ctr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venir Next LT Pro" panose="020B0504020202020204" pitchFamily="34" charset="0"/>
                  <a:cs typeface="Arial" panose="020B0604020202020204" pitchFamily="34" charset="0"/>
                </a:rPr>
                <a:t>Morocco to become member of the Economic Community of West African States (ECOWAS)</a:t>
              </a:r>
            </a:p>
          </p:txBody>
        </p:sp>
        <p:sp>
          <p:nvSpPr>
            <p:cNvPr id="338" name="Rectangle 337">
              <a:extLst>
                <a:ext uri="{FF2B5EF4-FFF2-40B4-BE49-F238E27FC236}">
                  <a16:creationId xmlns:a16="http://schemas.microsoft.com/office/drawing/2014/main" id="{F84CD051-0D38-46C6-DA13-1257DF4D1EB8}"/>
                </a:ext>
              </a:extLst>
            </p:cNvPr>
            <p:cNvSpPr/>
            <p:nvPr/>
          </p:nvSpPr>
          <p:spPr>
            <a:xfrm flipH="1">
              <a:off x="6996098" y="5780451"/>
              <a:ext cx="3427226" cy="46254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0" rIns="0" bIns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Arial" panose="020B0604020202020204" pitchFamily="34" charset="0"/>
                </a:rPr>
                <a:t>Africa Continental Free Trade Agreement (</a:t>
              </a:r>
              <a:r>
                <a:rPr kumimoji="0" lang="en-US" sz="1100" b="1" i="0" u="none" strike="noStrike" kern="0" cap="none" spc="0" normalizeH="0" baseline="0" noProof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Arial" panose="020B0604020202020204" pitchFamily="34" charset="0"/>
                </a:rPr>
                <a:t>AfCFTA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Arial" panose="020B0604020202020204" pitchFamily="34" charset="0"/>
                </a:rPr>
                <a:t>) </a:t>
              </a:r>
              <a:r>
                <a:rPr lang="en-US" sz="1100" b="1" kern="0">
                  <a:solidFill>
                    <a:schemeClr val="bg1"/>
                  </a:solidFill>
                  <a:latin typeface="Avenir Next LT Pro" panose="020B0504020202020204" pitchFamily="34" charset="0"/>
                  <a:cs typeface="Arial" panose="020B0604020202020204" pitchFamily="34" charset="0"/>
                </a:rPr>
                <a:t>(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Arial" panose="020B0604020202020204" pitchFamily="34" charset="0"/>
                </a:rPr>
                <a:t>2018)</a:t>
              </a:r>
            </a:p>
          </p:txBody>
        </p:sp>
        <p:cxnSp>
          <p:nvCxnSpPr>
            <p:cNvPr id="339" name="Straight Connector 357">
              <a:extLst>
                <a:ext uri="{FF2B5EF4-FFF2-40B4-BE49-F238E27FC236}">
                  <a16:creationId xmlns:a16="http://schemas.microsoft.com/office/drawing/2014/main" id="{00A41CD2-4BA3-6300-4168-11267E929525}"/>
                </a:ext>
              </a:extLst>
            </p:cNvPr>
            <p:cNvCxnSpPr>
              <a:cxnSpLocks/>
              <a:endCxn id="2056" idx="0"/>
            </p:cNvCxnSpPr>
            <p:nvPr/>
          </p:nvCxnSpPr>
          <p:spPr>
            <a:xfrm>
              <a:off x="5947954" y="4770704"/>
              <a:ext cx="664523" cy="815126"/>
            </a:xfrm>
            <a:prstGeom prst="line">
              <a:avLst/>
            </a:prstGeom>
            <a:noFill/>
            <a:ln w="19050" cap="rnd" cmpd="sng" algn="ctr">
              <a:solidFill>
                <a:schemeClr val="tx1"/>
              </a:solidFill>
              <a:prstDash val="sysDot"/>
              <a:round/>
              <a:headEnd type="oval" w="med" len="med"/>
              <a:tailEnd type="none" w="med" len="med"/>
            </a:ln>
            <a:effectLst/>
          </p:spPr>
        </p:cxnSp>
        <p:sp>
          <p:nvSpPr>
            <p:cNvPr id="341" name="Rectangle 340">
              <a:extLst>
                <a:ext uri="{FF2B5EF4-FFF2-40B4-BE49-F238E27FC236}">
                  <a16:creationId xmlns:a16="http://schemas.microsoft.com/office/drawing/2014/main" id="{18D85799-106B-B570-A6EA-EE19A5D5F374}"/>
                </a:ext>
              </a:extLst>
            </p:cNvPr>
            <p:cNvSpPr/>
            <p:nvPr/>
          </p:nvSpPr>
          <p:spPr>
            <a:xfrm flipH="1">
              <a:off x="8917669" y="4308221"/>
              <a:ext cx="2158248" cy="871524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79200" tIns="39600" rIns="39600" bIns="396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Arial" panose="020B0604020202020204" pitchFamily="34" charset="0"/>
                </a:rPr>
                <a:t>Agadir Agreement with Egypt, Jordan, and Tunisia (2004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Arial" panose="020B0604020202020204" pitchFamily="34" charset="0"/>
                </a:rPr>
                <a:t>United Arab Emirates Agreement (2003) 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Arial" panose="020B0604020202020204" pitchFamily="34" charset="0"/>
                </a:rPr>
                <a:t>Arab League Agreement (1998)</a:t>
              </a:r>
            </a:p>
          </p:txBody>
        </p:sp>
        <p:cxnSp>
          <p:nvCxnSpPr>
            <p:cNvPr id="342" name="Straight Connector 360">
              <a:extLst>
                <a:ext uri="{FF2B5EF4-FFF2-40B4-BE49-F238E27FC236}">
                  <a16:creationId xmlns:a16="http://schemas.microsoft.com/office/drawing/2014/main" id="{961CD8FE-94BD-9592-35CF-D770DC4E452B}"/>
                </a:ext>
              </a:extLst>
            </p:cNvPr>
            <p:cNvCxnSpPr>
              <a:cxnSpLocks/>
              <a:stCxn id="2054" idx="1"/>
            </p:cNvCxnSpPr>
            <p:nvPr/>
          </p:nvCxnSpPr>
          <p:spPr>
            <a:xfrm flipH="1" flipV="1">
              <a:off x="6020378" y="4262355"/>
              <a:ext cx="2233898" cy="211045"/>
            </a:xfrm>
            <a:prstGeom prst="line">
              <a:avLst/>
            </a:prstGeom>
            <a:noFill/>
            <a:ln w="19050" cap="rnd" cmpd="sng" algn="ctr">
              <a:solidFill>
                <a:schemeClr val="tx1"/>
              </a:solidFill>
              <a:prstDash val="sysDot"/>
              <a:round/>
              <a:headEnd type="none" w="med" len="med"/>
              <a:tailEnd type="oval" w="med" len="med"/>
            </a:ln>
            <a:effectLst/>
          </p:spPr>
        </p:cxnSp>
        <p:sp>
          <p:nvSpPr>
            <p:cNvPr id="344" name="Rectangle 343">
              <a:extLst>
                <a:ext uri="{FF2B5EF4-FFF2-40B4-BE49-F238E27FC236}">
                  <a16:creationId xmlns:a16="http://schemas.microsoft.com/office/drawing/2014/main" id="{EDD5DD6D-C5A0-B996-AA85-C79717A5952D}"/>
                </a:ext>
              </a:extLst>
            </p:cNvPr>
            <p:cNvSpPr/>
            <p:nvPr/>
          </p:nvSpPr>
          <p:spPr>
            <a:xfrm flipH="1">
              <a:off x="8574175" y="3672696"/>
              <a:ext cx="2319148" cy="523247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79200" tIns="39600" rIns="39600" bIns="396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Arial" panose="020B0604020202020204" pitchFamily="34" charset="0"/>
                </a:rPr>
                <a:t>Agreement with Turkey (2003)</a:t>
              </a:r>
            </a:p>
          </p:txBody>
        </p:sp>
        <p:cxnSp>
          <p:nvCxnSpPr>
            <p:cNvPr id="345" name="Straight Connector 363">
              <a:extLst>
                <a:ext uri="{FF2B5EF4-FFF2-40B4-BE49-F238E27FC236}">
                  <a16:creationId xmlns:a16="http://schemas.microsoft.com/office/drawing/2014/main" id="{F9C29B66-73E0-CC3C-2B3D-95AA1679749A}"/>
                </a:ext>
              </a:extLst>
            </p:cNvPr>
            <p:cNvCxnSpPr>
              <a:cxnSpLocks/>
              <a:endCxn id="2052" idx="1"/>
            </p:cNvCxnSpPr>
            <p:nvPr/>
          </p:nvCxnSpPr>
          <p:spPr>
            <a:xfrm flipV="1">
              <a:off x="6207903" y="3422738"/>
              <a:ext cx="2506384" cy="493253"/>
            </a:xfrm>
            <a:prstGeom prst="line">
              <a:avLst/>
            </a:prstGeom>
            <a:noFill/>
            <a:ln w="19050" cap="rnd" cmpd="sng" algn="ctr">
              <a:solidFill>
                <a:schemeClr val="tx1"/>
              </a:solidFill>
              <a:prstDash val="sysDot"/>
              <a:round/>
              <a:headEnd type="none" w="med" len="med"/>
              <a:tailEnd type="oval" w="med" len="med"/>
            </a:ln>
            <a:effectLst/>
          </p:spPr>
        </p:cxnSp>
        <p:cxnSp>
          <p:nvCxnSpPr>
            <p:cNvPr id="347" name="Straight Connector 365">
              <a:extLst>
                <a:ext uri="{FF2B5EF4-FFF2-40B4-BE49-F238E27FC236}">
                  <a16:creationId xmlns:a16="http://schemas.microsoft.com/office/drawing/2014/main" id="{577494C5-4586-92CD-BA62-71591D9ACC77}"/>
                </a:ext>
              </a:extLst>
            </p:cNvPr>
            <p:cNvCxnSpPr>
              <a:cxnSpLocks/>
              <a:endCxn id="2050" idx="1"/>
            </p:cNvCxnSpPr>
            <p:nvPr/>
          </p:nvCxnSpPr>
          <p:spPr>
            <a:xfrm flipV="1">
              <a:off x="6009397" y="2545605"/>
              <a:ext cx="902018" cy="939623"/>
            </a:xfrm>
            <a:prstGeom prst="line">
              <a:avLst/>
            </a:prstGeom>
            <a:noFill/>
            <a:ln w="19050" cap="rnd" cmpd="sng" algn="ctr">
              <a:solidFill>
                <a:schemeClr val="tx1"/>
              </a:solidFill>
              <a:prstDash val="sysDot"/>
              <a:round/>
              <a:headEnd type="oval" w="med" len="med"/>
              <a:tailEnd type="none" w="med" len="med"/>
            </a:ln>
            <a:effectLst/>
          </p:spPr>
        </p:cxnSp>
        <p:sp>
          <p:nvSpPr>
            <p:cNvPr id="348" name="Rectangle 347">
              <a:extLst>
                <a:ext uri="{FF2B5EF4-FFF2-40B4-BE49-F238E27FC236}">
                  <a16:creationId xmlns:a16="http://schemas.microsoft.com/office/drawing/2014/main" id="{B203E99F-160A-A454-AE1D-7B6AE8FAD812}"/>
                </a:ext>
              </a:extLst>
            </p:cNvPr>
            <p:cNvSpPr/>
            <p:nvPr/>
          </p:nvSpPr>
          <p:spPr>
            <a:xfrm flipH="1">
              <a:off x="7562150" y="1570301"/>
              <a:ext cx="3973134" cy="92818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79200" tIns="39600" rIns="39600" bIns="396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Arial" panose="020B0604020202020204" pitchFamily="34" charset="0"/>
                </a:rPr>
                <a:t>Association Agreement with the European Union (1996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Arial" panose="020B0604020202020204" pitchFamily="34" charset="0"/>
                </a:rPr>
                <a:t>Advanced  status granted in 2008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Arial" panose="020B0604020202020204" pitchFamily="34" charset="0"/>
                </a:rPr>
                <a:t>FTA with EFTA</a:t>
              </a:r>
            </a:p>
          </p:txBody>
        </p:sp>
        <p:pic>
          <p:nvPicPr>
            <p:cNvPr id="2050" name="Picture 2" descr="Europe flag icon - Country flags">
              <a:extLst>
                <a:ext uri="{FF2B5EF4-FFF2-40B4-BE49-F238E27FC236}">
                  <a16:creationId xmlns:a16="http://schemas.microsoft.com/office/drawing/2014/main" id="{D64207A6-F7EB-B370-BD52-9F35D027F51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11415" y="2281361"/>
              <a:ext cx="528487" cy="5284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2" name="Picture 4" descr="Turkey flag icon - Country flags">
              <a:extLst>
                <a:ext uri="{FF2B5EF4-FFF2-40B4-BE49-F238E27FC236}">
                  <a16:creationId xmlns:a16="http://schemas.microsoft.com/office/drawing/2014/main" id="{1CAFB560-7D3F-BB8E-72FE-5144F62732E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14287" y="3156670"/>
              <a:ext cx="532135" cy="5321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4" name="Picture 6" descr="Arab League flag image - Country flags">
              <a:extLst>
                <a:ext uri="{FF2B5EF4-FFF2-40B4-BE49-F238E27FC236}">
                  <a16:creationId xmlns:a16="http://schemas.microsoft.com/office/drawing/2014/main" id="{E3CB2C1B-6718-CB8E-F043-F1BBAAAA350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54277" y="4203777"/>
              <a:ext cx="539243" cy="5392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6" name="Picture 8" descr="AfCFTA – Applications sur Google Play">
              <a:extLst>
                <a:ext uri="{FF2B5EF4-FFF2-40B4-BE49-F238E27FC236}">
                  <a16:creationId xmlns:a16="http://schemas.microsoft.com/office/drawing/2014/main" id="{47DA98E1-BE46-592D-9945-FA53AF4F04F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91248" y="5585831"/>
              <a:ext cx="642458" cy="6424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8" name="Picture 10" descr="Ecowas - Cedeao (@ecowas_cedeao) / Twitter">
              <a:extLst>
                <a:ext uri="{FF2B5EF4-FFF2-40B4-BE49-F238E27FC236}">
                  <a16:creationId xmlns:a16="http://schemas.microsoft.com/office/drawing/2014/main" id="{DE591FC0-D9FF-268C-A22F-6D1144BF2E7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1834" y="4909388"/>
              <a:ext cx="558984" cy="5589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60" name="Picture 12" descr="Flag in Glossy Round Button of Icon. Stock Vector - Illustration of metal,  emblem: 134173203">
              <a:extLst>
                <a:ext uri="{FF2B5EF4-FFF2-40B4-BE49-F238E27FC236}">
                  <a16:creationId xmlns:a16="http://schemas.microsoft.com/office/drawing/2014/main" id="{015904F3-A618-8218-850D-4897A3EF872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3637" y="3165744"/>
              <a:ext cx="812392" cy="8123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80" name="ZoneTexte 379">
            <a:extLst>
              <a:ext uri="{FF2B5EF4-FFF2-40B4-BE49-F238E27FC236}">
                <a16:creationId xmlns:a16="http://schemas.microsoft.com/office/drawing/2014/main" id="{8D2C26A2-290A-B607-919F-D66FBAA9B804}"/>
              </a:ext>
            </a:extLst>
          </p:cNvPr>
          <p:cNvSpPr txBox="1"/>
          <p:nvPr/>
        </p:nvSpPr>
        <p:spPr>
          <a:xfrm>
            <a:off x="47464" y="4278894"/>
            <a:ext cx="584578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>
                <a:solidFill>
                  <a:schemeClr val="tx1">
                    <a:lumMod val="75000"/>
                    <a:lumOff val="25000"/>
                  </a:schemeClr>
                </a:solidFill>
                <a:latin typeface="Avenir Next LT Pro" panose="020B0504020202020204" pitchFamily="34" charset="0"/>
                <a:ea typeface="+mj-ea"/>
                <a:cs typeface="+mj-cs"/>
                <a:sym typeface="Calibri Light" panose="020F0302020204030204" pitchFamily="34" charset="0"/>
              </a:rPr>
              <a:t>Unique </a:t>
            </a:r>
            <a:r>
              <a:rPr kumimoji="0" lang="en-US" sz="1050" i="0" u="none" strike="noStrike" kern="1200" cap="none" spc="0" normalizeH="0" baseline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  <a:sym typeface="Calibri Light" panose="020F0302020204030204" pitchFamily="34" charset="0"/>
              </a:rPr>
              <a:t>FTA with the </a:t>
            </a:r>
            <a:r>
              <a:rPr kumimoji="0" lang="en-US" sz="1100" i="0" u="none" strike="noStrike" kern="1200" cap="none" spc="0" normalizeH="0" baseline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  <a:sym typeface="Calibri Light" panose="020F0302020204030204" pitchFamily="34" charset="0"/>
              </a:rPr>
              <a:t>US in Africa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97617497-1107-BAFC-A17B-21FD3B0077DD}"/>
              </a:ext>
            </a:extLst>
          </p:cNvPr>
          <p:cNvSpPr txBox="1"/>
          <p:nvPr/>
        </p:nvSpPr>
        <p:spPr>
          <a:xfrm>
            <a:off x="331290" y="924494"/>
            <a:ext cx="1134267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US" b="1">
                <a:effectLst/>
                <a:latin typeface="Avenir Next LT Pro Demi" panose="020B07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ree Trade Agreements with nearly 50 countries offering duty-free access to a market of 2,5 billion consumers</a:t>
            </a:r>
          </a:p>
        </p:txBody>
      </p:sp>
    </p:spTree>
    <p:extLst>
      <p:ext uri="{BB962C8B-B14F-4D97-AF65-F5344CB8AC3E}">
        <p14:creationId xmlns:p14="http://schemas.microsoft.com/office/powerpoint/2010/main" val="28534909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 : avec coins arrondis en diagonale 17">
            <a:extLst>
              <a:ext uri="{FF2B5EF4-FFF2-40B4-BE49-F238E27FC236}">
                <a16:creationId xmlns:a16="http://schemas.microsoft.com/office/drawing/2014/main" id="{B86E2F37-6027-A466-6ED0-9ADB273BECD4}"/>
              </a:ext>
            </a:extLst>
          </p:cNvPr>
          <p:cNvSpPr/>
          <p:nvPr/>
        </p:nvSpPr>
        <p:spPr>
          <a:xfrm rot="16200000">
            <a:off x="3451041" y="-1555950"/>
            <a:ext cx="5289917" cy="11272820"/>
          </a:xfrm>
          <a:prstGeom prst="round2DiagRect">
            <a:avLst>
              <a:gd name="adj1" fmla="val 0"/>
              <a:gd name="adj2" fmla="val 23842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9E514EF9-6D1C-02A2-4E2D-3AF3B598CCF2}"/>
              </a:ext>
            </a:extLst>
          </p:cNvPr>
          <p:cNvSpPr txBox="1"/>
          <p:nvPr/>
        </p:nvSpPr>
        <p:spPr>
          <a:xfrm>
            <a:off x="11594462" y="6601619"/>
            <a:ext cx="475869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000">
                <a:solidFill>
                  <a:schemeClr val="bg1">
                    <a:lumMod val="65000"/>
                  </a:schemeClr>
                </a:solidFill>
                <a:latin typeface="Avenir Next LT Pro Light" panose="020B0304020202020204" pitchFamily="34" charset="0"/>
                <a:cs typeface="Arial" panose="020B0604020202020204" pitchFamily="34" charset="0"/>
              </a:rPr>
              <a:t>10</a:t>
            </a:r>
          </a:p>
        </p:txBody>
      </p:sp>
      <p:grpSp>
        <p:nvGrpSpPr>
          <p:cNvPr id="27" name="Groupe 26">
            <a:extLst>
              <a:ext uri="{FF2B5EF4-FFF2-40B4-BE49-F238E27FC236}">
                <a16:creationId xmlns:a16="http://schemas.microsoft.com/office/drawing/2014/main" id="{74BC38F2-0CB7-7C47-1B14-691994698B54}"/>
              </a:ext>
            </a:extLst>
          </p:cNvPr>
          <p:cNvGrpSpPr/>
          <p:nvPr/>
        </p:nvGrpSpPr>
        <p:grpSpPr>
          <a:xfrm>
            <a:off x="2471239" y="5074440"/>
            <a:ext cx="1704433" cy="1156578"/>
            <a:chOff x="-3766079" y="7494486"/>
            <a:chExt cx="1704433" cy="1156578"/>
          </a:xfrm>
        </p:grpSpPr>
        <p:sp>
          <p:nvSpPr>
            <p:cNvPr id="14" name="ZoneTexte 13">
              <a:extLst>
                <a:ext uri="{FF2B5EF4-FFF2-40B4-BE49-F238E27FC236}">
                  <a16:creationId xmlns:a16="http://schemas.microsoft.com/office/drawing/2014/main" id="{7719C0CA-71D1-EBCC-933D-96B3EC8BE816}"/>
                </a:ext>
              </a:extLst>
            </p:cNvPr>
            <p:cNvSpPr txBox="1"/>
            <p:nvPr/>
          </p:nvSpPr>
          <p:spPr>
            <a:xfrm>
              <a:off x="-3752099" y="7494486"/>
              <a:ext cx="1690453" cy="64633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100"/>
                </a:spcBef>
              </a:pPr>
              <a:r>
                <a:rPr lang="en-US" sz="3600" b="1">
                  <a:solidFill>
                    <a:srgbClr val="00428A"/>
                  </a:solidFill>
                  <a:latin typeface="Avenir Next LT Pro" panose="020B0504020202020204" pitchFamily="34" charset="0"/>
                  <a:cs typeface="Tahoma"/>
                </a:rPr>
                <a:t>180</a:t>
              </a:r>
              <a:r>
                <a:rPr lang="en-US" sz="3600">
                  <a:solidFill>
                    <a:srgbClr val="00428A"/>
                  </a:solidFill>
                  <a:latin typeface="Avenir Next LT Pro" panose="020B0504020202020204" pitchFamily="34" charset="0"/>
                  <a:cs typeface="Tahoma"/>
                </a:rPr>
                <a:t> </a:t>
              </a:r>
              <a:r>
                <a:rPr lang="en-US" sz="3600" b="1">
                  <a:solidFill>
                    <a:srgbClr val="00428A"/>
                  </a:solidFill>
                  <a:latin typeface="Avenir Next LT Pro" panose="020B0504020202020204" pitchFamily="34" charset="0"/>
                  <a:cs typeface="Tahoma"/>
                </a:rPr>
                <a:t>K</a:t>
              </a:r>
              <a:r>
                <a:rPr lang="en-US" sz="3600">
                  <a:solidFill>
                    <a:srgbClr val="00428A"/>
                  </a:solidFill>
                  <a:latin typeface="Avenir Next LT Pro" panose="020B0504020202020204" pitchFamily="34" charset="0"/>
                  <a:cs typeface="Tahoma"/>
                </a:rPr>
                <a:t> </a:t>
              </a:r>
            </a:p>
          </p:txBody>
        </p:sp>
        <p:sp>
          <p:nvSpPr>
            <p:cNvPr id="20" name="ZoneTexte 19">
              <a:extLst>
                <a:ext uri="{FF2B5EF4-FFF2-40B4-BE49-F238E27FC236}">
                  <a16:creationId xmlns:a16="http://schemas.microsoft.com/office/drawing/2014/main" id="{8E91A1FF-4CA8-4965-686F-03EB22C3369E}"/>
                </a:ext>
              </a:extLst>
            </p:cNvPr>
            <p:cNvSpPr txBox="1"/>
            <p:nvPr/>
          </p:nvSpPr>
          <p:spPr>
            <a:xfrm>
              <a:off x="-3766079" y="8127844"/>
              <a:ext cx="167390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>
                  <a:solidFill>
                    <a:srgbClr val="00428A"/>
                  </a:solidFill>
                  <a:latin typeface="Avenir Next LT Pro" panose="020B0504020202020204" pitchFamily="34" charset="0"/>
                  <a:cs typeface="Tahoma"/>
                </a:rPr>
                <a:t>University graduates / year</a:t>
              </a:r>
            </a:p>
          </p:txBody>
        </p:sp>
      </p:grp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8FEB1A8D-ECB6-1CF9-FBBE-B9EED0C205B7}"/>
              </a:ext>
            </a:extLst>
          </p:cNvPr>
          <p:cNvGrpSpPr/>
          <p:nvPr/>
        </p:nvGrpSpPr>
        <p:grpSpPr>
          <a:xfrm>
            <a:off x="436933" y="5071118"/>
            <a:ext cx="1885319" cy="1235953"/>
            <a:chOff x="-5659015" y="7627251"/>
            <a:chExt cx="1885319" cy="1235953"/>
          </a:xfrm>
        </p:grpSpPr>
        <p:sp>
          <p:nvSpPr>
            <p:cNvPr id="23" name="ZoneTexte 22">
              <a:extLst>
                <a:ext uri="{FF2B5EF4-FFF2-40B4-BE49-F238E27FC236}">
                  <a16:creationId xmlns:a16="http://schemas.microsoft.com/office/drawing/2014/main" id="{8E64F61E-1C74-92FB-2C58-E2F22E2C7DC6}"/>
                </a:ext>
              </a:extLst>
            </p:cNvPr>
            <p:cNvSpPr txBox="1"/>
            <p:nvPr/>
          </p:nvSpPr>
          <p:spPr>
            <a:xfrm>
              <a:off x="-5589129" y="7627251"/>
              <a:ext cx="1529397" cy="64633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100"/>
                </a:spcBef>
              </a:pPr>
              <a:r>
                <a:rPr lang="en-US" sz="3600" b="1">
                  <a:solidFill>
                    <a:srgbClr val="00428A"/>
                  </a:solidFill>
                  <a:latin typeface="Avenir Next LT Pro" panose="020B0504020202020204" pitchFamily="34" charset="0"/>
                  <a:cs typeface="Tahoma"/>
                </a:rPr>
                <a:t>29</a:t>
              </a:r>
            </a:p>
          </p:txBody>
        </p:sp>
        <p:sp>
          <p:nvSpPr>
            <p:cNvPr id="24" name="ZoneTexte 23">
              <a:extLst>
                <a:ext uri="{FF2B5EF4-FFF2-40B4-BE49-F238E27FC236}">
                  <a16:creationId xmlns:a16="http://schemas.microsoft.com/office/drawing/2014/main" id="{3B6DDF05-1EC0-8626-8FCD-C1B9AF7D60A1}"/>
                </a:ext>
              </a:extLst>
            </p:cNvPr>
            <p:cNvSpPr txBox="1"/>
            <p:nvPr/>
          </p:nvSpPr>
          <p:spPr>
            <a:xfrm>
              <a:off x="-5659015" y="8339984"/>
              <a:ext cx="1885319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>
                  <a:solidFill>
                    <a:srgbClr val="00428A"/>
                  </a:solidFill>
                  <a:latin typeface="Avenir Next LT Pro" panose="020B0504020202020204" pitchFamily="34" charset="0"/>
                  <a:cs typeface="Tahoma"/>
                </a:rPr>
                <a:t>Median age (US : 38.5, EU : 44) </a:t>
              </a:r>
              <a:endParaRPr lang="fr-MA" sz="1400">
                <a:solidFill>
                  <a:srgbClr val="00428A"/>
                </a:solidFill>
                <a:latin typeface="Avenir Next LT Pro" panose="020B0504020202020204" pitchFamily="34" charset="0"/>
              </a:endParaRPr>
            </a:p>
          </p:txBody>
        </p:sp>
      </p:grpSp>
      <p:sp>
        <p:nvSpPr>
          <p:cNvPr id="12" name="ZoneTexte 11">
            <a:extLst>
              <a:ext uri="{FF2B5EF4-FFF2-40B4-BE49-F238E27FC236}">
                <a16:creationId xmlns:a16="http://schemas.microsoft.com/office/drawing/2014/main" id="{190E53F5-A1B2-6483-4514-8FAF200A6B0D}"/>
              </a:ext>
            </a:extLst>
          </p:cNvPr>
          <p:cNvSpPr txBox="1"/>
          <p:nvPr/>
        </p:nvSpPr>
        <p:spPr>
          <a:xfrm>
            <a:off x="396455" y="203474"/>
            <a:ext cx="11595896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4000" b="1">
                <a:latin typeface="Avenir Next LT Pro "/>
                <a:cs typeface="Arial" panose="020B0604020202020204" pitchFamily="34" charset="0"/>
              </a:rPr>
              <a:t>Young </a:t>
            </a:r>
            <a:r>
              <a:rPr lang="en-US" sz="3600" b="1">
                <a:latin typeface="Avenir Next LT Pro "/>
                <a:cs typeface="Arial" panose="020B0604020202020204" pitchFamily="34" charset="0"/>
              </a:rPr>
              <a:t>Diverse</a:t>
            </a:r>
            <a:r>
              <a:rPr lang="en-US" sz="4000" b="1">
                <a:latin typeface="Avenir Next LT Pro "/>
                <a:cs typeface="Arial" panose="020B0604020202020204" pitchFamily="34" charset="0"/>
              </a:rPr>
              <a:t> and Motivated Human Capital</a:t>
            </a:r>
          </a:p>
        </p:txBody>
      </p:sp>
      <p:grpSp>
        <p:nvGrpSpPr>
          <p:cNvPr id="2" name="Groupe 1">
            <a:extLst>
              <a:ext uri="{FF2B5EF4-FFF2-40B4-BE49-F238E27FC236}">
                <a16:creationId xmlns:a16="http://schemas.microsoft.com/office/drawing/2014/main" id="{0E21C2EA-9413-34FA-3638-8B8F4417668D}"/>
              </a:ext>
            </a:extLst>
          </p:cNvPr>
          <p:cNvGrpSpPr/>
          <p:nvPr/>
        </p:nvGrpSpPr>
        <p:grpSpPr>
          <a:xfrm>
            <a:off x="4665006" y="5061467"/>
            <a:ext cx="1758745" cy="1169552"/>
            <a:chOff x="-1351734" y="6869600"/>
            <a:chExt cx="1758745" cy="1169552"/>
          </a:xfrm>
        </p:grpSpPr>
        <p:sp>
          <p:nvSpPr>
            <p:cNvPr id="3" name="ZoneTexte 2">
              <a:extLst>
                <a:ext uri="{FF2B5EF4-FFF2-40B4-BE49-F238E27FC236}">
                  <a16:creationId xmlns:a16="http://schemas.microsoft.com/office/drawing/2014/main" id="{764FED4F-7DC5-B098-919F-4B6FD78E41A0}"/>
                </a:ext>
              </a:extLst>
            </p:cNvPr>
            <p:cNvSpPr txBox="1"/>
            <p:nvPr/>
          </p:nvSpPr>
          <p:spPr>
            <a:xfrm>
              <a:off x="-1351734" y="6869600"/>
              <a:ext cx="1529397" cy="64633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12700" algn="r">
                <a:lnSpc>
                  <a:spcPct val="100000"/>
                </a:lnSpc>
                <a:spcBef>
                  <a:spcPts val="100"/>
                </a:spcBef>
              </a:pPr>
              <a:r>
                <a:rPr lang="en-US" sz="3600" b="1">
                  <a:solidFill>
                    <a:srgbClr val="00428A"/>
                  </a:solidFill>
                  <a:latin typeface="Avenir Next LT Pro" panose="020B0504020202020204" pitchFamily="34" charset="0"/>
                  <a:cs typeface="Tahoma"/>
                </a:rPr>
                <a:t>19</a:t>
              </a:r>
              <a:r>
                <a:rPr lang="en-US" sz="3600">
                  <a:solidFill>
                    <a:srgbClr val="00428A"/>
                  </a:solidFill>
                  <a:latin typeface="Avenir Next LT Pro" panose="020B0504020202020204" pitchFamily="34" charset="0"/>
                  <a:cs typeface="Tahoma"/>
                </a:rPr>
                <a:t> </a:t>
              </a:r>
              <a:r>
                <a:rPr lang="en-US" sz="3600" b="1">
                  <a:solidFill>
                    <a:srgbClr val="00428A"/>
                  </a:solidFill>
                  <a:latin typeface="Avenir Next LT Pro" panose="020B0504020202020204" pitchFamily="34" charset="0"/>
                  <a:cs typeface="Tahoma"/>
                </a:rPr>
                <a:t>K</a:t>
              </a:r>
            </a:p>
          </p:txBody>
        </p:sp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4339A722-FAA6-0F39-554C-9186EAEF9C95}"/>
                </a:ext>
              </a:extLst>
            </p:cNvPr>
            <p:cNvSpPr txBox="1"/>
            <p:nvPr/>
          </p:nvSpPr>
          <p:spPr>
            <a:xfrm>
              <a:off x="-1266893" y="7515932"/>
              <a:ext cx="167390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>
                  <a:solidFill>
                    <a:srgbClr val="00428A"/>
                  </a:solidFill>
                  <a:latin typeface="Avenir Next LT Pro" panose="020B0504020202020204" pitchFamily="34" charset="0"/>
                  <a:cs typeface="Tahoma"/>
                </a:rPr>
                <a:t>Engineering graduates / year</a:t>
              </a:r>
            </a:p>
          </p:txBody>
        </p:sp>
      </p:grpSp>
      <p:sp>
        <p:nvSpPr>
          <p:cNvPr id="9" name="ZoneTexte 8">
            <a:extLst>
              <a:ext uri="{FF2B5EF4-FFF2-40B4-BE49-F238E27FC236}">
                <a16:creationId xmlns:a16="http://schemas.microsoft.com/office/drawing/2014/main" id="{EF5486B5-C5E7-6734-05F1-E1B26295EFAA}"/>
              </a:ext>
            </a:extLst>
          </p:cNvPr>
          <p:cNvSpPr txBox="1"/>
          <p:nvPr/>
        </p:nvSpPr>
        <p:spPr>
          <a:xfrm>
            <a:off x="7110972" y="2481050"/>
            <a:ext cx="3737090" cy="18599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fr-MA" sz="1800" b="1" i="1">
                <a:solidFill>
                  <a:srgbClr val="00428A"/>
                </a:solidFill>
                <a:latin typeface="Avenir Next LT Pro Demi" panose="020B0704020202020204" pitchFamily="34" charset="0"/>
                <a:cs typeface="Arial" panose="020B0604020202020204" pitchFamily="34" charset="0"/>
              </a:rPr>
              <a:t>The can-do attitude, the </a:t>
            </a:r>
            <a:r>
              <a:rPr lang="fr-MA" sz="1800" b="1" i="1" err="1">
                <a:solidFill>
                  <a:srgbClr val="00428A"/>
                </a:solidFill>
                <a:latin typeface="Avenir Next LT Pro Demi" panose="020B0704020202020204" pitchFamily="34" charset="0"/>
                <a:cs typeface="Arial" panose="020B0604020202020204" pitchFamily="34" charset="0"/>
              </a:rPr>
              <a:t>education</a:t>
            </a:r>
            <a:r>
              <a:rPr lang="fr-MA" sz="1800" b="1" i="1">
                <a:solidFill>
                  <a:srgbClr val="00428A"/>
                </a:solidFill>
                <a:latin typeface="Avenir Next LT Pro Demi" panose="020B0704020202020204" pitchFamily="34" charset="0"/>
                <a:cs typeface="Arial" panose="020B0604020202020204" pitchFamily="34" charset="0"/>
              </a:rPr>
              <a:t>, the </a:t>
            </a:r>
            <a:r>
              <a:rPr lang="fr-MA" sz="1800" b="1" i="1" err="1">
                <a:solidFill>
                  <a:srgbClr val="00428A"/>
                </a:solidFill>
                <a:latin typeface="Avenir Next LT Pro Demi" panose="020B0704020202020204" pitchFamily="34" charset="0"/>
                <a:cs typeface="Arial" panose="020B0604020202020204" pitchFamily="34" charset="0"/>
              </a:rPr>
              <a:t>willingness</a:t>
            </a:r>
            <a:r>
              <a:rPr lang="fr-MA" sz="1800" b="1" i="1">
                <a:solidFill>
                  <a:srgbClr val="00428A"/>
                </a:solidFill>
                <a:latin typeface="Avenir Next LT Pro Demi" panose="020B0704020202020204" pitchFamily="34" charset="0"/>
                <a:cs typeface="Arial" panose="020B0604020202020204" pitchFamily="34" charset="0"/>
              </a:rPr>
              <a:t> and the </a:t>
            </a:r>
            <a:r>
              <a:rPr lang="fr-MA" sz="1800" b="1" i="1" err="1">
                <a:solidFill>
                  <a:srgbClr val="00428A"/>
                </a:solidFill>
                <a:latin typeface="Avenir Next LT Pro Demi" panose="020B0704020202020204" pitchFamily="34" charset="0"/>
                <a:cs typeface="Arial" panose="020B0604020202020204" pitchFamily="34" charset="0"/>
              </a:rPr>
              <a:t>enthusiasm</a:t>
            </a:r>
            <a:r>
              <a:rPr lang="fr-MA" sz="1800" b="1" i="1">
                <a:solidFill>
                  <a:srgbClr val="00428A"/>
                </a:solidFill>
                <a:latin typeface="Avenir Next LT Pro Demi" panose="020B0704020202020204" pitchFamily="34" charset="0"/>
                <a:cs typeface="Arial" panose="020B0604020202020204" pitchFamily="34" charset="0"/>
              </a:rPr>
              <a:t> of </a:t>
            </a:r>
            <a:r>
              <a:rPr lang="fr-MA" sz="1800" b="1" i="1" err="1">
                <a:solidFill>
                  <a:srgbClr val="00428A"/>
                </a:solidFill>
                <a:latin typeface="Avenir Next LT Pro Demi" panose="020B0704020202020204" pitchFamily="34" charset="0"/>
                <a:cs typeface="Arial" panose="020B0604020202020204" pitchFamily="34" charset="0"/>
              </a:rPr>
              <a:t>Moroccans</a:t>
            </a:r>
            <a:r>
              <a:rPr lang="fr-MA" sz="1800" b="1" i="1">
                <a:solidFill>
                  <a:srgbClr val="00428A"/>
                </a:solidFill>
                <a:latin typeface="Avenir Next LT Pro Demi" panose="020B0704020202020204" pitchFamily="34" charset="0"/>
                <a:cs typeface="Arial" panose="020B0604020202020204" pitchFamily="34" charset="0"/>
              </a:rPr>
              <a:t> </a:t>
            </a:r>
            <a:r>
              <a:rPr lang="fr-MA" sz="1800" b="1" i="1" err="1">
                <a:solidFill>
                  <a:srgbClr val="00428A"/>
                </a:solidFill>
                <a:latin typeface="Avenir Next LT Pro Demi" panose="020B0704020202020204" pitchFamily="34" charset="0"/>
                <a:cs typeface="Arial" panose="020B0604020202020204" pitchFamily="34" charset="0"/>
              </a:rPr>
              <a:t>will</a:t>
            </a:r>
            <a:r>
              <a:rPr lang="fr-MA" sz="1800" b="1" i="1">
                <a:solidFill>
                  <a:srgbClr val="00428A"/>
                </a:solidFill>
                <a:latin typeface="Avenir Next LT Pro Demi" panose="020B0704020202020204" pitchFamily="34" charset="0"/>
                <a:cs typeface="Arial" panose="020B0604020202020204" pitchFamily="34" charset="0"/>
              </a:rPr>
              <a:t> </a:t>
            </a:r>
            <a:r>
              <a:rPr lang="fr-MA" sz="1800" b="1" i="1" err="1">
                <a:solidFill>
                  <a:srgbClr val="00428A"/>
                </a:solidFill>
                <a:latin typeface="Avenir Next LT Pro Demi" panose="020B0704020202020204" pitchFamily="34" charset="0"/>
                <a:cs typeface="Arial" panose="020B0604020202020204" pitchFamily="34" charset="0"/>
              </a:rPr>
              <a:t>mean</a:t>
            </a:r>
            <a:r>
              <a:rPr lang="fr-MA" sz="1800" b="1" i="1">
                <a:solidFill>
                  <a:srgbClr val="00428A"/>
                </a:solidFill>
                <a:latin typeface="Avenir Next LT Pro Demi" panose="020B0704020202020204" pitchFamily="34" charset="0"/>
                <a:cs typeface="Arial" panose="020B0604020202020204" pitchFamily="34" charset="0"/>
              </a:rPr>
              <a:t> </a:t>
            </a:r>
            <a:r>
              <a:rPr lang="fr-MA" sz="1800" b="1" i="1" err="1">
                <a:solidFill>
                  <a:srgbClr val="00428A"/>
                </a:solidFill>
                <a:latin typeface="Avenir Next LT Pro Demi" panose="020B0704020202020204" pitchFamily="34" charset="0"/>
                <a:cs typeface="Arial" panose="020B0604020202020204" pitchFamily="34" charset="0"/>
              </a:rPr>
              <a:t>that</a:t>
            </a:r>
            <a:r>
              <a:rPr lang="fr-MA" sz="1800" b="1" i="1">
                <a:solidFill>
                  <a:srgbClr val="00428A"/>
                </a:solidFill>
                <a:latin typeface="Avenir Next LT Pro Demi" panose="020B0704020202020204" pitchFamily="34" charset="0"/>
                <a:cs typeface="Arial" panose="020B0604020202020204" pitchFamily="34" charset="0"/>
              </a:rPr>
              <a:t> Morocco continues to </a:t>
            </a:r>
            <a:r>
              <a:rPr lang="fr-MA" sz="1800" b="1" i="1" err="1">
                <a:solidFill>
                  <a:srgbClr val="00428A"/>
                </a:solidFill>
                <a:latin typeface="Avenir Next LT Pro Demi" panose="020B0704020202020204" pitchFamily="34" charset="0"/>
                <a:cs typeface="Arial" panose="020B0604020202020204" pitchFamily="34" charset="0"/>
              </a:rPr>
              <a:t>grow</a:t>
            </a:r>
            <a:r>
              <a:rPr lang="fr-MA" sz="1800" b="1" i="1">
                <a:solidFill>
                  <a:srgbClr val="00428A"/>
                </a:solidFill>
                <a:latin typeface="Avenir Next LT Pro Demi" panose="020B0704020202020204" pitchFamily="34" charset="0"/>
                <a:cs typeface="Arial" panose="020B0604020202020204" pitchFamily="34" charset="0"/>
              </a:rPr>
              <a:t> </a:t>
            </a:r>
            <a:r>
              <a:rPr lang="fr-MA" sz="1800" b="1" i="1" err="1">
                <a:solidFill>
                  <a:srgbClr val="00428A"/>
                </a:solidFill>
                <a:latin typeface="Avenir Next LT Pro Demi" panose="020B0704020202020204" pitchFamily="34" charset="0"/>
                <a:cs typeface="Arial" panose="020B0604020202020204" pitchFamily="34" charset="0"/>
              </a:rPr>
              <a:t>significantly</a:t>
            </a:r>
            <a:r>
              <a:rPr lang="fr-MA" sz="1800" b="1" i="1">
                <a:solidFill>
                  <a:srgbClr val="00428A"/>
                </a:solidFill>
                <a:latin typeface="Avenir Next LT Pro Demi" panose="020B0704020202020204" pitchFamily="34" charset="0"/>
                <a:cs typeface="Arial" panose="020B0604020202020204" pitchFamily="34" charset="0"/>
              </a:rPr>
              <a:t>  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A84B1218-AB5E-57A7-3711-F443B1D3783A}"/>
              </a:ext>
            </a:extLst>
          </p:cNvPr>
          <p:cNvSpPr txBox="1"/>
          <p:nvPr/>
        </p:nvSpPr>
        <p:spPr>
          <a:xfrm>
            <a:off x="1115307" y="1580745"/>
            <a:ext cx="467638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err="1">
                <a:latin typeface="Avenir Next LT Pro" panose="020B0504020202020204" pitchFamily="34" charset="0"/>
              </a:rPr>
              <a:t>Competitive</a:t>
            </a:r>
            <a:r>
              <a:rPr lang="fr-FR" b="1">
                <a:latin typeface="Avenir Next LT Pro" panose="020B0504020202020204" pitchFamily="34" charset="0"/>
              </a:rPr>
              <a:t> Labor </a:t>
            </a:r>
            <a:r>
              <a:rPr lang="fr-FR" b="1" err="1">
                <a:latin typeface="Avenir Next LT Pro" panose="020B0504020202020204" pitchFamily="34" charset="0"/>
              </a:rPr>
              <a:t>Costs</a:t>
            </a:r>
            <a:endParaRPr lang="fr-FR" b="1">
              <a:latin typeface="Avenir Next LT Pro" panose="020B0504020202020204" pitchFamily="34" charset="0"/>
            </a:endParaRPr>
          </a:p>
          <a:p>
            <a:r>
              <a:rPr lang="fr-FR" sz="1400" b="1">
                <a:latin typeface="Avenir Next LT Pro" panose="020B0504020202020204" pitchFamily="34" charset="0"/>
              </a:rPr>
              <a:t>(</a:t>
            </a:r>
            <a:r>
              <a:rPr lang="fr-FR" sz="1400" b="1" err="1">
                <a:latin typeface="Avenir Next LT Pro" panose="020B0504020202020204" pitchFamily="34" charset="0"/>
              </a:rPr>
              <a:t>Annual</a:t>
            </a:r>
            <a:r>
              <a:rPr lang="fr-FR" sz="1400" b="1">
                <a:latin typeface="Avenir Next LT Pro" panose="020B0504020202020204" pitchFamily="34" charset="0"/>
              </a:rPr>
              <a:t> Total Compensation </a:t>
            </a:r>
            <a:r>
              <a:rPr lang="fr-FR" sz="1400" b="1" err="1">
                <a:latin typeface="Avenir Next LT Pro" panose="020B0504020202020204" pitchFamily="34" charset="0"/>
              </a:rPr>
              <a:t>Costs</a:t>
            </a:r>
            <a:r>
              <a:rPr lang="fr-FR" sz="1400" b="1">
                <a:latin typeface="Avenir Next LT Pro" panose="020B0504020202020204" pitchFamily="34" charset="0"/>
              </a:rPr>
              <a:t>)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1F8AFDAD-9A02-51FB-0D10-14F34C62FC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9176" y="1935954"/>
            <a:ext cx="5515463" cy="2952316"/>
          </a:xfrm>
          <a:prstGeom prst="rect">
            <a:avLst/>
          </a:prstGeom>
        </p:spPr>
      </p:pic>
      <p:pic>
        <p:nvPicPr>
          <p:cNvPr id="13" name="Graphique 12" descr="Guillemet ouvert avec un remplissage uni">
            <a:extLst>
              <a:ext uri="{FF2B5EF4-FFF2-40B4-BE49-F238E27FC236}">
                <a16:creationId xmlns:a16="http://schemas.microsoft.com/office/drawing/2014/main" id="{F772091B-E010-FA9A-190D-87A4240F3EF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350148" y="2372647"/>
            <a:ext cx="360000" cy="360000"/>
          </a:xfrm>
          <a:prstGeom prst="rect">
            <a:avLst/>
          </a:prstGeom>
        </p:spPr>
      </p:pic>
      <p:pic>
        <p:nvPicPr>
          <p:cNvPr id="15" name="Graphique 14" descr="Guillemet ouvert avec un remplissage uni">
            <a:extLst>
              <a:ext uri="{FF2B5EF4-FFF2-40B4-BE49-F238E27FC236}">
                <a16:creationId xmlns:a16="http://schemas.microsoft.com/office/drawing/2014/main" id="{716714D9-ABF6-1A60-7E19-AD73B04AFB2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 flipV="1">
            <a:off x="10010438" y="4178098"/>
            <a:ext cx="360000" cy="3600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4AB59EF6-8FE5-282E-C601-BF38E7390901}"/>
              </a:ext>
            </a:extLst>
          </p:cNvPr>
          <p:cNvSpPr txBox="1"/>
          <p:nvPr/>
        </p:nvSpPr>
        <p:spPr>
          <a:xfrm>
            <a:off x="510067" y="892548"/>
            <a:ext cx="856054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>
                <a:latin typeface="Avenir Next LT Pro Demi" panose="020B0704020202020204" pitchFamily="34" charset="0"/>
                <a:cs typeface="Arial" panose="020B0604020202020204" pitchFamily="34" charset="0"/>
              </a:rPr>
              <a:t>A young, skilled, committed, enthusiastic and competitive talent pool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BABE3F9C-74C5-5D89-139D-8C6A99A455D3}"/>
              </a:ext>
            </a:extLst>
          </p:cNvPr>
          <p:cNvSpPr txBox="1"/>
          <p:nvPr/>
        </p:nvSpPr>
        <p:spPr>
          <a:xfrm>
            <a:off x="6765450" y="5049407"/>
            <a:ext cx="1529397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2700" algn="r">
              <a:lnSpc>
                <a:spcPct val="100000"/>
              </a:lnSpc>
              <a:spcBef>
                <a:spcPts val="100"/>
              </a:spcBef>
            </a:pPr>
            <a:r>
              <a:rPr lang="en-US" sz="3600" b="1">
                <a:solidFill>
                  <a:srgbClr val="00428A"/>
                </a:solidFill>
                <a:latin typeface="Avenir Next LT Pro" panose="020B0504020202020204" pitchFamily="34" charset="0"/>
                <a:cs typeface="Tahoma"/>
              </a:rPr>
              <a:t>55 K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6907E4DD-EE64-D4D4-7052-74FCC40E2E78}"/>
              </a:ext>
            </a:extLst>
          </p:cNvPr>
          <p:cNvSpPr txBox="1"/>
          <p:nvPr/>
        </p:nvSpPr>
        <p:spPr>
          <a:xfrm>
            <a:off x="8936066" y="5004813"/>
            <a:ext cx="1529397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2700" algn="r">
              <a:lnSpc>
                <a:spcPct val="100000"/>
              </a:lnSpc>
              <a:spcBef>
                <a:spcPts val="100"/>
              </a:spcBef>
            </a:pPr>
            <a:r>
              <a:rPr lang="en-US" sz="3600" b="1">
                <a:solidFill>
                  <a:srgbClr val="00428A"/>
                </a:solidFill>
                <a:latin typeface="Avenir Next LT Pro" panose="020B0504020202020204" pitchFamily="34" charset="0"/>
                <a:cs typeface="Tahoma"/>
              </a:rPr>
              <a:t>42 %</a:t>
            </a:r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92677D80-93C8-1B38-211F-804793017714}"/>
              </a:ext>
            </a:extLst>
          </p:cNvPr>
          <p:cNvSpPr txBox="1"/>
          <p:nvPr/>
        </p:nvSpPr>
        <p:spPr>
          <a:xfrm>
            <a:off x="6808901" y="5802270"/>
            <a:ext cx="297189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>
                <a:solidFill>
                  <a:srgbClr val="00428A"/>
                </a:solidFill>
                <a:latin typeface="Avenir Next LT Pro" panose="020B0504020202020204" pitchFamily="34" charset="0"/>
                <a:cs typeface="Tahoma"/>
              </a:rPr>
              <a:t>Technicians / year </a:t>
            </a: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949D2FD4-6BBC-72BE-F256-8B6612503C6D}"/>
              </a:ext>
            </a:extLst>
          </p:cNvPr>
          <p:cNvSpPr txBox="1"/>
          <p:nvPr/>
        </p:nvSpPr>
        <p:spPr>
          <a:xfrm>
            <a:off x="8979517" y="5769701"/>
            <a:ext cx="297189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>
                <a:solidFill>
                  <a:srgbClr val="00428A"/>
                </a:solidFill>
                <a:latin typeface="Avenir Next LT Pro" panose="020B0504020202020204" pitchFamily="34" charset="0"/>
                <a:cs typeface="Tahoma"/>
              </a:rPr>
              <a:t>Women engineers</a:t>
            </a:r>
          </a:p>
        </p:txBody>
      </p:sp>
    </p:spTree>
    <p:extLst>
      <p:ext uri="{BB962C8B-B14F-4D97-AF65-F5344CB8AC3E}">
        <p14:creationId xmlns:p14="http://schemas.microsoft.com/office/powerpoint/2010/main" val="33212651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ZoneTexte 30">
            <a:extLst>
              <a:ext uri="{FF2B5EF4-FFF2-40B4-BE49-F238E27FC236}">
                <a16:creationId xmlns:a16="http://schemas.microsoft.com/office/drawing/2014/main" id="{9E514EF9-6D1C-02A2-4E2D-3AF3B598CCF2}"/>
              </a:ext>
            </a:extLst>
          </p:cNvPr>
          <p:cNvSpPr txBox="1"/>
          <p:nvPr/>
        </p:nvSpPr>
        <p:spPr>
          <a:xfrm>
            <a:off x="11594462" y="6601619"/>
            <a:ext cx="475869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000">
                <a:solidFill>
                  <a:schemeClr val="bg1">
                    <a:lumMod val="65000"/>
                  </a:schemeClr>
                </a:solidFill>
                <a:latin typeface="Avenir Next LT Pro Light" panose="020B0304020202020204" pitchFamily="34" charset="0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190E53F5-A1B2-6483-4514-8FAF200A6B0D}"/>
              </a:ext>
            </a:extLst>
          </p:cNvPr>
          <p:cNvSpPr txBox="1"/>
          <p:nvPr/>
        </p:nvSpPr>
        <p:spPr>
          <a:xfrm>
            <a:off x="480595" y="106395"/>
            <a:ext cx="8385100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</a:rPr>
              <a:t>Leader</a:t>
            </a: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4000" b="1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</a:rPr>
              <a:t>i</a:t>
            </a:r>
            <a:r>
              <a:rPr lang="en-US" sz="4000" b="1">
                <a:latin typeface="Avenir Next LT Pro" panose="020B0504020202020204" pitchFamily="34" charset="0"/>
                <a:cs typeface="Arial" panose="020B0604020202020204" pitchFamily="34" charset="0"/>
              </a:rPr>
              <a:t>n Energy Transition</a:t>
            </a:r>
            <a:endParaRPr kumimoji="0" lang="en-US" sz="40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2" name="ZoneTexte 121">
            <a:extLst>
              <a:ext uri="{FF2B5EF4-FFF2-40B4-BE49-F238E27FC236}">
                <a16:creationId xmlns:a16="http://schemas.microsoft.com/office/drawing/2014/main" id="{EC65445A-169F-5B22-21C1-B487527372CF}"/>
              </a:ext>
            </a:extLst>
          </p:cNvPr>
          <p:cNvSpPr txBox="1"/>
          <p:nvPr/>
        </p:nvSpPr>
        <p:spPr>
          <a:xfrm>
            <a:off x="505631" y="826483"/>
            <a:ext cx="85526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venir Next LT Pro Demi" panose="020B0704020202020204" pitchFamily="34" charset="0"/>
                <a:cs typeface="Arial" panose="020B0604020202020204" pitchFamily="34" charset="0"/>
              </a:rPr>
              <a:t>Competitive renewable energies to support the</a:t>
            </a:r>
            <a:r>
              <a:rPr lang="en-US" b="1">
                <a:latin typeface="Avenir Next LT Pro Demi" panose="020B07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venir Next LT Pro Demi" panose="020B0704020202020204" pitchFamily="34" charset="0"/>
                <a:cs typeface="Arial" panose="020B0604020202020204" pitchFamily="34" charset="0"/>
              </a:rPr>
              <a:t>decarbonization</a:t>
            </a:r>
            <a:r>
              <a:rPr lang="en-US" b="1">
                <a:latin typeface="Avenir Next LT Pro Demi" panose="020B07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venir Next LT Pro Demi" panose="020B0704020202020204" pitchFamily="34" charset="0"/>
                <a:cs typeface="Arial" panose="020B0604020202020204" pitchFamily="34" charset="0"/>
              </a:rPr>
              <a:t>of industries</a:t>
            </a:r>
          </a:p>
        </p:txBody>
      </p:sp>
      <p:grpSp>
        <p:nvGrpSpPr>
          <p:cNvPr id="128" name="Groupe 127">
            <a:extLst>
              <a:ext uri="{FF2B5EF4-FFF2-40B4-BE49-F238E27FC236}">
                <a16:creationId xmlns:a16="http://schemas.microsoft.com/office/drawing/2014/main" id="{57DCBA09-3C4D-0BF4-EA51-A3CF7643DC6A}"/>
              </a:ext>
            </a:extLst>
          </p:cNvPr>
          <p:cNvGrpSpPr/>
          <p:nvPr/>
        </p:nvGrpSpPr>
        <p:grpSpPr>
          <a:xfrm>
            <a:off x="479216" y="1328758"/>
            <a:ext cx="6572716" cy="5491324"/>
            <a:chOff x="-36288" y="1205798"/>
            <a:chExt cx="6572716" cy="5491324"/>
          </a:xfrm>
        </p:grpSpPr>
        <p:sp>
          <p:nvSpPr>
            <p:cNvPr id="5" name="ZoneTexte 4">
              <a:extLst>
                <a:ext uri="{FF2B5EF4-FFF2-40B4-BE49-F238E27FC236}">
                  <a16:creationId xmlns:a16="http://schemas.microsoft.com/office/drawing/2014/main" id="{C8888633-ABAD-2A52-5114-4BA8EC09557E}"/>
                </a:ext>
              </a:extLst>
            </p:cNvPr>
            <p:cNvSpPr txBox="1"/>
            <p:nvPr/>
          </p:nvSpPr>
          <p:spPr>
            <a:xfrm>
              <a:off x="1825123" y="5152684"/>
              <a:ext cx="4197905" cy="3381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Avenir Next LT Pro" panose="020B0504020202020204" pitchFamily="34" charset="0"/>
                  <a:ea typeface="+mn-ea"/>
                  <a:cs typeface="+mn-cs"/>
                </a:rPr>
                <a:t>NOOR, LARGEST SOLAR PLANT IN THE WORLD</a:t>
              </a:r>
            </a:p>
          </p:txBody>
        </p:sp>
        <p:sp>
          <p:nvSpPr>
            <p:cNvPr id="6" name="ZoneTexte 5">
              <a:extLst>
                <a:ext uri="{FF2B5EF4-FFF2-40B4-BE49-F238E27FC236}">
                  <a16:creationId xmlns:a16="http://schemas.microsoft.com/office/drawing/2014/main" id="{DC5589E8-3F9E-7A7B-9B00-30237D9293F6}"/>
                </a:ext>
              </a:extLst>
            </p:cNvPr>
            <p:cNvSpPr txBox="1"/>
            <p:nvPr/>
          </p:nvSpPr>
          <p:spPr>
            <a:xfrm>
              <a:off x="1825123" y="5472618"/>
              <a:ext cx="3669021" cy="6151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Avenir Next LT Pro" panose="020B0504020202020204" pitchFamily="34" charset="0"/>
                  <a:ea typeface="+mn-ea"/>
                  <a:cs typeface="+mn-cs"/>
                </a:rPr>
                <a:t>TARFAYA, ONE OF THE LARGEST WINDFARMS IN AFRICA</a:t>
              </a:r>
            </a:p>
          </p:txBody>
        </p:sp>
        <p:grpSp>
          <p:nvGrpSpPr>
            <p:cNvPr id="63" name="Groupe 62">
              <a:extLst>
                <a:ext uri="{FF2B5EF4-FFF2-40B4-BE49-F238E27FC236}">
                  <a16:creationId xmlns:a16="http://schemas.microsoft.com/office/drawing/2014/main" id="{79C697C4-B4EE-CB0F-6A29-0A563714334D}"/>
                </a:ext>
              </a:extLst>
            </p:cNvPr>
            <p:cNvGrpSpPr/>
            <p:nvPr/>
          </p:nvGrpSpPr>
          <p:grpSpPr>
            <a:xfrm>
              <a:off x="-36288" y="1205798"/>
              <a:ext cx="5237482" cy="5364004"/>
              <a:chOff x="6086572" y="1216053"/>
              <a:chExt cx="5478211" cy="5610548"/>
            </a:xfrm>
          </p:grpSpPr>
          <p:pic>
            <p:nvPicPr>
              <p:cNvPr id="64" name="Image 63">
                <a:extLst>
                  <a:ext uri="{FF2B5EF4-FFF2-40B4-BE49-F238E27FC236}">
                    <a16:creationId xmlns:a16="http://schemas.microsoft.com/office/drawing/2014/main" id="{3A58AC05-1580-3A62-A3AE-0157743AE6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86572" y="1260849"/>
                <a:ext cx="5052350" cy="5565752"/>
              </a:xfrm>
              <a:prstGeom prst="rect">
                <a:avLst/>
              </a:prstGeom>
            </p:spPr>
          </p:pic>
          <p:cxnSp>
            <p:nvCxnSpPr>
              <p:cNvPr id="65" name="Connecteur droit 64">
                <a:extLst>
                  <a:ext uri="{FF2B5EF4-FFF2-40B4-BE49-F238E27FC236}">
                    <a16:creationId xmlns:a16="http://schemas.microsoft.com/office/drawing/2014/main" id="{6798AB1A-189A-1A12-42EB-54D3C1429F7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649470" y="2119221"/>
                <a:ext cx="478235" cy="0"/>
              </a:xfrm>
              <a:prstGeom prst="line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Connecteur droit 65">
                <a:extLst>
                  <a:ext uri="{FF2B5EF4-FFF2-40B4-BE49-F238E27FC236}">
                    <a16:creationId xmlns:a16="http://schemas.microsoft.com/office/drawing/2014/main" id="{B422AA86-8B3D-52AD-967E-12F6E9F843CA}"/>
                  </a:ext>
                </a:extLst>
              </p:cNvPr>
              <p:cNvCxnSpPr/>
              <p:nvPr/>
            </p:nvCxnSpPr>
            <p:spPr>
              <a:xfrm flipV="1">
                <a:off x="9504547" y="1610329"/>
                <a:ext cx="0" cy="151465"/>
              </a:xfrm>
              <a:prstGeom prst="line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20E29BA1-8871-F705-2654-2C0213F2231B}"/>
                  </a:ext>
                </a:extLst>
              </p:cNvPr>
              <p:cNvSpPr/>
              <p:nvPr/>
            </p:nvSpPr>
            <p:spPr>
              <a:xfrm>
                <a:off x="8323248" y="1562746"/>
                <a:ext cx="290430" cy="29845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68" name="Connecteur droit 67">
                <a:extLst>
                  <a:ext uri="{FF2B5EF4-FFF2-40B4-BE49-F238E27FC236}">
                    <a16:creationId xmlns:a16="http://schemas.microsoft.com/office/drawing/2014/main" id="{7A975CAC-B4F0-36A9-2272-9A7EDB0A3A4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9815804" y="2406465"/>
                <a:ext cx="0" cy="350393"/>
              </a:xfrm>
              <a:prstGeom prst="line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EF8D9EA7-A841-1AA0-42EA-04D9946C08E4}"/>
                  </a:ext>
                </a:extLst>
              </p:cNvPr>
              <p:cNvSpPr/>
              <p:nvPr/>
            </p:nvSpPr>
            <p:spPr>
              <a:xfrm>
                <a:off x="7870887" y="3149699"/>
                <a:ext cx="290430" cy="29845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6ACBC186-1D45-1783-E7F1-13AE5A90641C}"/>
                  </a:ext>
                </a:extLst>
              </p:cNvPr>
              <p:cNvSpPr/>
              <p:nvPr/>
            </p:nvSpPr>
            <p:spPr>
              <a:xfrm>
                <a:off x="6437323" y="5300878"/>
                <a:ext cx="290430" cy="29845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455E0D54-4A71-E4CE-E458-A576CB8D7B6D}"/>
                  </a:ext>
                </a:extLst>
              </p:cNvPr>
              <p:cNvSpPr/>
              <p:nvPr/>
            </p:nvSpPr>
            <p:spPr>
              <a:xfrm>
                <a:off x="10080279" y="2845213"/>
                <a:ext cx="290430" cy="29845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E04EA9CF-50FD-42C4-6090-B7025CB75C1E}"/>
                  </a:ext>
                </a:extLst>
              </p:cNvPr>
              <p:cNvSpPr/>
              <p:nvPr/>
            </p:nvSpPr>
            <p:spPr>
              <a:xfrm>
                <a:off x="9379550" y="5242538"/>
                <a:ext cx="290430" cy="29845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0FCCDA8C-20C3-47BB-9F4A-A10647F5AD6D}"/>
                  </a:ext>
                </a:extLst>
              </p:cNvPr>
              <p:cNvSpPr/>
              <p:nvPr/>
            </p:nvSpPr>
            <p:spPr>
              <a:xfrm>
                <a:off x="8712668" y="5459490"/>
                <a:ext cx="290430" cy="29845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74" name="Connecteur droit 73">
                <a:extLst>
                  <a:ext uri="{FF2B5EF4-FFF2-40B4-BE49-F238E27FC236}">
                    <a16:creationId xmlns:a16="http://schemas.microsoft.com/office/drawing/2014/main" id="{CB9F64A8-9DF6-C0C4-7E02-9DFB78C5E93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9676408" y="1659822"/>
                <a:ext cx="379235" cy="0"/>
              </a:xfrm>
              <a:prstGeom prst="line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Connecteur droit 74">
                <a:extLst>
                  <a:ext uri="{FF2B5EF4-FFF2-40B4-BE49-F238E27FC236}">
                    <a16:creationId xmlns:a16="http://schemas.microsoft.com/office/drawing/2014/main" id="{811AA4EF-4CA8-127F-51F9-D1C3650267D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9676408" y="1657857"/>
                <a:ext cx="0" cy="139894"/>
              </a:xfrm>
              <a:prstGeom prst="line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28A5DB50-85FB-0582-6B98-E3FD918C4C90}"/>
                  </a:ext>
                </a:extLst>
              </p:cNvPr>
              <p:cNvSpPr/>
              <p:nvPr/>
            </p:nvSpPr>
            <p:spPr>
              <a:xfrm>
                <a:off x="7472040" y="3923364"/>
                <a:ext cx="290430" cy="29845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0C3108D6-FACF-2758-4FAF-74FD40BBD1FC}"/>
                  </a:ext>
                </a:extLst>
              </p:cNvPr>
              <p:cNvSpPr/>
              <p:nvPr/>
            </p:nvSpPr>
            <p:spPr>
              <a:xfrm>
                <a:off x="6237141" y="4395850"/>
                <a:ext cx="290430" cy="29845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78" name="Image 77">
                <a:extLst>
                  <a:ext uri="{FF2B5EF4-FFF2-40B4-BE49-F238E27FC236}">
                    <a16:creationId xmlns:a16="http://schemas.microsoft.com/office/drawing/2014/main" id="{886B675F-7653-64D7-D992-69C3FC41653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257469" y="3699145"/>
                <a:ext cx="394054" cy="581698"/>
              </a:xfrm>
              <a:prstGeom prst="rect">
                <a:avLst/>
              </a:prstGeom>
            </p:spPr>
          </p:pic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6067FDCE-42D5-67A7-5134-09A426DA7FCC}"/>
                  </a:ext>
                </a:extLst>
              </p:cNvPr>
              <p:cNvSpPr/>
              <p:nvPr/>
            </p:nvSpPr>
            <p:spPr>
              <a:xfrm>
                <a:off x="7800491" y="3267429"/>
                <a:ext cx="401913" cy="13876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  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7280737B-437D-FE2B-BC53-2A487BA51782}"/>
                  </a:ext>
                </a:extLst>
              </p:cNvPr>
              <p:cNvSpPr/>
              <p:nvPr/>
            </p:nvSpPr>
            <p:spPr>
              <a:xfrm>
                <a:off x="6465009" y="5134458"/>
                <a:ext cx="290430" cy="29845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4B44D596-6158-A1F4-FEAA-5EC6F60A7A9F}"/>
                  </a:ext>
                </a:extLst>
              </p:cNvPr>
              <p:cNvSpPr/>
              <p:nvPr/>
            </p:nvSpPr>
            <p:spPr>
              <a:xfrm>
                <a:off x="6403195" y="5053351"/>
                <a:ext cx="401913" cy="13876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  </a:t>
                </a:r>
              </a:p>
            </p:txBody>
          </p:sp>
          <p:pic>
            <p:nvPicPr>
              <p:cNvPr id="82" name="Image 81">
                <a:extLst>
                  <a:ext uri="{FF2B5EF4-FFF2-40B4-BE49-F238E27FC236}">
                    <a16:creationId xmlns:a16="http://schemas.microsoft.com/office/drawing/2014/main" id="{FC3D6633-454F-F764-4F32-2A5E9F10764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0271200" y="3429099"/>
                <a:ext cx="320918" cy="298176"/>
              </a:xfrm>
              <a:prstGeom prst="rect">
                <a:avLst/>
              </a:prstGeom>
            </p:spPr>
          </p:pic>
          <p:cxnSp>
            <p:nvCxnSpPr>
              <p:cNvPr id="83" name="Connecteur droit 82">
                <a:extLst>
                  <a:ext uri="{FF2B5EF4-FFF2-40B4-BE49-F238E27FC236}">
                    <a16:creationId xmlns:a16="http://schemas.microsoft.com/office/drawing/2014/main" id="{2C91A667-DBC6-405C-DD6E-1E04B608683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267164" y="3036380"/>
                <a:ext cx="1675778" cy="1238"/>
              </a:xfrm>
              <a:prstGeom prst="line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Connecteur droit 83">
                <a:extLst>
                  <a:ext uri="{FF2B5EF4-FFF2-40B4-BE49-F238E27FC236}">
                    <a16:creationId xmlns:a16="http://schemas.microsoft.com/office/drawing/2014/main" id="{F48FE6CC-FF13-EF14-3F10-C1541FC6AA1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815804" y="2406464"/>
                <a:ext cx="1051687" cy="3564"/>
              </a:xfrm>
              <a:prstGeom prst="line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5" name="ZoneTexte 84">
                <a:extLst>
                  <a:ext uri="{FF2B5EF4-FFF2-40B4-BE49-F238E27FC236}">
                    <a16:creationId xmlns:a16="http://schemas.microsoft.com/office/drawing/2014/main" id="{BE7240BC-11BA-F998-3D69-16A2950DF2AB}"/>
                  </a:ext>
                </a:extLst>
              </p:cNvPr>
              <p:cNvSpPr txBox="1"/>
              <p:nvPr/>
            </p:nvSpPr>
            <p:spPr>
              <a:xfrm>
                <a:off x="8822662" y="2143518"/>
                <a:ext cx="549311" cy="1846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600" u="none" strike="noStrike" cap="none" spc="0" normalizeH="0">
                    <a:ln>
                      <a:noFill/>
                    </a:ln>
                    <a:effectLst/>
                    <a:uLnTx/>
                    <a:uFillTx/>
                    <a:latin typeface="Avenir Next LT Pro" panose="020B0504020202020204" pitchFamily="34" charset="0"/>
                  </a:defRPr>
                </a:lvl1pPr>
              </a:lstStyle>
              <a:p>
                <a:r>
                  <a:rPr lang="fr-FR" b="1">
                    <a:solidFill>
                      <a:schemeClr val="bg1"/>
                    </a:solidFill>
                  </a:rPr>
                  <a:t>KENITRA</a:t>
                </a:r>
              </a:p>
            </p:txBody>
          </p:sp>
          <p:sp>
            <p:nvSpPr>
              <p:cNvPr id="86" name="ZoneTexte 85">
                <a:extLst>
                  <a:ext uri="{FF2B5EF4-FFF2-40B4-BE49-F238E27FC236}">
                    <a16:creationId xmlns:a16="http://schemas.microsoft.com/office/drawing/2014/main" id="{81A2422A-775C-F589-7895-8188EC463EE8}"/>
                  </a:ext>
                </a:extLst>
              </p:cNvPr>
              <p:cNvSpPr txBox="1"/>
              <p:nvPr/>
            </p:nvSpPr>
            <p:spPr>
              <a:xfrm>
                <a:off x="8860345" y="1656804"/>
                <a:ext cx="549311" cy="1846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6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venir Next LT Pro" panose="020B0504020202020204" pitchFamily="34" charset="0"/>
                    <a:ea typeface="+mn-ea"/>
                    <a:cs typeface="+mn-cs"/>
                  </a:rPr>
                  <a:t>TANGER</a:t>
                </a:r>
              </a:p>
            </p:txBody>
          </p:sp>
          <p:sp>
            <p:nvSpPr>
              <p:cNvPr id="87" name="ZoneTexte 86">
                <a:extLst>
                  <a:ext uri="{FF2B5EF4-FFF2-40B4-BE49-F238E27FC236}">
                    <a16:creationId xmlns:a16="http://schemas.microsoft.com/office/drawing/2014/main" id="{EE22E1F6-8C14-6D75-6FEB-A45D3478B131}"/>
                  </a:ext>
                </a:extLst>
              </p:cNvPr>
              <p:cNvSpPr txBox="1"/>
              <p:nvPr/>
            </p:nvSpPr>
            <p:spPr>
              <a:xfrm>
                <a:off x="9651270" y="1646275"/>
                <a:ext cx="561684" cy="1846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6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venir Next LT Pro" panose="020B0504020202020204" pitchFamily="34" charset="0"/>
                    <a:ea typeface="+mn-ea"/>
                    <a:cs typeface="+mn-cs"/>
                  </a:rPr>
                  <a:t>TETOUAN</a:t>
                </a:r>
              </a:p>
            </p:txBody>
          </p:sp>
          <p:sp>
            <p:nvSpPr>
              <p:cNvPr id="88" name="ZoneTexte 87">
                <a:extLst>
                  <a:ext uri="{FF2B5EF4-FFF2-40B4-BE49-F238E27FC236}">
                    <a16:creationId xmlns:a16="http://schemas.microsoft.com/office/drawing/2014/main" id="{6CBB5A28-0C77-94D6-0A34-5941E85BAEBA}"/>
                  </a:ext>
                </a:extLst>
              </p:cNvPr>
              <p:cNvSpPr txBox="1"/>
              <p:nvPr/>
            </p:nvSpPr>
            <p:spPr>
              <a:xfrm>
                <a:off x="9828331" y="1738608"/>
                <a:ext cx="707163" cy="1846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6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venir Next LT Pro" panose="020B0504020202020204" pitchFamily="34" charset="0"/>
                    <a:ea typeface="+mn-ea"/>
                    <a:cs typeface="+mn-cs"/>
                  </a:rPr>
                  <a:t>AL HOCEIMA</a:t>
                </a:r>
              </a:p>
            </p:txBody>
          </p:sp>
          <p:pic>
            <p:nvPicPr>
              <p:cNvPr id="89" name="Image 88">
                <a:extLst>
                  <a:ext uri="{FF2B5EF4-FFF2-40B4-BE49-F238E27FC236}">
                    <a16:creationId xmlns:a16="http://schemas.microsoft.com/office/drawing/2014/main" id="{9E05CD34-E651-10A1-60EB-4DA9BA3404B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6953953" y="4088517"/>
                <a:ext cx="394054" cy="581698"/>
              </a:xfrm>
              <a:prstGeom prst="rect">
                <a:avLst/>
              </a:prstGeom>
            </p:spPr>
          </p:pic>
          <p:pic>
            <p:nvPicPr>
              <p:cNvPr id="90" name="Image 89">
                <a:extLst>
                  <a:ext uri="{FF2B5EF4-FFF2-40B4-BE49-F238E27FC236}">
                    <a16:creationId xmlns:a16="http://schemas.microsoft.com/office/drawing/2014/main" id="{7E0C9772-CF57-6725-52AD-E49BC332678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6182647" y="4477349"/>
                <a:ext cx="394054" cy="581698"/>
              </a:xfrm>
              <a:prstGeom prst="rect">
                <a:avLst/>
              </a:prstGeom>
            </p:spPr>
          </p:pic>
          <p:pic>
            <p:nvPicPr>
              <p:cNvPr id="91" name="Image 90">
                <a:extLst>
                  <a:ext uri="{FF2B5EF4-FFF2-40B4-BE49-F238E27FC236}">
                    <a16:creationId xmlns:a16="http://schemas.microsoft.com/office/drawing/2014/main" id="{692C7E3D-00F5-D9DA-261B-44AAA6F39E0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681870" y="4707781"/>
                <a:ext cx="320918" cy="298176"/>
              </a:xfrm>
              <a:prstGeom prst="rect">
                <a:avLst/>
              </a:prstGeom>
            </p:spPr>
          </p:pic>
          <p:pic>
            <p:nvPicPr>
              <p:cNvPr id="92" name="Image 91">
                <a:extLst>
                  <a:ext uri="{FF2B5EF4-FFF2-40B4-BE49-F238E27FC236}">
                    <a16:creationId xmlns:a16="http://schemas.microsoft.com/office/drawing/2014/main" id="{74161EBC-E480-C9AC-8554-2FE77534B90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957930" y="2751742"/>
                <a:ext cx="394054" cy="581698"/>
              </a:xfrm>
              <a:prstGeom prst="rect">
                <a:avLst/>
              </a:prstGeom>
            </p:spPr>
          </p:pic>
          <p:pic>
            <p:nvPicPr>
              <p:cNvPr id="93" name="Image 92">
                <a:extLst>
                  <a:ext uri="{FF2B5EF4-FFF2-40B4-BE49-F238E27FC236}">
                    <a16:creationId xmlns:a16="http://schemas.microsoft.com/office/drawing/2014/main" id="{14FBDD37-F89A-1C2A-2E1C-86B4BF1331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8055968" y="1978926"/>
                <a:ext cx="394054" cy="581698"/>
              </a:xfrm>
              <a:prstGeom prst="rect">
                <a:avLst/>
              </a:prstGeom>
            </p:spPr>
          </p:pic>
          <p:pic>
            <p:nvPicPr>
              <p:cNvPr id="94" name="Image 93">
                <a:extLst>
                  <a:ext uri="{FF2B5EF4-FFF2-40B4-BE49-F238E27FC236}">
                    <a16:creationId xmlns:a16="http://schemas.microsoft.com/office/drawing/2014/main" id="{964E9515-A0B5-383D-921C-521A44570DA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0941687" y="2740841"/>
                <a:ext cx="394054" cy="581698"/>
              </a:xfrm>
              <a:prstGeom prst="rect">
                <a:avLst/>
              </a:prstGeom>
            </p:spPr>
          </p:pic>
          <p:pic>
            <p:nvPicPr>
              <p:cNvPr id="95" name="Image 94">
                <a:extLst>
                  <a:ext uri="{FF2B5EF4-FFF2-40B4-BE49-F238E27FC236}">
                    <a16:creationId xmlns:a16="http://schemas.microsoft.com/office/drawing/2014/main" id="{6EB87BD5-54E7-811F-C460-34A5B41BF39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0793656" y="2130563"/>
                <a:ext cx="394054" cy="581698"/>
              </a:xfrm>
              <a:prstGeom prst="rect">
                <a:avLst/>
              </a:prstGeom>
            </p:spPr>
          </p:pic>
          <p:pic>
            <p:nvPicPr>
              <p:cNvPr id="96" name="Image 95">
                <a:extLst>
                  <a:ext uri="{FF2B5EF4-FFF2-40B4-BE49-F238E27FC236}">
                    <a16:creationId xmlns:a16="http://schemas.microsoft.com/office/drawing/2014/main" id="{22819F16-B7F1-9668-6339-AA720D44638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0005567" y="1217660"/>
                <a:ext cx="394054" cy="581698"/>
              </a:xfrm>
              <a:prstGeom prst="rect">
                <a:avLst/>
              </a:prstGeom>
            </p:spPr>
          </p:pic>
          <p:pic>
            <p:nvPicPr>
              <p:cNvPr id="97" name="Image 96">
                <a:extLst>
                  <a:ext uri="{FF2B5EF4-FFF2-40B4-BE49-F238E27FC236}">
                    <a16:creationId xmlns:a16="http://schemas.microsoft.com/office/drawing/2014/main" id="{09966BD7-4857-4811-971B-4BE32816357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9141049" y="1216053"/>
                <a:ext cx="394054" cy="581698"/>
              </a:xfrm>
              <a:prstGeom prst="rect">
                <a:avLst/>
              </a:prstGeom>
            </p:spPr>
          </p:pic>
          <p:pic>
            <p:nvPicPr>
              <p:cNvPr id="98" name="Image 97">
                <a:extLst>
                  <a:ext uri="{FF2B5EF4-FFF2-40B4-BE49-F238E27FC236}">
                    <a16:creationId xmlns:a16="http://schemas.microsoft.com/office/drawing/2014/main" id="{05E9F553-0FD8-44A7-AEB4-19ABFBE70E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1243865" y="2339037"/>
                <a:ext cx="320918" cy="298176"/>
              </a:xfrm>
              <a:prstGeom prst="rect">
                <a:avLst/>
              </a:prstGeom>
            </p:spPr>
          </p:pic>
          <p:pic>
            <p:nvPicPr>
              <p:cNvPr id="99" name="Image 98">
                <a:extLst>
                  <a:ext uri="{FF2B5EF4-FFF2-40B4-BE49-F238E27FC236}">
                    <a16:creationId xmlns:a16="http://schemas.microsoft.com/office/drawing/2014/main" id="{FBC31117-61D7-6962-29A0-CFF0D159BC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1210141" y="1876108"/>
                <a:ext cx="320918" cy="298176"/>
              </a:xfrm>
              <a:prstGeom prst="rect">
                <a:avLst/>
              </a:prstGeom>
            </p:spPr>
          </p:pic>
          <p:pic>
            <p:nvPicPr>
              <p:cNvPr id="100" name="Image 99">
                <a:extLst>
                  <a:ext uri="{FF2B5EF4-FFF2-40B4-BE49-F238E27FC236}">
                    <a16:creationId xmlns:a16="http://schemas.microsoft.com/office/drawing/2014/main" id="{FA574092-9480-A24B-BAD7-D3265918A4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604151" y="4188167"/>
                <a:ext cx="320918" cy="298176"/>
              </a:xfrm>
              <a:prstGeom prst="rect">
                <a:avLst/>
              </a:prstGeom>
            </p:spPr>
          </p:pic>
          <p:cxnSp>
            <p:nvCxnSpPr>
              <p:cNvPr id="101" name="Connecteur droit 100">
                <a:extLst>
                  <a:ext uri="{FF2B5EF4-FFF2-40B4-BE49-F238E27FC236}">
                    <a16:creationId xmlns:a16="http://schemas.microsoft.com/office/drawing/2014/main" id="{9A257CA6-4C40-AEBA-AF11-8032645B98C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298178" y="3438321"/>
                <a:ext cx="914776" cy="1688"/>
              </a:xfrm>
              <a:prstGeom prst="line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Connecteur droit 101">
                <a:extLst>
                  <a:ext uri="{FF2B5EF4-FFF2-40B4-BE49-F238E27FC236}">
                    <a16:creationId xmlns:a16="http://schemas.microsoft.com/office/drawing/2014/main" id="{E7D24291-C196-33C8-650C-B5DB40990E7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031623" y="3310775"/>
                <a:ext cx="506202" cy="4677"/>
              </a:xfrm>
              <a:prstGeom prst="line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03" name="Image 102">
                <a:extLst>
                  <a:ext uri="{FF2B5EF4-FFF2-40B4-BE49-F238E27FC236}">
                    <a16:creationId xmlns:a16="http://schemas.microsoft.com/office/drawing/2014/main" id="{BFAC5D95-3204-0F4B-84B0-20521A10EAB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0579811" y="3168804"/>
                <a:ext cx="320918" cy="298176"/>
              </a:xfrm>
              <a:prstGeom prst="rect">
                <a:avLst/>
              </a:prstGeom>
            </p:spPr>
          </p:pic>
          <p:sp>
            <p:nvSpPr>
              <p:cNvPr id="104" name="ZoneTexte 103">
                <a:extLst>
                  <a:ext uri="{FF2B5EF4-FFF2-40B4-BE49-F238E27FC236}">
                    <a16:creationId xmlns:a16="http://schemas.microsoft.com/office/drawing/2014/main" id="{2054065D-A8F4-8C38-FB41-FBF377EAF8C2}"/>
                  </a:ext>
                </a:extLst>
              </p:cNvPr>
              <p:cNvSpPr txBox="1"/>
              <p:nvPr/>
            </p:nvSpPr>
            <p:spPr>
              <a:xfrm>
                <a:off x="9538035" y="3119740"/>
                <a:ext cx="645722" cy="1846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600" u="none" strike="noStrike" cap="none" spc="0" normalizeH="0">
                    <a:ln>
                      <a:noFill/>
                    </a:ln>
                    <a:effectLst/>
                    <a:uLnTx/>
                    <a:uFillTx/>
                    <a:latin typeface="Avenir Next LT Pro" panose="020B0504020202020204" pitchFamily="34" charset="0"/>
                  </a:defRPr>
                </a:lvl1pPr>
              </a:lstStyle>
              <a:p>
                <a:r>
                  <a:rPr lang="fr-FR" b="1">
                    <a:solidFill>
                      <a:schemeClr val="bg1"/>
                    </a:solidFill>
                  </a:rPr>
                  <a:t>TAFILALET</a:t>
                </a:r>
              </a:p>
            </p:txBody>
          </p:sp>
          <p:sp>
            <p:nvSpPr>
              <p:cNvPr id="105" name="Ellipse 104">
                <a:extLst>
                  <a:ext uri="{FF2B5EF4-FFF2-40B4-BE49-F238E27FC236}">
                    <a16:creationId xmlns:a16="http://schemas.microsoft.com/office/drawing/2014/main" id="{A481359E-FFDF-A030-89E9-1BC409A693D6}"/>
                  </a:ext>
                </a:extLst>
              </p:cNvPr>
              <p:cNvSpPr/>
              <p:nvPr/>
            </p:nvSpPr>
            <p:spPr>
              <a:xfrm>
                <a:off x="9979511" y="3287438"/>
                <a:ext cx="52112" cy="45719"/>
              </a:xfrm>
              <a:prstGeom prst="ellipse">
                <a:avLst/>
              </a:prstGeom>
              <a:solidFill>
                <a:srgbClr val="64105B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sp>
          <p:nvSpPr>
            <p:cNvPr id="123" name="ZoneTexte 122">
              <a:extLst>
                <a:ext uri="{FF2B5EF4-FFF2-40B4-BE49-F238E27FC236}">
                  <a16:creationId xmlns:a16="http://schemas.microsoft.com/office/drawing/2014/main" id="{187172D1-0233-3336-52D3-04B7EE563A35}"/>
                </a:ext>
              </a:extLst>
            </p:cNvPr>
            <p:cNvSpPr txBox="1"/>
            <p:nvPr/>
          </p:nvSpPr>
          <p:spPr>
            <a:xfrm>
              <a:off x="242882" y="6466290"/>
              <a:ext cx="6293546" cy="2308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 Light" panose="020B0304020202020204" pitchFamily="34" charset="0"/>
                  <a:ea typeface="+mn-ea"/>
                  <a:cs typeface="+mn-cs"/>
                </a:rPr>
                <a:t>Sources : </a:t>
              </a:r>
              <a:r>
                <a:rPr kumimoji="0" lang="fr-FR" sz="900" b="0" i="0" u="none" strike="noStrike" kern="1200" cap="none" spc="0" normalizeH="0" baseline="0" noProof="0">
                  <a:ln>
                    <a:noFill/>
                  </a:ln>
                  <a:solidFill>
                    <a:srgbClr val="242424"/>
                  </a:solidFill>
                  <a:effectLst/>
                  <a:uLnTx/>
                  <a:uFillTx/>
                  <a:latin typeface="Avenir Next LT Pro Light" panose="020B0304020202020204" pitchFamily="34" charset="0"/>
                  <a:ea typeface="+mn-ea"/>
                  <a:cs typeface="+mn-cs"/>
                </a:rPr>
                <a:t> </a:t>
              </a:r>
              <a:r>
                <a:rPr lang="fr-FR" sz="900" err="1">
                  <a:solidFill>
                    <a:srgbClr val="242424"/>
                  </a:solidFill>
                  <a:latin typeface="Avenir Next LT Pro Light" panose="020B0304020202020204" pitchFamily="34" charset="0"/>
                  <a:hlinkClick r:id="rId5"/>
                </a:rPr>
                <a:t>Masen</a:t>
              </a:r>
              <a:r>
                <a:rPr lang="fr-FR" sz="900">
                  <a:solidFill>
                    <a:srgbClr val="242424"/>
                  </a:solidFill>
                  <a:latin typeface="Avenir Next LT Pro Light" panose="020B0304020202020204" pitchFamily="34" charset="0"/>
                </a:rPr>
                <a:t>, Ministry of Energy Transition and </a:t>
              </a:r>
              <a:r>
                <a:rPr lang="fr-FR" sz="900" err="1">
                  <a:solidFill>
                    <a:srgbClr val="242424"/>
                  </a:solidFill>
                  <a:latin typeface="Avenir Next LT Pro Light" panose="020B0304020202020204" pitchFamily="34" charset="0"/>
                </a:rPr>
                <a:t>Sustainable</a:t>
              </a:r>
              <a:r>
                <a:rPr lang="fr-FR" sz="900">
                  <a:solidFill>
                    <a:srgbClr val="242424"/>
                  </a:solidFill>
                  <a:latin typeface="Avenir Next LT Pro Light" panose="020B0304020202020204" pitchFamily="34" charset="0"/>
                </a:rPr>
                <a:t> </a:t>
              </a:r>
              <a:r>
                <a:rPr lang="fr-FR" sz="900" err="1">
                  <a:solidFill>
                    <a:srgbClr val="242424"/>
                  </a:solidFill>
                  <a:latin typeface="Avenir Next LT Pro Light" panose="020B0304020202020204" pitchFamily="34" charset="0"/>
                </a:rPr>
                <a:t>Development</a:t>
              </a:r>
              <a:r>
                <a:rPr lang="fr-FR" sz="900">
                  <a:solidFill>
                    <a:srgbClr val="242424"/>
                  </a:solidFill>
                  <a:latin typeface="Avenir Next LT Pro Light" panose="020B0304020202020204" pitchFamily="34" charset="0"/>
                </a:rPr>
                <a:t>, AMDIE</a:t>
              </a:r>
              <a:endParaRPr kumimoji="0" lang="fr-FR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 Light" panose="020B03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24" name="ZoneTexte 123">
              <a:extLst>
                <a:ext uri="{FF2B5EF4-FFF2-40B4-BE49-F238E27FC236}">
                  <a16:creationId xmlns:a16="http://schemas.microsoft.com/office/drawing/2014/main" id="{51BFDED0-5F04-F365-C055-7C2D3BB472F7}"/>
                </a:ext>
              </a:extLst>
            </p:cNvPr>
            <p:cNvSpPr txBox="1"/>
            <p:nvPr/>
          </p:nvSpPr>
          <p:spPr>
            <a:xfrm>
              <a:off x="780127" y="4819270"/>
              <a:ext cx="1930421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1270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Avenir Next LT Pro" panose="020B0504020202020204" pitchFamily="34" charset="0"/>
                  <a:cs typeface="Tahoma"/>
                </a:rPr>
                <a:t>&lt;0,0</a:t>
              </a:r>
              <a:r>
                <a:rPr lang="en-US" b="1">
                  <a:latin typeface="Avenir Next LT Pro" panose="020B0504020202020204" pitchFamily="34" charset="0"/>
                  <a:cs typeface="Tahoma"/>
                </a:rPr>
                <a:t>6€</a:t>
              </a:r>
              <a:endParaRPr kumimoji="0" lang="en-US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venir Next LT Pro" panose="020B0504020202020204" pitchFamily="34" charset="0"/>
                <a:cs typeface="Tahoma"/>
              </a:endParaRPr>
            </a:p>
          </p:txBody>
        </p:sp>
        <p:sp>
          <p:nvSpPr>
            <p:cNvPr id="125" name="ZoneTexte 124">
              <a:extLst>
                <a:ext uri="{FF2B5EF4-FFF2-40B4-BE49-F238E27FC236}">
                  <a16:creationId xmlns:a16="http://schemas.microsoft.com/office/drawing/2014/main" id="{E4C063BF-437B-91C6-AE49-216CFE411401}"/>
                </a:ext>
              </a:extLst>
            </p:cNvPr>
            <p:cNvSpPr txBox="1"/>
            <p:nvPr/>
          </p:nvSpPr>
          <p:spPr>
            <a:xfrm>
              <a:off x="2588067" y="4863143"/>
              <a:ext cx="3032249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>
                  <a:latin typeface="Avenir Next LT Pro" panose="020B0504020202020204" pitchFamily="34" charset="0"/>
                  <a:cs typeface="Tahoma"/>
                </a:rPr>
                <a:t>per KW/h</a:t>
              </a:r>
              <a:endParaRPr kumimoji="0" lang="en-US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venir Next LT Pro" panose="020B0504020202020204" pitchFamily="34" charset="0"/>
                <a:cs typeface="Tahoma"/>
              </a:endParaRPr>
            </a:p>
          </p:txBody>
        </p:sp>
      </p:grpSp>
      <p:grpSp>
        <p:nvGrpSpPr>
          <p:cNvPr id="7" name="Groupe 6">
            <a:extLst>
              <a:ext uri="{FF2B5EF4-FFF2-40B4-BE49-F238E27FC236}">
                <a16:creationId xmlns:a16="http://schemas.microsoft.com/office/drawing/2014/main" id="{5E893E2E-E076-883E-9B62-15B7F9B78B4F}"/>
              </a:ext>
            </a:extLst>
          </p:cNvPr>
          <p:cNvGrpSpPr/>
          <p:nvPr/>
        </p:nvGrpSpPr>
        <p:grpSpPr>
          <a:xfrm>
            <a:off x="5726215" y="1291064"/>
            <a:ext cx="6512643" cy="5378381"/>
            <a:chOff x="5726215" y="1291064"/>
            <a:chExt cx="6512643" cy="5378381"/>
          </a:xfrm>
        </p:grpSpPr>
        <p:sp>
          <p:nvSpPr>
            <p:cNvPr id="30" name="Rectangle : avec coins arrondis en diagonale 29">
              <a:extLst>
                <a:ext uri="{FF2B5EF4-FFF2-40B4-BE49-F238E27FC236}">
                  <a16:creationId xmlns:a16="http://schemas.microsoft.com/office/drawing/2014/main" id="{E4B190DC-0395-5C5E-A594-0ED8959E43AE}"/>
                </a:ext>
              </a:extLst>
            </p:cNvPr>
            <p:cNvSpPr/>
            <p:nvPr/>
          </p:nvSpPr>
          <p:spPr>
            <a:xfrm rot="16200000">
              <a:off x="7316253" y="2145744"/>
              <a:ext cx="5378381" cy="3669021"/>
            </a:xfrm>
            <a:prstGeom prst="round2Diag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MA"/>
            </a:p>
          </p:txBody>
        </p:sp>
        <p:cxnSp>
          <p:nvCxnSpPr>
            <p:cNvPr id="131" name="Connecteur droit 130">
              <a:extLst>
                <a:ext uri="{FF2B5EF4-FFF2-40B4-BE49-F238E27FC236}">
                  <a16:creationId xmlns:a16="http://schemas.microsoft.com/office/drawing/2014/main" id="{D5841C53-C594-2280-8958-FFFBE5AC0F0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852245" y="1791569"/>
              <a:ext cx="540000" cy="0"/>
            </a:xfrm>
            <a:prstGeom prst="line">
              <a:avLst/>
            </a:prstGeom>
            <a:ln>
              <a:solidFill>
                <a:srgbClr val="8FBE12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" name="Groupe 3">
              <a:extLst>
                <a:ext uri="{FF2B5EF4-FFF2-40B4-BE49-F238E27FC236}">
                  <a16:creationId xmlns:a16="http://schemas.microsoft.com/office/drawing/2014/main" id="{0FB1F8DE-987B-41A3-B916-9D1970463F14}"/>
                </a:ext>
              </a:extLst>
            </p:cNvPr>
            <p:cNvGrpSpPr/>
            <p:nvPr/>
          </p:nvGrpSpPr>
          <p:grpSpPr>
            <a:xfrm>
              <a:off x="5726215" y="1505703"/>
              <a:ext cx="6512643" cy="4986600"/>
              <a:chOff x="5726215" y="1505703"/>
              <a:chExt cx="6512643" cy="4986600"/>
            </a:xfrm>
          </p:grpSpPr>
          <p:grpSp>
            <p:nvGrpSpPr>
              <p:cNvPr id="106" name="Groupe 105">
                <a:extLst>
                  <a:ext uri="{FF2B5EF4-FFF2-40B4-BE49-F238E27FC236}">
                    <a16:creationId xmlns:a16="http://schemas.microsoft.com/office/drawing/2014/main" id="{AFF0A698-87AC-782E-679D-E67E2C6B2ADD}"/>
                  </a:ext>
                </a:extLst>
              </p:cNvPr>
              <p:cNvGrpSpPr/>
              <p:nvPr/>
            </p:nvGrpSpPr>
            <p:grpSpPr>
              <a:xfrm>
                <a:off x="6375813" y="3992476"/>
                <a:ext cx="5639218" cy="830996"/>
                <a:chOff x="514387" y="4698443"/>
                <a:chExt cx="5639218" cy="781603"/>
              </a:xfrm>
            </p:grpSpPr>
            <p:sp>
              <p:nvSpPr>
                <p:cNvPr id="107" name="ZoneTexte 106">
                  <a:extLst>
                    <a:ext uri="{FF2B5EF4-FFF2-40B4-BE49-F238E27FC236}">
                      <a16:creationId xmlns:a16="http://schemas.microsoft.com/office/drawing/2014/main" id="{0C1E1771-30B5-07A5-E0B5-BE34256C18C1}"/>
                    </a:ext>
                  </a:extLst>
                </p:cNvPr>
                <p:cNvSpPr txBox="1"/>
                <p:nvPr/>
              </p:nvSpPr>
              <p:spPr>
                <a:xfrm>
                  <a:off x="514387" y="4790068"/>
                  <a:ext cx="1565080" cy="550017"/>
                </a:xfrm>
                <a:prstGeom prst="rect">
                  <a:avLst/>
                </a:prstGeom>
                <a:noFill/>
              </p:spPr>
              <p:txBody>
                <a:bodyPr wrap="square" rtlCol="0" anchor="ctr">
                  <a:spAutoFit/>
                </a:bodyPr>
                <a:lstStyle/>
                <a:p>
                  <a:pPr marL="12700" marR="0" lvl="0" indent="0" defTabSz="914400" rtl="0" eaLnBrk="1" fontAlgn="auto" latinLnBrk="0" hangingPunct="1">
                    <a:lnSpc>
                      <a:spcPct val="100000"/>
                    </a:lnSpc>
                    <a:spcBef>
                      <a:spcPts val="1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2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428A"/>
                      </a:solidFill>
                      <a:effectLst/>
                      <a:uLnTx/>
                      <a:uFillTx/>
                      <a:latin typeface="Avenir Next LT Pro" panose="020B0504020202020204" pitchFamily="34" charset="0"/>
                      <a:cs typeface="Tahoma"/>
                    </a:rPr>
                    <a:t>700</a:t>
                  </a:r>
                  <a:r>
                    <a:rPr kumimoji="0" lang="en-US" sz="14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428A"/>
                      </a:solidFill>
                      <a:effectLst/>
                      <a:uLnTx/>
                      <a:uFillTx/>
                      <a:latin typeface="Avenir Next LT Pro" panose="020B0504020202020204" pitchFamily="34" charset="0"/>
                      <a:cs typeface="Tahoma"/>
                    </a:rPr>
                    <a:t>MW</a:t>
                  </a:r>
                </a:p>
              </p:txBody>
            </p:sp>
            <p:sp>
              <p:nvSpPr>
                <p:cNvPr id="108" name="ZoneTexte 107">
                  <a:extLst>
                    <a:ext uri="{FF2B5EF4-FFF2-40B4-BE49-F238E27FC236}">
                      <a16:creationId xmlns:a16="http://schemas.microsoft.com/office/drawing/2014/main" id="{505ADB73-515A-095A-44BF-CA375301595A}"/>
                    </a:ext>
                  </a:extLst>
                </p:cNvPr>
                <p:cNvSpPr txBox="1"/>
                <p:nvPr/>
              </p:nvSpPr>
              <p:spPr>
                <a:xfrm>
                  <a:off x="2682024" y="4698443"/>
                  <a:ext cx="3471581" cy="781603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marL="0" marR="0" lvl="0" indent="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600" b="1">
                      <a:solidFill>
                        <a:schemeClr val="bg1"/>
                      </a:solidFill>
                      <a:latin typeface="Avenir Next LT Pro" panose="020B0504020202020204" pitchFamily="34" charset="0"/>
                      <a:cs typeface="Tahoma"/>
                    </a:rPr>
                    <a:t>D</a:t>
                  </a:r>
                  <a:r>
                    <a:rPr kumimoji="0" lang="en-US" sz="1600" b="1" i="0" u="none" strike="noStrike" kern="1200" cap="none" spc="0" normalizeH="0" baseline="0" noProof="0" err="1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Avenir Next LT Pro" panose="020B0504020202020204" pitchFamily="34" charset="0"/>
                      <a:cs typeface="Tahoma"/>
                    </a:rPr>
                    <a:t>eveloped</a:t>
                  </a:r>
                  <a:r>
                    <a:rPr kumimoji="0" lang="en-US" sz="1600" b="1" i="0" u="none" strike="noStrike" kern="120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Avenir Next LT Pro" panose="020B0504020202020204" pitchFamily="34" charset="0"/>
                      <a:cs typeface="Tahoma"/>
                    </a:rPr>
                    <a:t> </a:t>
                  </a:r>
                  <a:r>
                    <a:rPr lang="en-US" sz="1600" b="1">
                      <a:solidFill>
                        <a:schemeClr val="bg1"/>
                      </a:solidFill>
                      <a:latin typeface="Avenir Next LT Pro" panose="020B0504020202020204" pitchFamily="34" charset="0"/>
                      <a:cs typeface="Tahoma"/>
                    </a:rPr>
                    <a:t>b</a:t>
                  </a:r>
                  <a:r>
                    <a:rPr kumimoji="0" lang="en-US" sz="1600" b="1" i="0" u="none" strike="noStrike" kern="120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Avenir Next LT Pro" panose="020B0504020202020204" pitchFamily="34" charset="0"/>
                      <a:cs typeface="Tahoma"/>
                    </a:rPr>
                    <a:t>y </a:t>
                  </a:r>
                  <a:r>
                    <a:rPr lang="en-US" sz="1600" b="1">
                      <a:solidFill>
                        <a:schemeClr val="bg1"/>
                      </a:solidFill>
                      <a:latin typeface="Avenir Next LT Pro" panose="020B0504020202020204" pitchFamily="34" charset="0"/>
                      <a:cs typeface="Tahoma"/>
                    </a:rPr>
                    <a:t>p</a:t>
                  </a:r>
                  <a:r>
                    <a:rPr kumimoji="0" lang="en-US" sz="1600" b="1" i="0" u="none" strike="noStrike" kern="1200" cap="none" spc="0" normalizeH="0" baseline="0" noProof="0" err="1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Avenir Next LT Pro" panose="020B0504020202020204" pitchFamily="34" charset="0"/>
                      <a:cs typeface="Tahoma"/>
                    </a:rPr>
                    <a:t>rivate</a:t>
                  </a:r>
                  <a:r>
                    <a:rPr kumimoji="0" lang="en-US" sz="1600" b="1" i="0" u="none" strike="noStrike" kern="120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Avenir Next LT Pro" panose="020B0504020202020204" pitchFamily="34" charset="0"/>
                      <a:cs typeface="Tahoma"/>
                    </a:rPr>
                    <a:t> </a:t>
                  </a:r>
                  <a:r>
                    <a:rPr lang="en-US" sz="1600" b="1">
                      <a:solidFill>
                        <a:schemeClr val="bg1"/>
                      </a:solidFill>
                      <a:latin typeface="Avenir Next LT Pro" panose="020B0504020202020204" pitchFamily="34" charset="0"/>
                      <a:cs typeface="Tahoma"/>
                    </a:rPr>
                    <a:t>p</a:t>
                  </a:r>
                  <a:r>
                    <a:rPr kumimoji="0" lang="en-US" sz="1600" b="1" i="0" u="none" strike="noStrike" kern="120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Avenir Next LT Pro" panose="020B0504020202020204" pitchFamily="34" charset="0"/>
                      <a:cs typeface="Tahoma"/>
                    </a:rPr>
                    <a:t>layers</a:t>
                  </a:r>
                </a:p>
                <a:p>
                  <a:pPr marL="0" marR="0" lvl="0" indent="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600" b="1">
                      <a:solidFill>
                        <a:schemeClr val="bg1"/>
                      </a:solidFill>
                      <a:latin typeface="Avenir Next LT Pro" panose="020B0504020202020204" pitchFamily="34" charset="0"/>
                      <a:cs typeface="Tahoma"/>
                    </a:rPr>
                    <a:t>and several own power generation projects</a:t>
                  </a:r>
                  <a:endParaRPr kumimoji="0" 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venir Next LT Pro" panose="020B0504020202020204" pitchFamily="34" charset="0"/>
                    <a:cs typeface="Tahoma"/>
                  </a:endParaRPr>
                </a:p>
              </p:txBody>
            </p:sp>
          </p:grpSp>
          <p:grpSp>
            <p:nvGrpSpPr>
              <p:cNvPr id="109" name="Groupe 108">
                <a:extLst>
                  <a:ext uri="{FF2B5EF4-FFF2-40B4-BE49-F238E27FC236}">
                    <a16:creationId xmlns:a16="http://schemas.microsoft.com/office/drawing/2014/main" id="{E7F7823C-C5E5-F188-0AF5-746072791379}"/>
                  </a:ext>
                </a:extLst>
              </p:cNvPr>
              <p:cNvGrpSpPr/>
              <p:nvPr/>
            </p:nvGrpSpPr>
            <p:grpSpPr>
              <a:xfrm>
                <a:off x="6799934" y="1505703"/>
                <a:ext cx="5390175" cy="625898"/>
                <a:chOff x="1007169" y="2269393"/>
                <a:chExt cx="5390175" cy="588695"/>
              </a:xfrm>
            </p:grpSpPr>
            <p:sp>
              <p:nvSpPr>
                <p:cNvPr id="110" name="ZoneTexte 109">
                  <a:extLst>
                    <a:ext uri="{FF2B5EF4-FFF2-40B4-BE49-F238E27FC236}">
                      <a16:creationId xmlns:a16="http://schemas.microsoft.com/office/drawing/2014/main" id="{B75DE1D8-EC69-67C8-216C-BCB4D9672226}"/>
                    </a:ext>
                  </a:extLst>
                </p:cNvPr>
                <p:cNvSpPr txBox="1"/>
                <p:nvPr/>
              </p:nvSpPr>
              <p:spPr>
                <a:xfrm>
                  <a:off x="1007169" y="2269393"/>
                  <a:ext cx="972096" cy="550017"/>
                </a:xfrm>
                <a:prstGeom prst="rect">
                  <a:avLst/>
                </a:prstGeom>
                <a:noFill/>
              </p:spPr>
              <p:txBody>
                <a:bodyPr wrap="square" rtlCol="0" anchor="ctr">
                  <a:spAutoFit/>
                </a:bodyPr>
                <a:lstStyle/>
                <a:p>
                  <a:pPr marL="12700" marR="0" lvl="0" indent="0" defTabSz="914400" rtl="0" eaLnBrk="1" fontAlgn="auto" latinLnBrk="0" hangingPunct="1">
                    <a:lnSpc>
                      <a:spcPct val="100000"/>
                    </a:lnSpc>
                    <a:spcBef>
                      <a:spcPts val="1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428A"/>
                      </a:solidFill>
                      <a:effectLst/>
                      <a:uLnTx/>
                      <a:uFillTx/>
                      <a:latin typeface="Avenir Next LT Pro" panose="020B0504020202020204" pitchFamily="34" charset="0"/>
                      <a:cs typeface="Tahoma"/>
                    </a:rPr>
                    <a:t>45</a:t>
                  </a:r>
                  <a:r>
                    <a:rPr kumimoji="0" lang="en-US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428A"/>
                      </a:solidFill>
                      <a:effectLst/>
                      <a:uLnTx/>
                      <a:uFillTx/>
                      <a:latin typeface="Avenir Next LT Pro" panose="020B0504020202020204" pitchFamily="34" charset="0"/>
                      <a:cs typeface="Tahoma"/>
                    </a:rPr>
                    <a:t>%</a:t>
                  </a:r>
                </a:p>
              </p:txBody>
            </p:sp>
            <p:sp>
              <p:nvSpPr>
                <p:cNvPr id="111" name="ZoneTexte 110">
                  <a:extLst>
                    <a:ext uri="{FF2B5EF4-FFF2-40B4-BE49-F238E27FC236}">
                      <a16:creationId xmlns:a16="http://schemas.microsoft.com/office/drawing/2014/main" id="{A204A4E5-21C2-692D-6D6F-7B5F79FF364E}"/>
                    </a:ext>
                  </a:extLst>
                </p:cNvPr>
                <p:cNvSpPr txBox="1"/>
                <p:nvPr/>
              </p:nvSpPr>
              <p:spPr>
                <a:xfrm>
                  <a:off x="2728323" y="2308071"/>
                  <a:ext cx="3669021" cy="550017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marL="0" marR="0" lvl="0" indent="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600" b="1" dirty="0">
                      <a:solidFill>
                        <a:prstClr val="white"/>
                      </a:solidFill>
                      <a:latin typeface="Avenir Next LT Pro" panose="020B0504020202020204" pitchFamily="34" charset="0"/>
                      <a:cs typeface="Tahoma"/>
                    </a:rPr>
                    <a:t>P</a:t>
                  </a:r>
                  <a:r>
                    <a:rPr kumimoji="0" lang="en-US" sz="1600" b="1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venir Next LT Pro" panose="020B0504020202020204" pitchFamily="34" charset="0"/>
                      <a:cs typeface="Tahoma"/>
                    </a:rPr>
                    <a:t>roduction</a:t>
                  </a:r>
                  <a:r>
                    <a:rPr kumimoji="0" lang="en-US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venir Next LT Pro" panose="020B0504020202020204" pitchFamily="34" charset="0"/>
                      <a:cs typeface="Tahoma"/>
                    </a:rPr>
                    <a:t> capacity </a:t>
                  </a:r>
                  <a:r>
                    <a:rPr lang="en-US" sz="1600" b="1" dirty="0">
                      <a:solidFill>
                        <a:prstClr val="white"/>
                      </a:solidFill>
                      <a:latin typeface="Avenir Next LT Pro" panose="020B0504020202020204" pitchFamily="34" charset="0"/>
                      <a:cs typeface="Tahoma"/>
                    </a:rPr>
                    <a:t>from </a:t>
                  </a:r>
                  <a:r>
                    <a:rPr kumimoji="0" lang="en-US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venir Next LT Pro" panose="020B0504020202020204" pitchFamily="34" charset="0"/>
                      <a:cs typeface="Tahoma"/>
                    </a:rPr>
                    <a:t>renewable sources in 2024</a:t>
                  </a:r>
                  <a:endParaRPr kumimoji="0" lang="fr-MA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venir Next LT Pro" panose="020B0504020202020204" pitchFamily="34" charset="0"/>
                  </a:endParaRPr>
                </a:p>
              </p:txBody>
            </p:sp>
          </p:grpSp>
          <p:grpSp>
            <p:nvGrpSpPr>
              <p:cNvPr id="112" name="Groupe 111">
                <a:extLst>
                  <a:ext uri="{FF2B5EF4-FFF2-40B4-BE49-F238E27FC236}">
                    <a16:creationId xmlns:a16="http://schemas.microsoft.com/office/drawing/2014/main" id="{AC41CCFA-485F-7DE4-DE3B-7ABB28D21B7E}"/>
                  </a:ext>
                </a:extLst>
              </p:cNvPr>
              <p:cNvGrpSpPr/>
              <p:nvPr/>
            </p:nvGrpSpPr>
            <p:grpSpPr>
              <a:xfrm>
                <a:off x="6103639" y="3192462"/>
                <a:ext cx="6118050" cy="646331"/>
                <a:chOff x="264097" y="3654640"/>
                <a:chExt cx="6118050" cy="607914"/>
              </a:xfrm>
            </p:grpSpPr>
            <p:sp>
              <p:nvSpPr>
                <p:cNvPr id="113" name="ZoneTexte 112">
                  <a:extLst>
                    <a:ext uri="{FF2B5EF4-FFF2-40B4-BE49-F238E27FC236}">
                      <a16:creationId xmlns:a16="http://schemas.microsoft.com/office/drawing/2014/main" id="{2DF78C8F-8E66-1353-9FD2-5305872B8FD9}"/>
                    </a:ext>
                  </a:extLst>
                </p:cNvPr>
                <p:cNvSpPr txBox="1"/>
                <p:nvPr/>
              </p:nvSpPr>
              <p:spPr>
                <a:xfrm>
                  <a:off x="264097" y="3654640"/>
                  <a:ext cx="2109428" cy="607914"/>
                </a:xfrm>
                <a:prstGeom prst="rect">
                  <a:avLst/>
                </a:prstGeom>
                <a:noFill/>
              </p:spPr>
              <p:txBody>
                <a:bodyPr wrap="square" rtlCol="0" anchor="ctr">
                  <a:spAutoFit/>
                </a:bodyPr>
                <a:lstStyle/>
                <a:p>
                  <a:pPr marL="12700" marR="0" lvl="0" indent="0" defTabSz="914400" rtl="0" eaLnBrk="1" fontAlgn="auto" latinLnBrk="0" hangingPunct="1">
                    <a:lnSpc>
                      <a:spcPct val="100000"/>
                    </a:lnSpc>
                    <a:spcBef>
                      <a:spcPts val="1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428A"/>
                      </a:solidFill>
                      <a:effectLst/>
                      <a:uLnTx/>
                      <a:uFillTx/>
                      <a:latin typeface="Avenir Next LT Pro" panose="020B0504020202020204" pitchFamily="34" charset="0"/>
                      <a:cs typeface="Tahoma"/>
                    </a:rPr>
                    <a:t>4,500</a:t>
                  </a:r>
                  <a:r>
                    <a:rPr kumimoji="0" lang="en-US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428A"/>
                      </a:solidFill>
                      <a:effectLst/>
                      <a:uLnTx/>
                      <a:uFillTx/>
                      <a:latin typeface="Avenir Next LT Pro" panose="020B0504020202020204" pitchFamily="34" charset="0"/>
                      <a:cs typeface="Tahoma"/>
                    </a:rPr>
                    <a:t>MW</a:t>
                  </a:r>
                  <a:r>
                    <a:rPr kumimoji="0" lang="en-US" sz="3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428A"/>
                      </a:solidFill>
                      <a:effectLst/>
                      <a:uLnTx/>
                      <a:uFillTx/>
                      <a:latin typeface="Avenir Next LT Pro" panose="020B0504020202020204" pitchFamily="34" charset="0"/>
                      <a:cs typeface="Tahoma"/>
                    </a:rPr>
                    <a:t> </a:t>
                  </a:r>
                </a:p>
              </p:txBody>
            </p:sp>
            <p:sp>
              <p:nvSpPr>
                <p:cNvPr id="114" name="ZoneTexte 113">
                  <a:extLst>
                    <a:ext uri="{FF2B5EF4-FFF2-40B4-BE49-F238E27FC236}">
                      <a16:creationId xmlns:a16="http://schemas.microsoft.com/office/drawing/2014/main" id="{514023FF-6BFA-6925-A4D7-FAEA44BB192F}"/>
                    </a:ext>
                  </a:extLst>
                </p:cNvPr>
                <p:cNvSpPr txBox="1"/>
                <p:nvPr/>
              </p:nvSpPr>
              <p:spPr>
                <a:xfrm>
                  <a:off x="2713126" y="3850650"/>
                  <a:ext cx="3669021" cy="31843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marL="0" marR="0" lvl="0" indent="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600" b="1">
                      <a:solidFill>
                        <a:schemeClr val="bg1"/>
                      </a:solidFill>
                      <a:latin typeface="Avenir Next LT Pro" panose="020B0504020202020204" pitchFamily="34" charset="0"/>
                      <a:cs typeface="Tahoma"/>
                    </a:rPr>
                    <a:t>Renewable</a:t>
                  </a:r>
                  <a:r>
                    <a:rPr kumimoji="0" lang="en-US" sz="1600" b="1" i="0" u="none" strike="noStrike" kern="120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Avenir Next LT Pro" panose="020B0504020202020204" pitchFamily="34" charset="0"/>
                      <a:cs typeface="Tahoma"/>
                    </a:rPr>
                    <a:t> capacity in 2022</a:t>
                  </a:r>
                  <a:endParaRPr kumimoji="0" lang="fr-MA" sz="1600" b="1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venir Next LT Pro" panose="020B0504020202020204" pitchFamily="34" charset="0"/>
                  </a:endParaRPr>
                </a:p>
              </p:txBody>
            </p:sp>
          </p:grpSp>
          <p:sp>
            <p:nvSpPr>
              <p:cNvPr id="115" name="ZoneTexte 114">
                <a:extLst>
                  <a:ext uri="{FF2B5EF4-FFF2-40B4-BE49-F238E27FC236}">
                    <a16:creationId xmlns:a16="http://schemas.microsoft.com/office/drawing/2014/main" id="{8772D596-8EB3-FE5A-6C12-8AF0D206A22E}"/>
                  </a:ext>
                </a:extLst>
              </p:cNvPr>
              <p:cNvSpPr txBox="1"/>
              <p:nvPr/>
            </p:nvSpPr>
            <p:spPr>
              <a:xfrm>
                <a:off x="6771492" y="2389385"/>
                <a:ext cx="1529397" cy="58477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marL="1270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200" b="1" i="0" u="none" strike="noStrike" kern="1200" cap="none" spc="0" normalizeH="0" baseline="0" noProof="0">
                    <a:ln>
                      <a:noFill/>
                    </a:ln>
                    <a:solidFill>
                      <a:srgbClr val="00428A"/>
                    </a:solidFill>
                    <a:effectLst/>
                    <a:uLnTx/>
                    <a:uFillTx/>
                    <a:latin typeface="Avenir Next LT Pro" panose="020B0504020202020204" pitchFamily="34" charset="0"/>
                    <a:cs typeface="Tahoma"/>
                  </a:rPr>
                  <a:t>52</a:t>
                </a:r>
                <a:r>
                  <a:rPr kumimoji="0" lang="en-US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00428A"/>
                    </a:solidFill>
                    <a:effectLst/>
                    <a:uLnTx/>
                    <a:uFillTx/>
                    <a:latin typeface="Avenir Next LT Pro" panose="020B0504020202020204" pitchFamily="34" charset="0"/>
                    <a:cs typeface="Tahoma"/>
                  </a:rPr>
                  <a:t>%</a:t>
                </a:r>
              </a:p>
            </p:txBody>
          </p:sp>
          <p:sp>
            <p:nvSpPr>
              <p:cNvPr id="116" name="ZoneTexte 115">
                <a:extLst>
                  <a:ext uri="{FF2B5EF4-FFF2-40B4-BE49-F238E27FC236}">
                    <a16:creationId xmlns:a16="http://schemas.microsoft.com/office/drawing/2014/main" id="{184D20CA-604B-2423-3F88-5B36A155B780}"/>
                  </a:ext>
                </a:extLst>
              </p:cNvPr>
              <p:cNvSpPr txBox="1"/>
              <p:nvPr/>
            </p:nvSpPr>
            <p:spPr>
              <a:xfrm>
                <a:off x="8569837" y="2599702"/>
                <a:ext cx="3669021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venir Next LT Pro" panose="020B0504020202020204" pitchFamily="34" charset="0"/>
                    <a:cs typeface="Tahoma"/>
                  </a:rPr>
                  <a:t>Forecast target for 2030</a:t>
                </a:r>
                <a:endParaRPr kumimoji="0" lang="fr-MA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venir Next LT Pro" panose="020B0504020202020204" pitchFamily="34" charset="0"/>
                </a:endParaRPr>
              </a:p>
            </p:txBody>
          </p:sp>
          <p:sp>
            <p:nvSpPr>
              <p:cNvPr id="117" name="ZoneTexte 116">
                <a:extLst>
                  <a:ext uri="{FF2B5EF4-FFF2-40B4-BE49-F238E27FC236}">
                    <a16:creationId xmlns:a16="http://schemas.microsoft.com/office/drawing/2014/main" id="{285EBEFB-87FC-D8F0-1D8B-FA42112C69A0}"/>
                  </a:ext>
                </a:extLst>
              </p:cNvPr>
              <p:cNvSpPr txBox="1"/>
              <p:nvPr/>
            </p:nvSpPr>
            <p:spPr>
              <a:xfrm>
                <a:off x="5732713" y="5778936"/>
                <a:ext cx="1974789" cy="58477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marL="12700" lvl="0" algn="r">
                  <a:spcBef>
                    <a:spcPts val="100"/>
                  </a:spcBef>
                  <a:defRPr/>
                </a:pPr>
                <a:r>
                  <a:rPr kumimoji="0" lang="en-US" sz="3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428A"/>
                    </a:solidFill>
                    <a:effectLst/>
                    <a:uLnTx/>
                    <a:uFillTx/>
                    <a:latin typeface="Avenir Next LT Pro" panose="020B0504020202020204" pitchFamily="34" charset="0"/>
                    <a:ea typeface="+mn-ea"/>
                    <a:cs typeface="Tahoma"/>
                  </a:rPr>
                  <a:t>6,000</a:t>
                </a:r>
                <a:r>
                  <a:rPr lang="en-US" sz="1600" b="1" dirty="0">
                    <a:solidFill>
                      <a:srgbClr val="00428A"/>
                    </a:solidFill>
                    <a:latin typeface="Avenir Next LT Pro" panose="020B0504020202020204" pitchFamily="34" charset="0"/>
                    <a:cs typeface="Tahoma"/>
                  </a:rPr>
                  <a:t>GW</a:t>
                </a:r>
                <a:endPara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428A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Tahoma"/>
                </a:endParaRPr>
              </a:p>
            </p:txBody>
          </p:sp>
          <p:sp>
            <p:nvSpPr>
              <p:cNvPr id="118" name="ZoneTexte 117">
                <a:extLst>
                  <a:ext uri="{FF2B5EF4-FFF2-40B4-BE49-F238E27FC236}">
                    <a16:creationId xmlns:a16="http://schemas.microsoft.com/office/drawing/2014/main" id="{F0A0CE1B-65CA-37FE-ECD3-97249B59F0D9}"/>
                  </a:ext>
                </a:extLst>
              </p:cNvPr>
              <p:cNvSpPr txBox="1"/>
              <p:nvPr/>
            </p:nvSpPr>
            <p:spPr>
              <a:xfrm>
                <a:off x="8570283" y="5907528"/>
                <a:ext cx="3269671" cy="58477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600" b="1">
                    <a:solidFill>
                      <a:prstClr val="white"/>
                    </a:solidFill>
                    <a:latin typeface="Avenir Next LT Pro" panose="020B0504020202020204" pitchFamily="34" charset="0"/>
                    <a:cs typeface="Tahoma"/>
                  </a:rPr>
                  <a:t>Estimated technical wind potential</a:t>
                </a:r>
                <a:endPara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venir Next LT Pro" panose="020B0504020202020204" pitchFamily="34" charset="0"/>
                  <a:ea typeface="+mn-ea"/>
                  <a:cs typeface="Tahoma"/>
                </a:endParaRPr>
              </a:p>
            </p:txBody>
          </p:sp>
          <p:sp>
            <p:nvSpPr>
              <p:cNvPr id="119" name="ZoneTexte 118">
                <a:extLst>
                  <a:ext uri="{FF2B5EF4-FFF2-40B4-BE49-F238E27FC236}">
                    <a16:creationId xmlns:a16="http://schemas.microsoft.com/office/drawing/2014/main" id="{D702EA1E-F9E7-6339-DA7D-80F5D2783961}"/>
                  </a:ext>
                </a:extLst>
              </p:cNvPr>
              <p:cNvSpPr txBox="1"/>
              <p:nvPr/>
            </p:nvSpPr>
            <p:spPr>
              <a:xfrm>
                <a:off x="5726215" y="4958682"/>
                <a:ext cx="1974789" cy="58477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marL="1270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428A"/>
                    </a:solidFill>
                    <a:effectLst/>
                    <a:uLnTx/>
                    <a:uFillTx/>
                    <a:latin typeface="Avenir Next LT Pro" panose="020B0504020202020204" pitchFamily="34" charset="0"/>
                    <a:ea typeface="+mn-ea"/>
                    <a:cs typeface="Tahoma"/>
                  </a:rPr>
                  <a:t>40,000</a:t>
                </a: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428A"/>
                    </a:solidFill>
                    <a:effectLst/>
                    <a:uLnTx/>
                    <a:uFillTx/>
                    <a:latin typeface="Avenir Next LT Pro" panose="020B0504020202020204" pitchFamily="34" charset="0"/>
                    <a:ea typeface="+mn-ea"/>
                    <a:cs typeface="Tahoma"/>
                  </a:rPr>
                  <a:t>GW</a:t>
                </a:r>
              </a:p>
            </p:txBody>
          </p:sp>
          <p:sp>
            <p:nvSpPr>
              <p:cNvPr id="120" name="ZoneTexte 119">
                <a:extLst>
                  <a:ext uri="{FF2B5EF4-FFF2-40B4-BE49-F238E27FC236}">
                    <a16:creationId xmlns:a16="http://schemas.microsoft.com/office/drawing/2014/main" id="{589C624B-0084-6F4E-992D-57BBC0102CA5}"/>
                  </a:ext>
                </a:extLst>
              </p:cNvPr>
              <p:cNvSpPr txBox="1"/>
              <p:nvPr/>
            </p:nvSpPr>
            <p:spPr>
              <a:xfrm>
                <a:off x="8570285" y="5130096"/>
                <a:ext cx="3269670" cy="58477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600" b="1">
                    <a:solidFill>
                      <a:prstClr val="white"/>
                    </a:solidFill>
                    <a:latin typeface="Avenir Next LT Pro" panose="020B0504020202020204" pitchFamily="34" charset="0"/>
                    <a:cs typeface="Tahoma"/>
                  </a:rPr>
                  <a:t>Estimated technical solar potential</a:t>
                </a:r>
                <a:endPara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venir Next LT Pro" panose="020B0504020202020204" pitchFamily="34" charset="0"/>
                  <a:ea typeface="+mn-ea"/>
                  <a:cs typeface="Tahoma"/>
                </a:endParaRPr>
              </a:p>
            </p:txBody>
          </p:sp>
          <p:cxnSp>
            <p:nvCxnSpPr>
              <p:cNvPr id="133" name="Connecteur droit 132">
                <a:extLst>
                  <a:ext uri="{FF2B5EF4-FFF2-40B4-BE49-F238E27FC236}">
                    <a16:creationId xmlns:a16="http://schemas.microsoft.com/office/drawing/2014/main" id="{24C92886-5C9B-F9E5-C742-7C2C18E1274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907035" y="2756836"/>
                <a:ext cx="540000" cy="0"/>
              </a:xfrm>
              <a:prstGeom prst="line">
                <a:avLst/>
              </a:prstGeom>
              <a:ln>
                <a:solidFill>
                  <a:srgbClr val="8FBE12"/>
                </a:solidFill>
              </a:ln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Connecteur droit 133">
                <a:extLst>
                  <a:ext uri="{FF2B5EF4-FFF2-40B4-BE49-F238E27FC236}">
                    <a16:creationId xmlns:a16="http://schemas.microsoft.com/office/drawing/2014/main" id="{CDE0D7B9-369A-5B35-28A7-0BC75DC16BA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900933" y="3629474"/>
                <a:ext cx="540000" cy="0"/>
              </a:xfrm>
              <a:prstGeom prst="line">
                <a:avLst/>
              </a:prstGeom>
              <a:ln>
                <a:solidFill>
                  <a:srgbClr val="8FBE12"/>
                </a:solidFill>
              </a:ln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Connecteur droit 134">
                <a:extLst>
                  <a:ext uri="{FF2B5EF4-FFF2-40B4-BE49-F238E27FC236}">
                    <a16:creationId xmlns:a16="http://schemas.microsoft.com/office/drawing/2014/main" id="{E2F84C8F-D9F4-F4CE-227C-3B3E3BA00B9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900933" y="4446425"/>
                <a:ext cx="540000" cy="0"/>
              </a:xfrm>
              <a:prstGeom prst="line">
                <a:avLst/>
              </a:prstGeom>
              <a:ln>
                <a:solidFill>
                  <a:srgbClr val="8FBE12"/>
                </a:solidFill>
              </a:ln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Connecteur droit 135">
                <a:extLst>
                  <a:ext uri="{FF2B5EF4-FFF2-40B4-BE49-F238E27FC236}">
                    <a16:creationId xmlns:a16="http://schemas.microsoft.com/office/drawing/2014/main" id="{39BC16D3-6F51-D1B8-7EDF-F82BEC84B63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875138" y="5308332"/>
                <a:ext cx="540000" cy="0"/>
              </a:xfrm>
              <a:prstGeom prst="line">
                <a:avLst/>
              </a:prstGeom>
              <a:ln>
                <a:solidFill>
                  <a:srgbClr val="8FBE12"/>
                </a:solidFill>
              </a:ln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Connecteur droit 136">
                <a:extLst>
                  <a:ext uri="{FF2B5EF4-FFF2-40B4-BE49-F238E27FC236}">
                    <a16:creationId xmlns:a16="http://schemas.microsoft.com/office/drawing/2014/main" id="{66505B33-95DB-9189-531B-CD8A6EB9E20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900933" y="6199917"/>
                <a:ext cx="540000" cy="0"/>
              </a:xfrm>
              <a:prstGeom prst="line">
                <a:avLst/>
              </a:prstGeom>
              <a:ln>
                <a:solidFill>
                  <a:srgbClr val="8FBE12"/>
                </a:solidFill>
              </a:ln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5863514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nhurPqbUKRzbLma_Pg7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Gf4bRN9kWFeBUAoqlCw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ESKtOxXEqLyc2s76IBw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io7QkJ5USzJ86aMibbg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xRluGaWUy6obKblW8x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b8i7vqqkKhhruJPAjR6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JCqdSQuEiHIkDpeVSC4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1jbwD56U6Wq6nrEODwX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VKeBEjPUGN9q8p6UdIP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zoni6N.0e2LR6dQOTha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a.f8bp.kW8wPt1QNzbw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NeUKmrrUSWiplUNXKQU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W3hkzCkql29g1QO_hO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_XN8Bq48kWGBBZkK79kN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5vWXep10.UTQ6YjshU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iVJsupGk.i7BT5j9M1L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iiA5JUGk.pdkgW5Hhh2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zmMZAyaE6RxbHl4WVLY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3Ip7wGGEuqF.KfJyVi5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6yRPif1EqddVMJ5qib7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GeVvEcg02NqJcVK365T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8CCSo7kEuZ9BnQSgNY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5fc7m7tIUKR.3nkxBpot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Mqsf_HREGZ6JB3JT0zy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kZB2SzH0uTzTP9cr_Ec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HytK9oRU2MtTSi_uHWs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5Nhi5Lu.ECpk6zDlqWjM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5D4H5sI4kSuEz0ifwDEo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JGSREfmkm6VlNv8jwOI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guMjO4mk.CyJ9KPRMM5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QM.AcRZa0ukNgsSr1oM0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atb3xmwk6ZApLyLbMLT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9qerrJIE2tgMeq.Pps7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9MC6sPO0iT5kaH_UIYD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RVz5NtI0eKJABpMMA9B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xs48mmvkGuhZcepwuz4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qIk7ZsfEGBsfmTTHRhw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y_8EzOQ0eGZhPKbGZA.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7PQhaYfgUOUpzkNud4hR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yyrNcNAkGVVXV507YqC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E6.o0aakuCRyR7zH6tN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TCdNO_oUCAh5MPlfU1w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2r1zjD2kG0B4EeQYuRp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4_i6efJEiMyG1xC3geq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FisRoGckGfw6.AKFZtq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vL3tX7Tk.vCccXbhjdy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I36M4aDUGaQu2TecbJq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sI5IFZMkiQtvnOG94S_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atV2D0hKUC5eSTda53wa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NXkYf6Kk.Iv0XieyGMN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OrpHZHQ0uikgDaOwOk0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NfFzpFm0S8ceR0eWTFO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tW3CjkDkuI1E_bW_Wtk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DvMnfx1EC6n7ru1DGwB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8qVLKCAEClgEfxnFmrs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aLLQrbO0yFypDOo0NI_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4DuL3dKUCWJnn4KIlTm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fDcA8Cg0S6i7ND1RPSJ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3JGdwzvykaytbkP4aqV9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WHR9wBvE2cKINJBu7T8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YNGFBwAki.pZOER9UeJ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XoC0TevEyxSmKA0NWb1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AX_YfU2Ue9qUKdRbGGs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_xgpCyHkOVB922KD65h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dc1yWwQkG09Qx7EVRkZ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6ksDrEvkqyDZ.MLk21i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5MRESiYk6mnvW.h44Z7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cdyXPfLEuz24U0mik_z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p2zOB.JEubiR158powc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IjZGobMEGFUtHqSxT9B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Am0pgN20aIoAcizJe8o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lJkCsSQUqM4m1VWve0w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5a5cr6nUeHeb0cKJ9w6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k2SCGMMEasX0KmLUcxO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4LVYQNx02YnEadNfUQ.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NnOurJfUK2HuJAJKdx5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0DjhUxDEWHEgom9hUfw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FSf7Rw70KyqS7YPQP8a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57HdPXFEinsKpJYBCF3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0cogQtXUOThS0rjklpK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kFUJZagUS_9D94SEj0u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eJMqok5kWlITVNk_tM9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6d3qTcGEuqHQDcoJNui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7j6QkcqE2Vwue9WZDJf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O8U_.zRES4frM8Ld7qn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bQ7RFVUUKQg0HePhzlG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ANOaXS90q9nish2e5xS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mvU2zSq0y2PDoWj3cY.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NR8IF0L0SySGIbULnWz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rFNXg8RkaJ42BPGYTP0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GSCttBCkS.DEPBNqUX2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hQ0kzhq0KdpxDStIvWC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4WODkL9EGzvwgHh4I8S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7l.XkivHUuYuIbYtBefu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0zcTEPTUifqLMKBtmS8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Ju6Ej_d2UaSz.QxAlFyD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u9ehucMJEew3U3zqylQK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xv9bKghECY31R6HoPPN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MuSBU0wE23QVYzUiLO0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qPuyHleECXv4Ypl0wc3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1SLbBBukS8YHq9yWCqW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rvdXQtpEikvyeR3bQK.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GdsDjL5kmoI.MtZZcUE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Z4PKu66UikyAqpFAg8w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D2eRPb.EGbJ8fDWfSsJ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HVqt0bYU.pFu1.awV9W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5WcJ48hD0S3DgQJrqife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U0YN9rh0KKj3q7dSGg5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QaiFnybkyEPUwYXNaWJ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yaps5hwEq80yEpPXKUG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EcQPNnVUup.5wEPKlPb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4RWcJExUGThWn6WQWVH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MavmXX9EuObY83LXRxK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_86hsTUiGrC4FM9s7a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r9NIP7FEKn5g_6aBHaK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Yl0mkAjke4BBRwwKzto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4nDuJ_y8k.7DAVpsY9x.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QVlyeC0SKlTVXHwClL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wU1fYlxkmfg5CYRhc3D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tiBj2W5UyYE7vMnvWMF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42FPUkXEiVl2vZxAcxm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vSAAw_QUOjDyKf5_EKx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wJy9.T70u6KA76sWaaK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Bzub8gmEKMbO0Nh28bv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UdF_u9AEinM90gkIDCw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M2dY9BPk6iJnz5rcC3O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5k5LprtpUe9xvN3BFlUY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UbBYNKc0OZW2BBvmi0k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pdMgh2zU6zuF1jc8QX4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IxjPtFoUG6dtqMeA5nc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HwfyCBl0iRCKR.kMKdT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qz5ohLeP0uYJRx.Z9zc8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18JmR1Mhkmc0cgyMCKrt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wNHDjVU0GAySVJpTJs_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9nWhSXkK06S2MUY_ZHys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Vjs7CluE.3ElNcqWq3Y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KSBicUlEi334AG7XXGy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vmlz.8u0aZpjfTN7j3p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TYhHX9u0iK7dHkWoKWK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053aZ3O02FWhNsW5qlg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Ba8f1lXUi3SU2XDDX_Y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1VFMKm8CEWMvza_AxYOW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_zSqK6i0Se3OMMA2dn_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Ynle7ha0GP4dQwISDC9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qZeJjNb0KH5iHwPgueo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1WbsuUCE0Sn7a.HF1LWA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78x.NYQrUWowoHOtlgHd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xzzKzpWtUmu331S8svAv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b9.GauEUenlfNGyFUcL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9Vc9FLGEmke4B6Fm9I.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i.Nrb2yky0QHPdkt3KQ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HBSmGHU0qH2Zo1dKKFr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R0IZWrl0igQwiYLeZai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ChDntXeUmEozVN.GTaE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wae2pFCUqbv0sJNF_Ek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_MuBp5CEK9EqAw4X14e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jW9J4ToUeSeV8ksPJyO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6xcIXsbUGSCzkvcvbJi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8eVaRHZEOZlvAjQqiJC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ylzXlOu0uKScZyn4B9h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FLo9.7FkWCqIEJMSp.J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xbagmYdUC21dD7bbxHa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ItQM_la0.1t7EcK38ha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8pmP9f0E6T2.PD_Ehyj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UOlM0gDkClocDYXhahw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Hkj6UiK0qc0iCaFzl0S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Z.HICdPU24ZM8DxIB73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Xk2IqsN0WTSI_oDgxrR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KH1daDEU..FQXli0OOq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2sDEnQxkmQAQALg5aju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1eIuLQRykaDpIuNlm6Vj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JX4bJj7EaANhgeIjdKM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eKoB7UqUWgBnB6lG4EN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0d1LAeHkKby71pi04Es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eJPh_QCEm2eRX.zacWB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ZKvpEQcUm0OJDxSZMG3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32zh3YkGrUj.3DSVdw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znR95e0keAIOgLrOTj3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6.DTwI2UOKLDEGVpWye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PXFXbys0Gd9v3Y8JZ3V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RNHNOMdUuDCl4ouhgEM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tjVApBLEi3.IbHNQXwP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6Mam1ry0a2gjYF.otX8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obrcxEaEe5HOHvRipwW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vGMT.j.UO83jNAMlhTb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6ywLlU10qQPA71Ds8WT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UHZkkYPk2vXiXDYYGlI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xO7AFldkWpIoG.3Ly4F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Wp0UXRjkCu2h_yFwwj.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e7fyfQBUiLkWGuH_Xbv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.QNHHylD0miQWOL6AdeJ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FvFCHJWk6lEmTXM2ODY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_Y_iWpUWYryPhPPyR6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WbRVEhq0m6sfJvWiFiH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yaGlSZxEeJ_iPoYlJ_N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ZBNELh73kSubBhtHR7BO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7r7I4uJbEKDMdC8HwpIW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Xoxxk2gESLh5hsNO2kF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xuX7cZ8kOS8sFyseYYz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_oeb4MKW0CxRC2y5Nl0z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HInwCp0v0SHa5yObD3mW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Zu5j5QbEOh_1qyw2zDp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AE5YRFN0WLxDottXYN9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6NovToO0GoDc3yONwjR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wg1iQVp0.H09Dn97gBE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BNB2_ZNEaQjcxFk.5tx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vOs3pc0kWo4CFaHlTtH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vt6ZkifEGkSMT0HWrg2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vqkHY0aE2nI62wY.JIG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ZGE5CqBU2KJVt3c7yx4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6vcK.DLHEmuzjMitmmEv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fs24dNBEuRlGK5qiMTn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2KOawgBkCCvrrANdi6W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ob0UJvUUqSDL3QCGtog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iSOh17m0SQKMbFx1sfT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4Rkd8NAukKHB4x60T__N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2kgbEg1k2de9Est.Iia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0aUhvzckiB2K2tQvcZyg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.19BlvZk679w8udYJy3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7RyxM1oEW6w336vPvFe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8Z21ruxk2g5Xdt4dRZk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.KsUpOchEe1HCXpeZkeF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oxfpFOoUOGia0sEkez1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Mi3hqlbkG4TlPmHhNyt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O0uRpBCEub4AT1l2csG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zAfCPg7k6Uje2NzfADVg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L7DvhuUk61m34NxJSQo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NRbrc2QUaP3uCjQcSnYQ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ngnlbUWUqg_E2xbfh91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uoq0_Rnk2Ih2Rkj1Ojl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_dBrzTLkKgxu2DonVFr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yfkeTIdUiunpk_N36Ed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XZf.UlUUuMmetHnlOTq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gBtGkxEESAx_2D94Pacw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S63zu6106ZeOabMpVU_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6ft4K53kSriCL2p0J55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uIx9bN6EqBLEhFhykIH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r8VLvjpkmNX7R1iyQu1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.pF9fCWLUecN2bqHrYAa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mSuu3aD0iV1TqDE7s5.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wHcTB4AEWt6O2LlpfUk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ZjA2acI0qPvnD8vk6Ij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OcPP7O60W3uAj322rlW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XgcAxHZE.DQYfqb93Gy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RAyhjPxUSMnbnQd0MRX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8izSRXl4Eeo_evaFGF_R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HcHQmZKEOig3R5hnRbv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nZAgOwUUu9zEeNdAExK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8wMlJVJUujH3iwcKkie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NgtDSDS02hm0C3vGyJt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qAogB8FkSyF5w9NY1mz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WlLrZHLk2rMt4sS3idB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I3KGego02.1OOEvfKmM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.e4Ki1f7UWisXt6vvi_k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e2t2_wxEW.hDZ4gQ1Lm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_CCIOKwEGgTC3jh38Ip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R5H7wnxkqjL6i.cIm5W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G7GyvqXU.0pCxKOAN6G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9JLuuAm0.R0owSC6hzC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qFkfJN_U6vx3U08Ucl2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HcFxrWWkSDnlPxTIeFy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KQ0U7ZCkKxZWg07BySE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Q7KxhBXk2qbYIG2VZ6m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9Q8F3Jb0.qNLLeos75p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ansbsFMkCZV8vj37.VZ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Z53EQA1U.PvF0rd5yDz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OS.IWQC0qYnIGSq0.LN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qXlF_vNkuok4_hcRrrp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ulFdLklkuBd3fJ72WOc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HANt9aSUWDcWjKKfBXb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DneWrZhkCyoklX9FlUE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lo5qeL8Eyb3i1311oMN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IqZaBkVkqElJtC9FRvb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_xql2SJEenM6sa91uWQ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8zNcCtbo06a95j3nayms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vaa4QqNEqqzJmgE0jKt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dVjtqp9kWdwYGLcralo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y7rRnY6k61sPsVX8trI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DGqe2V9kyCit0qllhj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FHjr37zUa7uax1ZjtPc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Wk.mQ_vE6j2.wD3hWmE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yJLZIl3EKiZh64uHy97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KXmoBmYE6WMsfU2Ut8C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mzVRvpFEqXh7_WPJchW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5G.cdTUESsngVvvRLfd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q1Sq0A2UqRTElVIlsVO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D8dz8wQU.9BQV9YoOMg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my0j1LcU6GNvfbP8EQB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wCxIW2yEW2ll5z8eWq7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xS3VEK0kqMMIowd8wNb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jb53dc4Ui4a9PJ3gjnT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vETPoLTke00b410q_Tj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egLdehY0Wb9WsG1bJXC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_Mwrj0.ECOrjQxqJbOQ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6UEZkSsUGyoVS1L_Ndb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.ualFQkU.sJGH_pY0p8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MJsnQeckCmobQMSsNaT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rnF5GHkkeQKfairqXHM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bcp0Q.u0yam5I8VgqQy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evMbJsJUuTJ5iYeW79a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35q1kuyUSfmswyuLCO8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f7TXrGEEOmNMoXcqMf3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ZTmNxB30GmjiWS2WGIB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CoG9e1rUm7KkXGLyT.Q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BFDTMq7k2WJtQf9EaJq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9l41ACcUSHTuhX3LC3V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JR1xcWtUSZRQiGBt5Gg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6_bsFn0kmxrORQGDO4v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4P.BxeDkGACvl67ZACj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xmJYrN_Eqrm_ky0VZfU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amOWJiL060t3CYG8Y6R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MP69PC4Em9AmQ2RXJ2q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A245746822F59488061FE337C3A2DD5" ma:contentTypeVersion="18" ma:contentTypeDescription="Create a new document." ma:contentTypeScope="" ma:versionID="5dfb88cc51ee626372266889ebd33562">
  <xsd:schema xmlns:xsd="http://www.w3.org/2001/XMLSchema" xmlns:xs="http://www.w3.org/2001/XMLSchema" xmlns:p="http://schemas.microsoft.com/office/2006/metadata/properties" xmlns:ns3="cb744ef5-91ce-4d95-bb14-a4b217f1b27f" xmlns:ns4="b2f0e6bb-5ba0-41df-8923-2f32c713460e" targetNamespace="http://schemas.microsoft.com/office/2006/metadata/properties" ma:root="true" ma:fieldsID="a77656962157b421c7c9719cdbdb0185" ns3:_="" ns4:_="">
    <xsd:import namespace="cb744ef5-91ce-4d95-bb14-a4b217f1b27f"/>
    <xsd:import namespace="b2f0e6bb-5ba0-41df-8923-2f32c713460e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LengthInSeconds" minOccurs="0"/>
                <xsd:element ref="ns3:MediaServiceDateTaken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_activity" minOccurs="0"/>
                <xsd:element ref="ns3:MediaServiceLocation" minOccurs="0"/>
                <xsd:element ref="ns3:MediaServiceObjectDetectorVersions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744ef5-91ce-4d95-bb14-a4b217f1b27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f0e6bb-5ba0-41df-8923-2f32c713460e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cb744ef5-91ce-4d95-bb14-a4b217f1b27f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1401281-027E-4B4E-89F5-5D7490E5C899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cb744ef5-91ce-4d95-bb14-a4b217f1b27f"/>
    <ds:schemaRef ds:uri="b2f0e6bb-5ba0-41df-8923-2f32c713460e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D6269A0-8DE1-41F8-999C-A32B60FB46EB}">
  <ds:schemaRefs>
    <ds:schemaRef ds:uri="http://schemas.microsoft.com/office/2006/metadata/properties"/>
    <ds:schemaRef ds:uri="http://www.w3.org/2000/xmlns/"/>
    <ds:schemaRef ds:uri="cb744ef5-91ce-4d95-bb14-a4b217f1b27f"/>
    <ds:schemaRef ds:uri="http://www.w3.org/2001/XMLSchema-instance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75CF9E6F-B674-4E38-ACF1-644919FCF72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96</Words>
  <Application>Microsoft Office PowerPoint</Application>
  <PresentationFormat>Grand écran</PresentationFormat>
  <Paragraphs>147</Paragraphs>
  <Slides>13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10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3</vt:i4>
      </vt:variant>
    </vt:vector>
  </HeadingPairs>
  <TitlesOfParts>
    <vt:vector size="25" baseType="lpstr">
      <vt:lpstr>Arial</vt:lpstr>
      <vt:lpstr>Avenir Next LT Pro</vt:lpstr>
      <vt:lpstr>Avenir Next LT Pro </vt:lpstr>
      <vt:lpstr>Avenir Next LT Pro Demi</vt:lpstr>
      <vt:lpstr>Avenir Next LT Pro Light</vt:lpstr>
      <vt:lpstr>Calibri</vt:lpstr>
      <vt:lpstr>Calibri Light</vt:lpstr>
      <vt:lpstr>Gotham</vt:lpstr>
      <vt:lpstr>Helvetica Light</vt:lpstr>
      <vt:lpstr>Tahoma</vt:lpstr>
      <vt:lpstr>Office Theme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ssef Tber</dc:creator>
  <cp:lastModifiedBy>Assia BENSAAD</cp:lastModifiedBy>
  <cp:revision>3</cp:revision>
  <dcterms:modified xsi:type="dcterms:W3CDTF">2025-02-19T20:27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A245746822F59488061FE337C3A2DD5</vt:lpwstr>
  </property>
</Properties>
</file>